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4"/>
  </p:notesMasterIdLst>
  <p:sldIdLst>
    <p:sldId id="273" r:id="rId2"/>
    <p:sldId id="274" r:id="rId3"/>
    <p:sldId id="275" r:id="rId4"/>
    <p:sldId id="276" r:id="rId5"/>
    <p:sldId id="297" r:id="rId6"/>
    <p:sldId id="278" r:id="rId7"/>
    <p:sldId id="279" r:id="rId8"/>
    <p:sldId id="280" r:id="rId9"/>
    <p:sldId id="281" r:id="rId10"/>
    <p:sldId id="287" r:id="rId11"/>
    <p:sldId id="288" r:id="rId12"/>
    <p:sldId id="298" r:id="rId13"/>
    <p:sldId id="306" r:id="rId14"/>
    <p:sldId id="308" r:id="rId15"/>
    <p:sldId id="307" r:id="rId16"/>
    <p:sldId id="309" r:id="rId17"/>
    <p:sldId id="310" r:id="rId18"/>
    <p:sldId id="311" r:id="rId19"/>
    <p:sldId id="312" r:id="rId20"/>
    <p:sldId id="314" r:id="rId21"/>
    <p:sldId id="315" r:id="rId22"/>
    <p:sldId id="316" r:id="rId23"/>
    <p:sldId id="317" r:id="rId24"/>
    <p:sldId id="318" r:id="rId25"/>
    <p:sldId id="319" r:id="rId26"/>
    <p:sldId id="320" r:id="rId27"/>
    <p:sldId id="322" r:id="rId28"/>
    <p:sldId id="323" r:id="rId29"/>
    <p:sldId id="305" r:id="rId30"/>
    <p:sldId id="294" r:id="rId31"/>
    <p:sldId id="289" r:id="rId32"/>
    <p:sldId id="290" r:id="rId33"/>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9920" autoAdjust="0"/>
  </p:normalViewPr>
  <p:slideViewPr>
    <p:cSldViewPr>
      <p:cViewPr varScale="1">
        <p:scale>
          <a:sx n="75" d="100"/>
          <a:sy n="75" d="100"/>
        </p:scale>
        <p:origin x="1236" y="54"/>
      </p:cViewPr>
      <p:guideLst>
        <p:guide orient="horz" pos="162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12CF30B-06B4-41A3-BE1F-D186A2E647D5}" type="datetimeFigureOut">
              <a:rPr lang="en-US" smtClean="0"/>
              <a:t>7/8/201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5E8253F-F7E7-415F-A3D1-9F7D79173DA0}" type="slidenum">
              <a:rPr lang="en-US" smtClean="0"/>
              <a:t>‹#›</a:t>
            </a:fld>
            <a:endParaRPr lang="en-US"/>
          </a:p>
        </p:txBody>
      </p:sp>
    </p:spTree>
    <p:extLst>
      <p:ext uri="{BB962C8B-B14F-4D97-AF65-F5344CB8AC3E}">
        <p14:creationId xmlns:p14="http://schemas.microsoft.com/office/powerpoint/2010/main" val="2770603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 the conversation about how things have changed</a:t>
            </a:r>
            <a:r>
              <a:rPr lang="en-US" baseline="0" dirty="0" smtClean="0"/>
              <a:t> with application development and platforms.</a:t>
            </a:r>
          </a:p>
          <a:p>
            <a:endParaRPr lang="en-US" baseline="0" dirty="0" smtClean="0"/>
          </a:p>
          <a:p>
            <a:pPr marL="171450" indent="-171450">
              <a:buFontTx/>
              <a:buChar char="-"/>
            </a:pPr>
            <a:r>
              <a:rPr lang="en-US" baseline="0" dirty="0" smtClean="0"/>
              <a:t>Talk about the more natural interfaces</a:t>
            </a:r>
          </a:p>
          <a:p>
            <a:pPr marL="171450" indent="-171450">
              <a:buFontTx/>
              <a:buChar char="-"/>
            </a:pPr>
            <a:r>
              <a:rPr lang="en-US" baseline="0" dirty="0" smtClean="0"/>
              <a:t>Always connected</a:t>
            </a:r>
          </a:p>
          <a:p>
            <a:pPr marL="171450" indent="-171450">
              <a:buFontTx/>
              <a:buChar char="-"/>
            </a:pPr>
            <a:r>
              <a:rPr lang="en-US" baseline="0" dirty="0" smtClean="0"/>
              <a:t>Social media</a:t>
            </a:r>
          </a:p>
          <a:p>
            <a:pPr marL="171450" indent="-171450">
              <a:buFontTx/>
              <a:buChar char="-"/>
            </a:pPr>
            <a:r>
              <a:rPr lang="en-US" baseline="0" dirty="0" err="1" smtClean="0"/>
              <a:t>Consumerisation</a:t>
            </a:r>
            <a:r>
              <a:rPr lang="en-US" baseline="0" dirty="0" smtClean="0"/>
              <a:t> of IT</a:t>
            </a:r>
          </a:p>
          <a:p>
            <a:pPr marL="171450" indent="-171450">
              <a:buFontTx/>
              <a:buChar char="-"/>
            </a:pPr>
            <a:r>
              <a:rPr lang="en-US" baseline="0" dirty="0" smtClean="0"/>
              <a:t>Cloud based computing</a:t>
            </a:r>
            <a:endParaRPr lang="en-US" dirty="0"/>
          </a:p>
        </p:txBody>
      </p:sp>
      <p:sp>
        <p:nvSpPr>
          <p:cNvPr id="4" name="Slide Number Placeholder 3"/>
          <p:cNvSpPr>
            <a:spLocks noGrp="1"/>
          </p:cNvSpPr>
          <p:nvPr>
            <p:ph type="sldNum" sz="quarter" idx="10"/>
          </p:nvPr>
        </p:nvSpPr>
        <p:spPr/>
        <p:txBody>
          <a:bodyPr/>
          <a:lstStyle/>
          <a:p>
            <a:fld id="{25E8253F-F7E7-415F-A3D1-9F7D79173DA0}"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768722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kern="1200" baseline="0" dirty="0" smtClean="0">
                <a:solidFill>
                  <a:schemeClr val="tx1"/>
                </a:solidFill>
                <a:effectLst/>
                <a:latin typeface="Segoe UI" pitchFamily="34" charset="0"/>
                <a:ea typeface="+mn-ea"/>
                <a:cs typeface="+mn-cs"/>
              </a:rPr>
              <a:t>Let’s just pause and understand what we have said so far…</a:t>
            </a:r>
          </a:p>
          <a:p>
            <a:endParaRPr lang="en-US" sz="1100" kern="1200" baseline="0" dirty="0" smtClean="0">
              <a:solidFill>
                <a:schemeClr val="tx1"/>
              </a:solidFill>
              <a:effectLst/>
              <a:latin typeface="Segoe UI" pitchFamily="34" charset="0"/>
              <a:ea typeface="+mn-ea"/>
              <a:cs typeface="+mn-cs"/>
            </a:endParaRPr>
          </a:p>
          <a:p>
            <a:pPr marL="228600" indent="-228600">
              <a:buAutoNum type="arabicPeriod"/>
            </a:pPr>
            <a:r>
              <a:rPr lang="en-US" sz="1100" kern="1200" baseline="0" dirty="0" smtClean="0">
                <a:solidFill>
                  <a:schemeClr val="tx1"/>
                </a:solidFill>
                <a:effectLst/>
                <a:latin typeface="Segoe UI" pitchFamily="34" charset="0"/>
                <a:ea typeface="+mn-ea"/>
                <a:cs typeface="+mn-cs"/>
              </a:rPr>
              <a:t>The cloud design principles (6 boxes on the left) are what we all want, but these are the core principles of ANY cloud provider.</a:t>
            </a:r>
          </a:p>
          <a:p>
            <a:pPr marL="228600" indent="-228600">
              <a:buAutoNum type="arabicPeriod"/>
            </a:pPr>
            <a:r>
              <a:rPr lang="en-US" sz="1100" kern="1200" baseline="0" dirty="0" smtClean="0">
                <a:solidFill>
                  <a:schemeClr val="tx1"/>
                </a:solidFill>
                <a:effectLst/>
                <a:latin typeface="Segoe UI" pitchFamily="34" charset="0"/>
                <a:ea typeface="+mn-ea"/>
                <a:cs typeface="+mn-cs"/>
              </a:rPr>
              <a:t>We have talked about the spectrum of choices and that as you look across your application portfolio, you will need to run applications across this spectrum.  More importantly, not just applications but business processes themselves span this spectrum and extent outside your organization boundaries to your customers and partners</a:t>
            </a:r>
          </a:p>
          <a:p>
            <a:pPr marL="228600" indent="-228600">
              <a:buAutoNum type="arabicPeriod"/>
            </a:pPr>
            <a:endParaRPr lang="en-US" sz="1100" kern="1200" baseline="0" dirty="0" smtClean="0">
              <a:solidFill>
                <a:schemeClr val="tx1"/>
              </a:solidFill>
              <a:effectLst/>
              <a:latin typeface="Segoe UI" pitchFamily="34" charset="0"/>
              <a:ea typeface="+mn-ea"/>
              <a:cs typeface="+mn-cs"/>
            </a:endParaRPr>
          </a:p>
          <a:p>
            <a:pPr marL="0" indent="0">
              <a:buNone/>
            </a:pPr>
            <a:r>
              <a:rPr lang="en-US" sz="1100" kern="1200" baseline="0" dirty="0" smtClean="0">
                <a:solidFill>
                  <a:schemeClr val="tx1"/>
                </a:solidFill>
                <a:effectLst/>
                <a:latin typeface="Segoe UI" pitchFamily="34" charset="0"/>
                <a:ea typeface="+mn-ea"/>
                <a:cs typeface="+mn-cs"/>
              </a:rPr>
              <a:t>So what makes Microsoft’s approach different:-</a:t>
            </a:r>
          </a:p>
          <a:p>
            <a:pPr marL="171450" indent="-171450">
              <a:buFontTx/>
              <a:buChar char="-"/>
            </a:pPr>
            <a:r>
              <a:rPr lang="en-US" sz="1100" kern="1200" baseline="0" dirty="0" smtClean="0">
                <a:solidFill>
                  <a:schemeClr val="tx1"/>
                </a:solidFill>
                <a:effectLst/>
                <a:latin typeface="Segoe UI" pitchFamily="34" charset="0"/>
                <a:ea typeface="+mn-ea"/>
                <a:cs typeface="+mn-cs"/>
              </a:rPr>
              <a:t>Explain the three boxes.  We are the only company who has the strategy to do this.  Support existing app models as well as “designed for the cloud” models.  Have a Cloud OS – the underlying infrastructure that supports the cloud design principles on the left, available to you in your own data center, as a service we provide in Windows Azure or to other partners you may choose.  Finally, your choices around development tools, languages, frameworks should just work, whatever you choose (but we will of course make .NET the first and best experience).</a:t>
            </a:r>
          </a:p>
          <a:p>
            <a:pPr marL="171450" indent="-171450">
              <a:buFontTx/>
              <a:buChar char="-"/>
            </a:pPr>
            <a:endParaRPr lang="en-US" sz="1100" kern="1200" baseline="0" dirty="0" smtClean="0">
              <a:solidFill>
                <a:schemeClr val="tx1"/>
              </a:solidFill>
              <a:effectLst/>
              <a:latin typeface="Segoe UI" pitchFamily="34" charset="0"/>
              <a:ea typeface="+mn-ea"/>
              <a:cs typeface="+mn-cs"/>
            </a:endParaRPr>
          </a:p>
          <a:p>
            <a:pPr marL="0" indent="0">
              <a:buFontTx/>
              <a:buNone/>
            </a:pPr>
            <a:r>
              <a:rPr lang="en-US" sz="1100" kern="1200" baseline="0" dirty="0" smtClean="0">
                <a:solidFill>
                  <a:schemeClr val="tx1"/>
                </a:solidFill>
                <a:effectLst/>
                <a:latin typeface="Segoe UI" pitchFamily="34" charset="0"/>
                <a:ea typeface="+mn-ea"/>
                <a:cs typeface="+mn-cs"/>
              </a:rPr>
              <a:t>- Finally, we have a comprehensive and deep range of supporting application services (the band at the bottom) that are delivered across this platform.  Many of these services are iterations of the work we have been doing in our server and tools business.  This is innovation and learning from 20 years of enterprise software development we are evolving into our products.</a:t>
            </a:r>
          </a:p>
          <a:p>
            <a:pPr marL="171450" indent="-171450">
              <a:buFontTx/>
              <a:buChar char="-"/>
            </a:pPr>
            <a:endParaRPr lang="en-US" sz="1100" kern="1200" baseline="0" dirty="0" smtClean="0">
              <a:solidFill>
                <a:schemeClr val="tx1"/>
              </a:solidFill>
              <a:effectLst/>
              <a:latin typeface="Segoe UI" pitchFamily="34" charset="0"/>
              <a:ea typeface="+mn-ea"/>
              <a:cs typeface="+mn-cs"/>
            </a:endParaRPr>
          </a:p>
          <a:p>
            <a:pPr marL="171450" indent="-171450">
              <a:buFontTx/>
              <a:buChar char="-"/>
            </a:pPr>
            <a:endParaRPr lang="en-US" sz="1100" kern="1200" baseline="0" dirty="0" smtClean="0">
              <a:solidFill>
                <a:schemeClr val="tx1"/>
              </a:solidFill>
              <a:effectLst/>
              <a:latin typeface="Segoe UI" pitchFamily="34" charset="0"/>
              <a:ea typeface="+mn-ea"/>
              <a:cs typeface="+mn-cs"/>
            </a:endParaRPr>
          </a:p>
          <a:p>
            <a:endParaRPr lang="en-US" sz="1100" kern="1200" baseline="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13021106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a:t>
            </a:r>
            <a:r>
              <a:rPr lang="en-US" baseline="0" dirty="0" smtClean="0"/>
              <a:t> this picture, or at least the big blocks in here are how we think about the main capability buckets of the platform.  Now you will start to get more specific about these buckets (Compute, data, networks and app services).</a:t>
            </a:r>
          </a:p>
          <a:p>
            <a:endParaRPr lang="en-US" baseline="0" dirty="0" smtClean="0"/>
          </a:p>
          <a:p>
            <a:r>
              <a:rPr lang="en-US" baseline="0" dirty="0" smtClean="0"/>
              <a:t>Going deeper will depend on the needs of the customer.   Sometimes customers will want to drill into specific things, sometimes they want a broad overview.  Adapt these slides as needed.</a:t>
            </a:r>
          </a:p>
          <a:p>
            <a:endParaRPr lang="en-US" baseline="0" dirty="0" smtClean="0"/>
          </a:p>
          <a:p>
            <a:r>
              <a:rPr lang="en-US" baseline="0" dirty="0" smtClean="0"/>
              <a:t>These buckets correspond to how they are laid out in the Windows Azure portal.</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D59E26A-64A9-4390-85E2-78A8B72F330A}" type="datetime1">
              <a:rPr lang="en-US" smtClean="0"/>
              <a:t>7/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032213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r>
              <a:rPr lang="en-US" dirty="0" smtClean="0"/>
              <a:t>We</a:t>
            </a:r>
            <a:r>
              <a:rPr lang="en-US" baseline="0" dirty="0" smtClean="0"/>
              <a:t> established that the “container” or “execution environment” is critical in terms of having a number of options that provide the flexibility to get down to the underlying operating system if needed, especially to support existing applications, as well as to have more isolated/abstracted containers which then allow the platform to do more for you.</a:t>
            </a:r>
          </a:p>
          <a:p>
            <a:endParaRPr lang="en-US" baseline="0" dirty="0" smtClean="0"/>
          </a:p>
          <a:p>
            <a:r>
              <a:rPr lang="en-US" baseline="0" dirty="0" smtClean="0"/>
              <a:t>If you have time, the best way to do this, is to SHOW windows azure (see next hidden slide).</a:t>
            </a:r>
          </a:p>
          <a:p>
            <a:endParaRPr lang="en-US" baseline="0" dirty="0" smtClean="0"/>
          </a:p>
          <a:p>
            <a:r>
              <a:rPr lang="en-US" baseline="0" dirty="0" smtClean="0"/>
              <a:t>If not, don’t spend much time on this slide, the following slides on Web/Virtual/Cloud go into details.</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657164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ssume you know how to talk about this – again the best way is to show it on the portal, show the scale tab and explain the different modes (Free, Shared, Reserved).</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73864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Key point</a:t>
            </a:r>
            <a:r>
              <a:rPr lang="en-US" baseline="0" dirty="0" smtClean="0"/>
              <a:t> is – It’s just a Virtual Machine, a container for any software (OS all the way up) you want to run in it.  You pay for the underlying resources you are reserving (CPU and RAM).  These VM’s (using Virtual Networking) can be private to your corporate network – they can see your corporate AD etc.)  Even though they live in the public cloud you can surround and protect them so they are just part of your own infrastructure.</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6443176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a:t>
            </a:r>
            <a:r>
              <a:rPr lang="en-US" baseline="0" dirty="0" smtClean="0"/>
              <a:t> this slide the important thing to land is that our VM implementation is THE same as on-prem.  Now we only do Hyper-V (there are 3</a:t>
            </a:r>
            <a:r>
              <a:rPr lang="en-US" baseline="30000" dirty="0" smtClean="0"/>
              <a:t>rd</a:t>
            </a:r>
            <a:r>
              <a:rPr lang="en-US" baseline="0" dirty="0" smtClean="0"/>
              <a:t> Party tools and tools in system center that can convert between VMWare and Hyper-V), but it is simple to take existing Hyper-V images and move to the cloud, to other </a:t>
            </a:r>
            <a:r>
              <a:rPr lang="en-US" baseline="0" dirty="0" err="1" smtClean="0"/>
              <a:t>hosters</a:t>
            </a:r>
            <a:r>
              <a:rPr lang="en-US" baseline="0" dirty="0" smtClean="0"/>
              <a:t> who host Hyper-V or Windows Azure – and of course you can move them back as well.</a:t>
            </a:r>
          </a:p>
          <a:p>
            <a:endParaRPr lang="en-US" baseline="0" dirty="0" smtClean="0"/>
          </a:p>
          <a:p>
            <a:r>
              <a:rPr lang="en-US" baseline="0" dirty="0" smtClean="0"/>
              <a:t>NOTE: YOU cannot do this with AWS – you are locked in.</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9830796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alk though the three pillars – the first one is really about automation, then we don’t just do Windows,</a:t>
            </a:r>
            <a:r>
              <a:rPr lang="en-US" baseline="0" dirty="0" smtClean="0"/>
              <a:t> we do other OS’s and apps on top.  The actual VM image is of course a .VHD file that has to live on a disk somewhere.  We take advantage of the underlying resilience and speed of the Azure Storage infrastructure to store these disks which provides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8172898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r>
              <a:rPr lang="en-US" baseline="0" dirty="0" smtClean="0"/>
              <a:t>At this point we covered compute.  Remember our key building blocks (Compute, Data Services, Networking and Application Services).  Outside of compute (which is special in that this is where your custom code and business logic runs), all these other capabilities in the platform are things that your applications just use.  Of course, any given app won’t use all of these services, most will just use a few.  The point is that we have a tremendously complete platform.</a:t>
            </a:r>
          </a:p>
          <a:p>
            <a:endParaRPr lang="en-US" baseline="0" dirty="0" smtClean="0"/>
          </a:p>
          <a:p>
            <a:r>
              <a:rPr lang="en-US" baseline="0" dirty="0" smtClean="0"/>
              <a:t>Check if the BRIEFING also has a </a:t>
            </a:r>
            <a:r>
              <a:rPr lang="en-US" baseline="0" dirty="0" err="1" smtClean="0"/>
              <a:t>SQLAzure</a:t>
            </a:r>
            <a:r>
              <a:rPr lang="en-US" baseline="0" dirty="0" smtClean="0"/>
              <a:t> topic (which will usually follow the Windows Azure topic) – if so, just cover this very lightly</a:t>
            </a:r>
          </a:p>
          <a:p>
            <a:endParaRPr lang="en-US" baseline="0" dirty="0" smtClean="0"/>
          </a:p>
          <a:p>
            <a:r>
              <a:rPr lang="en-US" baseline="0" dirty="0" smtClean="0"/>
              <a:t>Most apps though do need to store/deal with structured data – typically that would live in a database. </a:t>
            </a:r>
          </a:p>
          <a:p>
            <a:endParaRPr lang="en-US" baseline="0" dirty="0" smtClean="0"/>
          </a:p>
          <a:p>
            <a:r>
              <a:rPr lang="en-US" baseline="0" dirty="0" smtClean="0"/>
              <a:t>There are two flavors we are going to talk about – </a:t>
            </a:r>
            <a:r>
              <a:rPr lang="en-US" baseline="0" dirty="0" err="1" smtClean="0"/>
              <a:t>SQLServer</a:t>
            </a:r>
            <a:r>
              <a:rPr lang="en-US" baseline="0" dirty="0" smtClean="0"/>
              <a:t> in a VM and Azure SQLDB.  This is also a good proxy/illustration that makes things very real between the differences of </a:t>
            </a:r>
            <a:r>
              <a:rPr lang="en-US" baseline="0" dirty="0" err="1" smtClean="0"/>
              <a:t>IaaS</a:t>
            </a:r>
            <a:r>
              <a:rPr lang="en-US" baseline="0" dirty="0" smtClean="0"/>
              <a:t> and </a:t>
            </a:r>
            <a:r>
              <a:rPr lang="en-US" baseline="0" dirty="0" err="1" smtClean="0"/>
              <a:t>PaaS</a:t>
            </a:r>
            <a:r>
              <a:rPr lang="en-US" baseline="0" dirty="0" smtClean="0"/>
              <a:t> and how all the value and promise of the Cloud is delivered through </a:t>
            </a:r>
            <a:r>
              <a:rPr lang="en-US" baseline="0" dirty="0" err="1" smtClean="0"/>
              <a:t>PaaS</a:t>
            </a:r>
            <a:r>
              <a:rPr lang="en-US" baseline="0" dirty="0" smtClean="0"/>
              <a:t> (and just some of it through </a:t>
            </a:r>
            <a:r>
              <a:rPr lang="en-US" baseline="0" dirty="0" err="1" smtClean="0"/>
              <a:t>Iaa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4421292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smtClean="0"/>
              <a:t>Of course Azure SQL DB is somewhere under the covers, </a:t>
            </a:r>
            <a:r>
              <a:rPr lang="en-US" dirty="0" err="1" smtClean="0"/>
              <a:t>SQLServer</a:t>
            </a:r>
            <a:r>
              <a:rPr lang="en-US" dirty="0" smtClean="0"/>
              <a:t>.  This picture illustrates where </a:t>
            </a:r>
            <a:r>
              <a:rPr lang="en-US" dirty="0" err="1" smtClean="0"/>
              <a:t>SQLServer</a:t>
            </a:r>
            <a:r>
              <a:rPr lang="en-US" dirty="0" smtClean="0"/>
              <a:t> actually lives. </a:t>
            </a:r>
            <a:r>
              <a:rPr lang="en-US" baseline="0" dirty="0" smtClean="0"/>
              <a:t> Of course there are a number of services build around this that really add value to the picture and deliver those cloud principles (Scale, Elasticity, Self-Service, Resilience etc.).  You don’t need to explain all the layers – the point is they are there and actually that in “traditional” IT world, many/most of these functions in the picture are done by people, by IT Pro’s and DBA’s, worrying about how to get </a:t>
            </a:r>
            <a:r>
              <a:rPr lang="en-US" baseline="0" dirty="0" err="1" smtClean="0"/>
              <a:t>dtaabases</a:t>
            </a:r>
            <a:r>
              <a:rPr lang="en-US" baseline="0" dirty="0" smtClean="0"/>
              <a:t> </a:t>
            </a:r>
            <a:r>
              <a:rPr lang="en-US" baseline="0" dirty="0" err="1" smtClean="0"/>
              <a:t>proivisioned</a:t>
            </a:r>
            <a:r>
              <a:rPr lang="en-US" baseline="0" dirty="0" smtClean="0"/>
              <a:t>, keep the running, change them, fix them when broken etc.</a:t>
            </a:r>
          </a:p>
          <a:p>
            <a:pPr rtl="0"/>
            <a:endParaRPr lang="en-US" baseline="0" dirty="0" smtClean="0"/>
          </a:p>
          <a:p>
            <a:pPr rtl="0"/>
            <a:r>
              <a:rPr lang="en-US" baseline="0" dirty="0" smtClean="0"/>
              <a:t>Click: The other interesting thing about this picture is that when you provision a DB for your app (which you can do in about 6 seconds), the app actually get’s three “virtual” databases and one logical database that it interacts with (click).  Each of the three database is located within Windows Azure in Fault Domains – a unit of computers all with redundant hardware, racks, switches etc.  There is a “Primary” and two </a:t>
            </a:r>
            <a:r>
              <a:rPr lang="en-US" baseline="0" dirty="0" err="1" smtClean="0"/>
              <a:t>secondaries</a:t>
            </a:r>
            <a:r>
              <a:rPr lang="en-US" baseline="0" dirty="0" smtClean="0"/>
              <a:t>.  Windows Azure is responsible for all the consistency and integrity of the three databases and completely automated will recover from failures and ensure balance of primaries and </a:t>
            </a:r>
            <a:r>
              <a:rPr lang="en-US" baseline="0" dirty="0" err="1" smtClean="0"/>
              <a:t>secondaries</a:t>
            </a:r>
            <a:r>
              <a:rPr lang="en-US" baseline="0" dirty="0" smtClean="0"/>
              <a:t> across physical nodes.  </a:t>
            </a:r>
          </a:p>
          <a:p>
            <a:pPr rtl="0"/>
            <a:endParaRPr lang="en-US" baseline="0" dirty="0" smtClean="0"/>
          </a:p>
          <a:p>
            <a:pPr rtl="0"/>
            <a:r>
              <a:rPr lang="en-US" baseline="0" dirty="0" smtClean="0"/>
              <a:t>All you need to do is provision a database, say how big you want it, upload your schema and data, then start using it.  EVERYTHING else is taken care of for you.  AND you only pay for the actual data you are storing in the database (calculated on a daily basis).</a:t>
            </a:r>
          </a:p>
          <a:p>
            <a:pPr rtl="0"/>
            <a:endParaRPr lang="en-US" baseline="0" dirty="0" smtClean="0"/>
          </a:p>
          <a:p>
            <a:pPr rtl="0"/>
            <a:r>
              <a:rPr lang="en-US" baseline="0" dirty="0" smtClean="0"/>
              <a:t>Contrast this picture against doing your own thing in Azure Virtual Machines with </a:t>
            </a:r>
            <a:r>
              <a:rPr lang="en-US" baseline="0" dirty="0" err="1" smtClean="0"/>
              <a:t>SQLServer</a:t>
            </a:r>
            <a:r>
              <a:rPr lang="en-US" baseline="0" dirty="0" smtClean="0"/>
              <a:t> (or any other database for that matter) AND of course having to provide the same level of resilience.</a:t>
            </a:r>
          </a:p>
          <a:p>
            <a:pPr rtl="0"/>
            <a:endParaRPr lang="en-US" baseline="0" dirty="0" smtClean="0"/>
          </a:p>
          <a:p>
            <a:pPr rtl="0"/>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37732581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
        <p:nvSpPr>
          <p:cNvPr id="5" name="Footer Placeholder 4"/>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24178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E8253F-F7E7-415F-A3D1-9F7D79173DA0}" type="slidenum">
              <a:rPr lang="en-US" smtClean="0"/>
              <a:t>4</a:t>
            </a:fld>
            <a:endParaRPr lang="en-US"/>
          </a:p>
        </p:txBody>
      </p:sp>
    </p:spTree>
    <p:extLst>
      <p:ext uri="{BB962C8B-B14F-4D97-AF65-F5344CB8AC3E}">
        <p14:creationId xmlns:p14="http://schemas.microsoft.com/office/powerpoint/2010/main" val="7735936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
        <p:nvSpPr>
          <p:cNvPr id="5" name="Footer Placeholder 4"/>
          <p:cNvSpPr>
            <a:spLocks noGrp="1"/>
          </p:cNvSpPr>
          <p:nvPr>
            <p:ph type="ftr" sz="quarter" idx="11"/>
          </p:nvPr>
        </p:nvSpPr>
        <p:spPr/>
        <p:txBody>
          <a:body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1244023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6454251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645425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E8253F-F7E7-415F-A3D1-9F7D79173DA0}" type="slidenum">
              <a:rPr lang="en-US" smtClean="0"/>
              <a:t>5</a:t>
            </a:fld>
            <a:endParaRPr lang="en-US"/>
          </a:p>
        </p:txBody>
      </p:sp>
    </p:spTree>
    <p:extLst>
      <p:ext uri="{BB962C8B-B14F-4D97-AF65-F5344CB8AC3E}">
        <p14:creationId xmlns:p14="http://schemas.microsoft.com/office/powerpoint/2010/main" val="773593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E8253F-F7E7-415F-A3D1-9F7D79173DA0}"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88543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E8253F-F7E7-415F-A3D1-9F7D79173DA0}" type="slidenum">
              <a:rPr lang="en-US" smtClean="0"/>
              <a:t>12</a:t>
            </a:fld>
            <a:endParaRPr lang="en-US"/>
          </a:p>
        </p:txBody>
      </p:sp>
    </p:spTree>
    <p:extLst>
      <p:ext uri="{BB962C8B-B14F-4D97-AF65-F5344CB8AC3E}">
        <p14:creationId xmlns:p14="http://schemas.microsoft.com/office/powerpoint/2010/main" val="773593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a:t>
            </a:r>
            <a:r>
              <a:rPr lang="en-US" baseline="0" dirty="0" smtClean="0"/>
              <a:t> explain WHY CLOUD, we need to understand the design principles of Cloud Computing.  At a very fundamental level, this entire concept is one of SHARING RESOURCES.  If we could share effectively, we could STOP the waste of resources  -  all those computers running workloads/applications that are on all the time, cost lots of money, require highly paid staff to babysit them and most of which are using 20-30% of the compute capacity dedicated to them.</a:t>
            </a:r>
          </a:p>
          <a:p>
            <a:endParaRPr lang="en-US" baseline="0" dirty="0" smtClean="0"/>
          </a:p>
          <a:p>
            <a:r>
              <a:rPr lang="en-US" baseline="0" dirty="0" smtClean="0"/>
              <a:t>This is true if you want to share better within your own data center (so called Private Cloud), or you share with other companies or even countries (Public Cloud).</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500DF44-D9B6-4DBA-A380-76ADC2569340}" type="datetime1">
              <a:rPr lang="en-US" smtClean="0"/>
              <a:t>7/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281158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dirty="0" smtClean="0"/>
              <a:t>The first piece if the puzzle if Economics.  As this chart indicates, the larger the data center, the cheaper the</a:t>
            </a:r>
            <a:r>
              <a:rPr lang="en-US" baseline="0" dirty="0" smtClean="0"/>
              <a:t> underling TCO is.  This is primarily because if you walk to your local power company and say I need to buy a billion gigaflops of power, you get a cheaper price.  If you walk across to HP or Dell and say I’d like to but a $billion worth of computers – you get a good deal.  </a:t>
            </a:r>
          </a:p>
          <a:p>
            <a:pPr marL="0" indent="0">
              <a:buFont typeface="Arial" pitchFamily="34" charset="0"/>
              <a:buNone/>
            </a:pPr>
            <a:endParaRPr lang="en-US" baseline="0" dirty="0" smtClean="0"/>
          </a:p>
          <a:p>
            <a:pPr marL="0" indent="0">
              <a:buFont typeface="Arial" pitchFamily="34" charset="0"/>
              <a:buNone/>
            </a:pPr>
            <a:r>
              <a:rPr lang="en-US" baseline="0" dirty="0" smtClean="0"/>
              <a:t>Not only that, but to run at this scale you have to automate almost everything and this automation makes the TCO cheaper because people are expensive.  You can only afford to do this if you are very large – it is a big investment in software.</a:t>
            </a:r>
          </a:p>
          <a:p>
            <a:pPr marL="0" indent="0">
              <a:buFont typeface="Arial" pitchFamily="34" charset="0"/>
              <a:buNone/>
            </a:pPr>
            <a:endParaRPr lang="en-US" baseline="0" dirty="0" smtClean="0"/>
          </a:p>
          <a:p>
            <a:pPr marL="0" indent="0">
              <a:buFont typeface="Arial" pitchFamily="34" charset="0"/>
              <a:buNone/>
            </a:pPr>
            <a:r>
              <a:rPr lang="en-US" baseline="0" dirty="0" smtClean="0"/>
              <a:t>The smaller you are of course the bigger the difference in the economics.</a:t>
            </a:r>
            <a:endParaRPr lang="en-US" dirty="0"/>
          </a:p>
        </p:txBody>
      </p:sp>
      <p:sp>
        <p:nvSpPr>
          <p:cNvPr id="4" name="Header Placeholder 3"/>
          <p:cNvSpPr>
            <a:spLocks noGrp="1"/>
          </p:cNvSpPr>
          <p:nvPr>
            <p:ph type="hdr" sz="quarter" idx="10"/>
          </p:nvPr>
        </p:nvSpPr>
        <p:spPr/>
        <p:txBody>
          <a:bodyPr/>
          <a:lstStyle/>
          <a:p>
            <a:r>
              <a:rPr lang="en-GB" dirty="0" smtClean="0"/>
              <a:t>Microsoft EPS 2011</a:t>
            </a:r>
            <a:endParaRPr lang="en-GB" dirty="0"/>
          </a:p>
        </p:txBody>
      </p:sp>
      <p:sp>
        <p:nvSpPr>
          <p:cNvPr id="5" name="Date Placeholder 4"/>
          <p:cNvSpPr>
            <a:spLocks noGrp="1"/>
          </p:cNvSpPr>
          <p:nvPr>
            <p:ph type="dt" idx="11"/>
          </p:nvPr>
        </p:nvSpPr>
        <p:spPr/>
        <p:txBody>
          <a:bodyPr/>
          <a:lstStyle/>
          <a:p>
            <a:fld id="{2E6E1B20-AD7B-428B-B818-45EEAD8D4CD3}" type="datetime1">
              <a:rPr lang="en-GB" smtClean="0"/>
              <a:t>08/07/2013</a:t>
            </a:fld>
            <a:endParaRPr lang="en-GB" dirty="0"/>
          </a:p>
        </p:txBody>
      </p:sp>
      <p:sp>
        <p:nvSpPr>
          <p:cNvPr id="6" name="Footer Placeholder 5"/>
          <p:cNvSpPr>
            <a:spLocks noGrp="1"/>
          </p:cNvSpPr>
          <p:nvPr>
            <p:ph type="ftr" sz="quarter" idx="12"/>
          </p:nvPr>
        </p:nvSpPr>
        <p:spPr/>
        <p:txBody>
          <a:bodyPr/>
          <a:lstStyle/>
          <a:p>
            <a:r>
              <a:rPr lang="en-US" dirty="0" smtClean="0">
                <a:solidFill>
                  <a:srgbClr val="000000"/>
                </a:solidFill>
              </a:rPr>
              <a:t>© 2011 Microsoft Corporation. All rights reserved. Microsoft, Windows, Windows 7 and other product names are or may be registered trademarks and/or trademarks in the U.S. and/or other countries.</a:t>
            </a:r>
          </a:p>
          <a:p>
            <a:r>
              <a:rPr lang="en-US" dirty="0" smtClean="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rPr>
            </a:br>
            <a:r>
              <a:rPr lang="en-US" dirty="0" smtClean="0">
                <a:solidFill>
                  <a:srgbClr val="000000"/>
                </a:solidFill>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algn="r"/>
            <a:fld id="{8BC43972-C0A5-4519-83DE-A0072A737FAB}" type="slidenum">
              <a:rPr lang="en-GB" smtClean="0"/>
              <a:pPr algn="r"/>
              <a:t>14</a:t>
            </a:fld>
            <a:endParaRPr lang="en-GB" dirty="0"/>
          </a:p>
        </p:txBody>
      </p:sp>
    </p:spTree>
    <p:extLst>
      <p:ext uri="{BB962C8B-B14F-4D97-AF65-F5344CB8AC3E}">
        <p14:creationId xmlns:p14="http://schemas.microsoft.com/office/powerpoint/2010/main" val="3286092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smtClean="0"/>
              <a:t>One</a:t>
            </a:r>
            <a:r>
              <a:rPr lang="en-US" baseline="0" dirty="0" smtClean="0"/>
              <a:t> dimension of Cloud computing then is the aggregation of resources to share.  One large pool at a cost it would be very hard for most even very large organizations to match.  </a:t>
            </a:r>
          </a:p>
          <a:p>
            <a:endParaRPr lang="en-US" baseline="0" dirty="0" smtClean="0"/>
          </a:p>
          <a:p>
            <a:r>
              <a:rPr lang="en-US" baseline="0" dirty="0" smtClean="0"/>
              <a:t>Another dimension of the economics equation made possible in the Cloud is to optimize the resources you consume.  In traditional IT, resources like compute power, disk storage, database capacity are </a:t>
            </a:r>
            <a:r>
              <a:rPr lang="en-US" baseline="0" dirty="0" err="1" smtClean="0"/>
              <a:t>constained</a:t>
            </a:r>
            <a:r>
              <a:rPr lang="en-US" baseline="0" dirty="0" smtClean="0"/>
              <a:t> – it is hard to get them quickly and it is hard to change them.</a:t>
            </a:r>
          </a:p>
          <a:p>
            <a:endParaRPr lang="en-US" baseline="0" dirty="0" smtClean="0"/>
          </a:p>
          <a:p>
            <a:endParaRPr lang="en-US" baseline="0" dirty="0" smtClean="0"/>
          </a:p>
          <a:p>
            <a:r>
              <a:rPr lang="en-US" baseline="0" dirty="0" smtClean="0"/>
              <a:t>Because of the automation and software/programmable nature of everything we do in the Cloud – YOU have the ability to match the demand/supply of computing resources more closely than in the traditional model.</a:t>
            </a:r>
          </a:p>
          <a:p>
            <a:endParaRPr lang="en-US" baseline="0" dirty="0" smtClean="0"/>
          </a:p>
          <a:p>
            <a:r>
              <a:rPr lang="en-US" baseline="0" dirty="0" smtClean="0"/>
              <a:t>Explain the 5 patterns – in 4 out of the 5 patterns – if you could match supply with demand more closely – you would save money.</a:t>
            </a:r>
          </a:p>
          <a:p>
            <a:endParaRPr lang="en-US" baseline="0" dirty="0" smtClean="0"/>
          </a:p>
          <a:p>
            <a:r>
              <a:rPr lang="en-US" baseline="0" dirty="0" smtClean="0"/>
              <a:t>In the traditional model, we do a lot of work to establish what resources we need.  Capacity planning, performance testing, scale testing </a:t>
            </a:r>
            <a:r>
              <a:rPr lang="en-US" baseline="0" dirty="0" err="1" smtClean="0"/>
              <a:t>etc</a:t>
            </a:r>
            <a:r>
              <a:rPr lang="en-US" baseline="0" dirty="0" smtClean="0"/>
              <a:t> so that we can make sure for a particular application, we always have enough of the resources we need.  We go and buy the hardware and software and then implement all this technology and leave it there hoping we never need to change.  Instead of the resource line being flat and all that waste – if we can get the resource line close to the demand line, we can save 20-30% in a given week for this sort of pattern…  </a:t>
            </a:r>
          </a:p>
          <a:p>
            <a:endParaRPr lang="en-US" baseline="0" dirty="0" smtClean="0"/>
          </a:p>
          <a:p>
            <a:r>
              <a:rPr lang="en-US" baseline="0" dirty="0" smtClean="0"/>
              <a:t>Imaging though a pattern, as many organization have, of an application that has this sort of demand curve spread over a year (click)</a:t>
            </a:r>
          </a:p>
          <a:p>
            <a:endParaRPr lang="en-US" baseline="0" dirty="0" smtClean="0"/>
          </a:p>
          <a:p>
            <a:r>
              <a:rPr lang="en-US" baseline="0" dirty="0" smtClean="0"/>
              <a:t>Finally – you have to think about these potential savings across your whole application portfolio…  The only group you won’t get much saving from is the steady state – but you will generally find this represents a small proportion of your portfolio</a:t>
            </a:r>
          </a:p>
          <a:p>
            <a:endParaRPr lang="en-US" baseline="0" dirty="0" smtClean="0"/>
          </a:p>
          <a:p>
            <a:r>
              <a:rPr lang="en-US" baseline="0" dirty="0" smtClean="0"/>
              <a:t>Getting close to the demand line for an application is achieved in the Cloud because of the characteristics of the cloud being usage based, automated and elastic.  This means that you only pay for the resources when they are being used, it is easy and quick and you can automate changing your usage at any time and even based on policy through capabilities such as auto-scaling, and of course you can do this both directions to easily add resources or remove them.</a:t>
            </a:r>
          </a:p>
          <a:p>
            <a:endParaRPr lang="en-US" baseline="0" dirty="0" smtClean="0"/>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064416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is an</a:t>
            </a:r>
            <a:r>
              <a:rPr lang="en-US" baseline="0" dirty="0" smtClean="0"/>
              <a:t> underlying principle at play here in the Cloud – which is that because as we have seen resources are cheap, plentiful and immediately available, different approaches can be taken to build applications the way we always wanted to – focus on the business problems using simple approaches.</a:t>
            </a:r>
          </a:p>
          <a:p>
            <a:endParaRPr lang="en-US" baseline="0" dirty="0" smtClean="0"/>
          </a:p>
          <a:p>
            <a:r>
              <a:rPr lang="en-US" baseline="0" dirty="0" smtClean="0"/>
              <a:t>At the heart of this is the concept in your applications that anything, any part of the app can fail.  You can for example have your web server tier fail and the application can keep working.  How you do this is by having multiple instances of your web tier, many copies.  Any of the copies can fail – the platform makes sure that it can detect and recover from these failure simply by spinning up a new instance.  The platform also needs to make sure that your application instances are separated across redundant parts of the underlying physical infrastructure (in Azure we call these fault domains).</a:t>
            </a:r>
          </a:p>
          <a:p>
            <a:endParaRPr lang="en-US" baseline="0" dirty="0" smtClean="0"/>
          </a:p>
          <a:p>
            <a:r>
              <a:rPr lang="en-US" baseline="0" dirty="0" smtClean="0"/>
              <a:t>Use the Azure storage as an example.  You give a file to Azure – it saves that file 3 times in 3 different fault domains.  If any of the copies of the file fail because maybe a disk failed, the platform creates another copy.  The platform can also (and this happens in Azure by default) copy the file another three times to Azure storage in a data center &gt; 500 miles away (in the same region) proving business continuity/DR capabiliti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AF358EB-3CE9-4D60-B090-F7B4E434BF55}" type="datetime1">
              <a:rPr lang="en-US" smtClean="0"/>
              <a:t>7/8/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40996525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329" y="2907954"/>
            <a:ext cx="4705063" cy="1345996"/>
          </a:xfrm>
          <a:noFill/>
        </p:spPr>
        <p:txBody>
          <a:bodyPr lIns="120481" tIns="90361" rIns="120481" bIns="90361">
            <a:noAutofit/>
          </a:bodyPr>
          <a:lstStyle>
            <a:lvl1pPr marL="0" indent="0">
              <a:spcBef>
                <a:spcPts val="0"/>
              </a:spcBef>
              <a:buNone/>
              <a:defRPr sz="30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1556880"/>
            <a:ext cx="7395458" cy="1351077"/>
          </a:xfrm>
          <a:noFill/>
        </p:spPr>
        <p:txBody>
          <a:bodyPr lIns="120481" tIns="75301" rIns="120481" bIns="75301" anchor="t" anchorCtr="0"/>
          <a:lstStyle>
            <a:lvl1pPr>
              <a:defRPr sz="4900" spc="-82"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337362" y="353342"/>
            <a:ext cx="1880604" cy="402909"/>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5 for internal audiences">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flipH="1">
            <a:off x="-3" y="0"/>
            <a:ext cx="9142703" cy="51435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bwMode="gray">
          <a:xfrm>
            <a:off x="201930" y="1563129"/>
            <a:ext cx="4706230" cy="268965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47"/>
            <a:ext cx="4707398" cy="1346106"/>
          </a:xfrm>
          <a:noFill/>
        </p:spPr>
        <p:txBody>
          <a:bodyPr lIns="120481" tIns="75301" rIns="120481" bIns="75301" anchor="t" anchorCtr="0"/>
          <a:lstStyle>
            <a:lvl1pPr>
              <a:defRPr sz="49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10274"/>
            <a:ext cx="4707398" cy="1342493"/>
          </a:xfrm>
          <a:noFill/>
        </p:spPr>
        <p:txBody>
          <a:bodyPr tIns="90361" bIns="90361">
            <a:noAutofit/>
          </a:bodyPr>
          <a:lstStyle>
            <a:lvl1pPr marL="0" indent="0">
              <a:spcBef>
                <a:spcPts val="0"/>
              </a:spcBef>
              <a:buNone/>
              <a:defRPr sz="2600">
                <a:gradFill>
                  <a:gsLst>
                    <a:gs pos="1250">
                      <a:srgbClr val="FFFFFF"/>
                    </a:gs>
                    <a:gs pos="99000">
                      <a:srgbClr val="FFFFFF"/>
                    </a:gs>
                  </a:gsLst>
                  <a:lin ang="5400000" scaled="0"/>
                </a:gradFill>
              </a:defRPr>
            </a:lvl1pPr>
          </a:lstStyle>
          <a:p>
            <a:pPr lvl="0"/>
            <a:r>
              <a:rPr lang="en-US" dirty="0" smtClean="0"/>
              <a:t>Speaker Name</a:t>
            </a:r>
          </a:p>
        </p:txBody>
      </p:sp>
      <p:pic>
        <p:nvPicPr>
          <p:cNvPr id="6" name="Picture 2" descr="D:\Documents\Projects\2012 Projects\_Template-Templates\MS Visual ID\Artwork\MSFT_cornerstone_tiles\CornerStoneTile-Blank\screen\CS_Tile_Purp526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01931" y="217134"/>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337012" y="4546067"/>
            <a:ext cx="1141803" cy="244625"/>
          </a:xfrm>
          <a:prstGeom prst="rect">
            <a:avLst/>
          </a:prstGeom>
        </p:spPr>
      </p:pic>
    </p:spTree>
    <p:extLst>
      <p:ext uri="{BB962C8B-B14F-4D97-AF65-F5344CB8AC3E}">
        <p14:creationId xmlns:p14="http://schemas.microsoft.com/office/powerpoint/2010/main" val="15096120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3076" name="Picture 4" descr="D:\Online_ART\Recent Additions\_FY12 Microsoft Brand Photography_NA_only_no-exp\144 ppi RGB jpg\MSC12_Chris_002.jpg"/>
          <p:cNvPicPr>
            <a:picLocks noChangeAspect="1" noChangeArrowheads="1"/>
          </p:cNvPicPr>
          <p:nvPr/>
        </p:nvPicPr>
        <p:blipFill rotWithShape="1">
          <a:blip r:embed="rId2">
            <a:extLst>
              <a:ext uri="{28A0092B-C50C-407E-A947-70E740481C1C}">
                <a14:useLocalDpi xmlns:a14="http://schemas.microsoft.com/office/drawing/2010/main"/>
              </a:ext>
            </a:extLst>
          </a:blip>
          <a:srcRect l="114" t="1" b="-114"/>
          <a:stretch/>
        </p:blipFill>
        <p:spPr bwMode="auto">
          <a:xfrm flipH="1">
            <a:off x="-1" y="1"/>
            <a:ext cx="9144001" cy="51434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bwMode="gray">
          <a:xfrm>
            <a:off x="201930" y="1563129"/>
            <a:ext cx="5378549" cy="268965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5379716" cy="1346106"/>
          </a:xfrm>
          <a:noFill/>
        </p:spPr>
        <p:txBody>
          <a:bodyPr lIns="120481" tIns="75301" rIns="120481" bIns="75301" anchor="t" anchorCtr="0"/>
          <a:lstStyle>
            <a:lvl1pPr>
              <a:defRPr sz="49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0762" y="2910293"/>
            <a:ext cx="5379716" cy="1342493"/>
          </a:xfrm>
        </p:spPr>
        <p:txBody>
          <a:bodyPr tIns="90361" bIns="90361">
            <a:noAutofit/>
          </a:bodyPr>
          <a:lstStyle>
            <a:lvl1pPr marL="0" indent="0">
              <a:spcBef>
                <a:spcPts val="0"/>
              </a:spcBef>
              <a:buNone/>
              <a:defRPr sz="2600">
                <a:gradFill>
                  <a:gsLst>
                    <a:gs pos="1250">
                      <a:srgbClr val="FFFFFF"/>
                    </a:gs>
                    <a:gs pos="99000">
                      <a:srgbClr val="FFFFFF"/>
                    </a:gs>
                  </a:gsLst>
                  <a:lin ang="5400000" scaled="0"/>
                </a:gradFill>
              </a:defRPr>
            </a:lvl1pPr>
          </a:lstStyle>
          <a:p>
            <a:pPr lvl="0"/>
            <a:r>
              <a:rPr lang="en-US" smtClean="0"/>
              <a:t>Click to edit Master text styles</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7665204" y="353343"/>
            <a:ext cx="1141803" cy="244625"/>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6 for internal audiences">
    <p:spTree>
      <p:nvGrpSpPr>
        <p:cNvPr id="1" name=""/>
        <p:cNvGrpSpPr/>
        <p:nvPr/>
      </p:nvGrpSpPr>
      <p:grpSpPr>
        <a:xfrm>
          <a:off x="0" y="0"/>
          <a:ext cx="0" cy="0"/>
          <a:chOff x="0" y="0"/>
          <a:chExt cx="0" cy="0"/>
        </a:xfrm>
      </p:grpSpPr>
      <p:pic>
        <p:nvPicPr>
          <p:cNvPr id="8" name="Picture 4" descr="D:\Online_ART\Recent Additions\_FY12 Microsoft Brand Photography_NA_only_no-exp\144 ppi RGB jpg\MSC12_Chris_002.jpg"/>
          <p:cNvPicPr>
            <a:picLocks noChangeAspect="1" noChangeArrowheads="1"/>
          </p:cNvPicPr>
          <p:nvPr/>
        </p:nvPicPr>
        <p:blipFill rotWithShape="1">
          <a:blip r:embed="rId2">
            <a:extLst>
              <a:ext uri="{28A0092B-C50C-407E-A947-70E740481C1C}">
                <a14:useLocalDpi xmlns:a14="http://schemas.microsoft.com/office/drawing/2010/main"/>
              </a:ext>
            </a:extLst>
          </a:blip>
          <a:srcRect l="114" t="1" b="-114"/>
          <a:stretch/>
        </p:blipFill>
        <p:spPr bwMode="auto">
          <a:xfrm flipH="1">
            <a:off x="-1" y="1"/>
            <a:ext cx="9144001" cy="51434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gray">
          <a:xfrm>
            <a:off x="201930" y="1563129"/>
            <a:ext cx="5378549" cy="268965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2" descr="D:\Documents\Projects\2012 Projects\_Template-Templates\MS Visual ID\Artwork\MSFT_cornerstone_tiles\CornerStoneTile-Blank\screen\CS_Tile_Purp526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01931" y="217134"/>
            <a:ext cx="1344637" cy="134482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00762" y="1561851"/>
            <a:ext cx="5379716" cy="1346106"/>
          </a:xfrm>
          <a:noFill/>
        </p:spPr>
        <p:txBody>
          <a:bodyPr lIns="120481" tIns="75301" rIns="120481" bIns="75301" anchor="t" anchorCtr="0"/>
          <a:lstStyle>
            <a:lvl1pPr>
              <a:defRPr sz="49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p:nvPr>
        </p:nvSpPr>
        <p:spPr bwMode="ltGray">
          <a:xfrm>
            <a:off x="200762" y="2910293"/>
            <a:ext cx="5379716" cy="1342493"/>
          </a:xfrm>
        </p:spPr>
        <p:txBody>
          <a:bodyPr tIns="90361" bIns="90361">
            <a:noAutofit/>
          </a:bodyPr>
          <a:lstStyle>
            <a:lvl1pPr marL="0" indent="0">
              <a:spcBef>
                <a:spcPts val="0"/>
              </a:spcBef>
              <a:buNone/>
              <a:defRPr sz="2600">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7665206" y="352808"/>
            <a:ext cx="1141803" cy="244625"/>
          </a:xfrm>
          <a:prstGeom prst="rect">
            <a:avLst/>
          </a:prstGeom>
        </p:spPr>
      </p:pic>
    </p:spTree>
    <p:extLst>
      <p:ext uri="{BB962C8B-B14F-4D97-AF65-F5344CB8AC3E}">
        <p14:creationId xmlns:p14="http://schemas.microsoft.com/office/powerpoint/2010/main" val="38262705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7">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234" y="1"/>
            <a:ext cx="9143533" cy="51421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7" name="Rectangle 16"/>
          <p:cNvSpPr/>
          <p:nvPr/>
        </p:nvSpPr>
        <p:spPr bwMode="gray">
          <a:xfrm>
            <a:off x="201929" y="1563129"/>
            <a:ext cx="4033912" cy="336207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3" y="1561851"/>
            <a:ext cx="4035079" cy="2018520"/>
          </a:xfrm>
          <a:noFill/>
        </p:spPr>
        <p:txBody>
          <a:bodyPr lIns="120481" tIns="75301" rIns="120481" bIns="75301" anchor="t" anchorCtr="0"/>
          <a:lstStyle>
            <a:lvl1pPr>
              <a:defRPr sz="44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3" y="3580371"/>
            <a:ext cx="4035079" cy="1344828"/>
          </a:xfrm>
          <a:noFill/>
        </p:spPr>
        <p:txBody>
          <a:bodyPr tIns="90361" bIns="90361">
            <a:noAutofit/>
          </a:bodyPr>
          <a:lstStyle>
            <a:lvl1pPr marL="0" indent="0">
              <a:spcBef>
                <a:spcPts val="0"/>
              </a:spcBef>
              <a:buNone/>
              <a:defRPr sz="26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336993" y="353343"/>
            <a:ext cx="1141803" cy="244625"/>
          </a:xfrm>
          <a:prstGeom prst="rect">
            <a:avLst/>
          </a:prstGeom>
        </p:spPr>
      </p:pic>
    </p:spTree>
    <p:extLst>
      <p:ext uri="{BB962C8B-B14F-4D97-AF65-F5344CB8AC3E}">
        <p14:creationId xmlns:p14="http://schemas.microsoft.com/office/powerpoint/2010/main" val="1929004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7 for internal audiences">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234" y="1"/>
            <a:ext cx="9143533" cy="514212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9" name="Rectangle 18"/>
          <p:cNvSpPr/>
          <p:nvPr/>
        </p:nvSpPr>
        <p:spPr bwMode="gray">
          <a:xfrm>
            <a:off x="201929" y="1563129"/>
            <a:ext cx="4033912" cy="336207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2" descr="D:\Documents\Projects\2012 Projects\_Template-Templates\MS Visual ID\Artwork\MSFT_cornerstone_tiles\CornerStoneTile-Blank\screen\CS_Tile_Lime382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01931" y="218302"/>
            <a:ext cx="1344637" cy="134482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00763" y="1561851"/>
            <a:ext cx="4035079" cy="2018520"/>
          </a:xfrm>
          <a:noFill/>
        </p:spPr>
        <p:txBody>
          <a:bodyPr lIns="120481" tIns="75301" rIns="120481" bIns="75301" anchor="t" anchorCtr="0"/>
          <a:lstStyle>
            <a:lvl1pPr>
              <a:defRPr sz="44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3" y="3580371"/>
            <a:ext cx="4035079" cy="1344828"/>
          </a:xfrm>
          <a:noFill/>
        </p:spPr>
        <p:txBody>
          <a:bodyPr tIns="90361" bIns="90361">
            <a:noAutofit/>
          </a:bodyPr>
          <a:lstStyle>
            <a:lvl1pPr marL="0" indent="0">
              <a:spcBef>
                <a:spcPts val="0"/>
              </a:spcBef>
              <a:buNone/>
              <a:defRPr sz="26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7665186" y="4546067"/>
            <a:ext cx="1141803" cy="244625"/>
          </a:xfrm>
          <a:prstGeom prst="rect">
            <a:avLst/>
          </a:prstGeom>
        </p:spPr>
      </p:pic>
    </p:spTree>
    <p:extLst>
      <p:ext uri="{BB962C8B-B14F-4D97-AF65-F5344CB8AC3E}">
        <p14:creationId xmlns:p14="http://schemas.microsoft.com/office/powerpoint/2010/main" val="12087647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8">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a:ext>
            </a:extLst>
          </a:blip>
          <a:srcRect/>
          <a:stretch/>
        </p:blipFill>
        <p:spPr>
          <a:xfrm flipH="1">
            <a:off x="654" y="2"/>
            <a:ext cx="9142698" cy="5143497"/>
          </a:xfrm>
          <a:prstGeom prst="rect">
            <a:avLst/>
          </a:prstGeom>
        </p:spPr>
      </p:pic>
      <p:sp>
        <p:nvSpPr>
          <p:cNvPr id="18" name="Rectangle 17"/>
          <p:cNvSpPr/>
          <p:nvPr/>
        </p:nvSpPr>
        <p:spPr bwMode="gray">
          <a:xfrm>
            <a:off x="201930" y="1563129"/>
            <a:ext cx="5378549" cy="2017242"/>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3129"/>
            <a:ext cx="5379716" cy="2017242"/>
          </a:xfrm>
          <a:noFill/>
        </p:spPr>
        <p:txBody>
          <a:bodyPr vert="horz" wrap="square" lIns="120481" tIns="75301" rIns="120481" bIns="75301" rtlCol="0" anchor="t" anchorCtr="0">
            <a:noAutofit/>
          </a:bodyPr>
          <a:lstStyle>
            <a:lvl1pPr>
              <a:defRPr lang="en-US" sz="4900" spc="-82"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31" y="3580370"/>
            <a:ext cx="4035079" cy="1344828"/>
          </a:xfrm>
        </p:spPr>
        <p:txBody>
          <a:bodyPr tIns="90361" bIns="90361">
            <a:noAutofit/>
          </a:bodyPr>
          <a:lstStyle>
            <a:lvl1pPr marL="0" indent="0">
              <a:spcBef>
                <a:spcPts val="0"/>
              </a:spcBef>
              <a:buNone/>
              <a:defRPr sz="26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336993" y="353343"/>
            <a:ext cx="1141803" cy="244625"/>
          </a:xfrm>
          <a:prstGeom prst="rect">
            <a:avLst/>
          </a:prstGeom>
        </p:spPr>
      </p:pic>
    </p:spTree>
    <p:extLst>
      <p:ext uri="{BB962C8B-B14F-4D97-AF65-F5344CB8AC3E}">
        <p14:creationId xmlns:p14="http://schemas.microsoft.com/office/powerpoint/2010/main" val="23591074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8 for internal audiences">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a:ext>
            </a:extLst>
          </a:blip>
          <a:srcRect/>
          <a:stretch/>
        </p:blipFill>
        <p:spPr>
          <a:xfrm flipH="1">
            <a:off x="654" y="2"/>
            <a:ext cx="9142698" cy="5143497"/>
          </a:xfrm>
          <a:prstGeom prst="rect">
            <a:avLst/>
          </a:prstGeom>
        </p:spPr>
      </p:pic>
      <p:sp>
        <p:nvSpPr>
          <p:cNvPr id="19" name="Rectangle 18"/>
          <p:cNvSpPr/>
          <p:nvPr/>
        </p:nvSpPr>
        <p:spPr bwMode="gray">
          <a:xfrm>
            <a:off x="201930" y="1563129"/>
            <a:ext cx="5378549" cy="2017242"/>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D:\Documents\Projects\2012 Projects\_Template-Templates\MS Visual ID\Artwork\MSFT_cornerstone_tiles\CornerStoneTile-Blank\screen\CS_Tile_Red185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01931" y="218301"/>
            <a:ext cx="1344637" cy="1344828"/>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bwMode="ltGray">
          <a:xfrm>
            <a:off x="200762" y="1563130"/>
            <a:ext cx="5379716" cy="2017241"/>
          </a:xfrm>
          <a:noFill/>
        </p:spPr>
        <p:txBody>
          <a:bodyPr vert="horz" wrap="square" lIns="120481" tIns="75301" rIns="120481" bIns="75301" rtlCol="0" anchor="t" anchorCtr="0">
            <a:noAutofit/>
          </a:bodyPr>
          <a:lstStyle>
            <a:lvl1pPr>
              <a:defRPr lang="en-US" sz="4900" spc="-82"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31" y="3577242"/>
            <a:ext cx="4035079" cy="1344828"/>
          </a:xfrm>
        </p:spPr>
        <p:txBody>
          <a:bodyPr tIns="90361" bIns="90361">
            <a:noAutofit/>
          </a:bodyPr>
          <a:lstStyle>
            <a:lvl1pPr marL="0" indent="0">
              <a:spcBef>
                <a:spcPts val="0"/>
              </a:spcBef>
              <a:buNone/>
              <a:defRPr sz="26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7665204" y="353343"/>
            <a:ext cx="1141803" cy="244625"/>
          </a:xfrm>
          <a:prstGeom prst="rect">
            <a:avLst/>
          </a:prstGeom>
        </p:spPr>
      </p:pic>
    </p:spTree>
    <p:extLst>
      <p:ext uri="{BB962C8B-B14F-4D97-AF65-F5344CB8AC3E}">
        <p14:creationId xmlns:p14="http://schemas.microsoft.com/office/powerpoint/2010/main" val="948888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 9 ">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1769" y="5837"/>
            <a:ext cx="9140463" cy="5131826"/>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gray">
          <a:xfrm>
            <a:off x="201977" y="1563139"/>
            <a:ext cx="5378549" cy="336206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30" y="1563129"/>
            <a:ext cx="5378549" cy="2017242"/>
          </a:xfrm>
          <a:noFill/>
        </p:spPr>
        <p:txBody>
          <a:bodyPr lIns="120481" tIns="75301" rIns="120481" bIns="75301" anchor="t" anchorCtr="0"/>
          <a:lstStyle>
            <a:lvl1pPr>
              <a:defRPr sz="5400" spc="-82"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31" y="3579204"/>
            <a:ext cx="5378549" cy="1345996"/>
          </a:xfrm>
          <a:noFill/>
        </p:spPr>
        <p:txBody>
          <a:bodyPr lIns="120481" tIns="90361" rIns="120481" bIns="90361">
            <a:noAutofit/>
          </a:bodyPr>
          <a:lstStyle>
            <a:lvl1pPr marL="0" indent="0">
              <a:spcBef>
                <a:spcPts val="0"/>
              </a:spcBef>
              <a:buNone/>
              <a:defRPr sz="26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336993" y="353343"/>
            <a:ext cx="1141803" cy="244625"/>
          </a:xfrm>
          <a:prstGeom prst="rect">
            <a:avLst/>
          </a:prstGeom>
        </p:spPr>
      </p:pic>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9 for internal audiences">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1769" y="5838"/>
            <a:ext cx="9140463" cy="513182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gray">
          <a:xfrm>
            <a:off x="201977" y="890733"/>
            <a:ext cx="5378549" cy="2689638"/>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30" y="890132"/>
            <a:ext cx="5378549" cy="1345412"/>
          </a:xfrm>
          <a:noFill/>
        </p:spPr>
        <p:txBody>
          <a:bodyPr lIns="120481" tIns="75301" rIns="120481" bIns="75301" anchor="t" anchorCtr="0"/>
          <a:lstStyle>
            <a:lvl1pPr>
              <a:defRPr sz="4900" spc="-82"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01930" y="2234376"/>
            <a:ext cx="5378549" cy="1345996"/>
          </a:xfrm>
          <a:noFill/>
        </p:spPr>
        <p:txBody>
          <a:bodyPr lIns="120481" tIns="90361" rIns="120481" bIns="90361">
            <a:noAutofit/>
          </a:bodyPr>
          <a:lstStyle>
            <a:lvl1pPr marL="0" indent="0">
              <a:spcBef>
                <a:spcPts val="0"/>
              </a:spcBef>
              <a:buNone/>
              <a:defRPr sz="26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10" name="Picture 2" descr="D:\Documents\Projects\2012 Projects\_Template-Templates\MS Visual ID\Artwork\MSFT_cornerstone_tiles\CornerStoneTile-Blank\screen\CS_Tile_Purp526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01931" y="3580371"/>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7665186" y="4546067"/>
            <a:ext cx="1141803" cy="244625"/>
          </a:xfrm>
          <a:prstGeom prst="rect">
            <a:avLst/>
          </a:prstGeom>
        </p:spPr>
      </p:pic>
    </p:spTree>
    <p:extLst>
      <p:ext uri="{BB962C8B-B14F-4D97-AF65-F5344CB8AC3E}">
        <p14:creationId xmlns:p14="http://schemas.microsoft.com/office/powerpoint/2010/main" val="21781747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01976" y="890733"/>
            <a:ext cx="7395458" cy="201722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889767"/>
            <a:ext cx="7394337" cy="2023491"/>
          </a:xfrm>
          <a:noFill/>
        </p:spPr>
        <p:txBody>
          <a:bodyPr tIns="75301" bIns="75301" anchor="t" anchorCtr="0"/>
          <a:lstStyle>
            <a:lvl1pPr>
              <a:defRPr sz="5900" spc="-82"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1" y="2907958"/>
            <a:ext cx="7395505" cy="1345411"/>
          </a:xfrm>
          <a:noFill/>
        </p:spPr>
        <p:txBody>
          <a:bodyPr lIns="150602" tIns="120481" rIns="150602" bIns="120481">
            <a:noAutofit/>
          </a:bodyPr>
          <a:lstStyle>
            <a:lvl1pPr marL="0" indent="0">
              <a:spcBef>
                <a:spcPts val="0"/>
              </a:spcBef>
              <a:buNone/>
              <a:defRPr sz="30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Slide 1 for internal audiences">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03097" y="2907957"/>
            <a:ext cx="5377382" cy="1345996"/>
          </a:xfrm>
          <a:noFill/>
        </p:spPr>
        <p:txBody>
          <a:bodyPr lIns="120481" tIns="90361" rIns="120481" bIns="90361">
            <a:noAutofit/>
          </a:bodyPr>
          <a:lstStyle>
            <a:lvl1pPr marL="0" indent="0">
              <a:spcBef>
                <a:spcPts val="0"/>
              </a:spcBef>
              <a:buNone/>
              <a:defRPr sz="3000" spc="0" baseline="0">
                <a:gradFill>
                  <a:gsLst>
                    <a:gs pos="2917">
                      <a:schemeClr val="tx1"/>
                    </a:gs>
                    <a:gs pos="3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01977" y="1556880"/>
            <a:ext cx="7395458" cy="1351077"/>
          </a:xfrm>
          <a:noFill/>
        </p:spPr>
        <p:txBody>
          <a:bodyPr lIns="120481" tIns="75301" rIns="120481" bIns="75301" anchor="t" anchorCtr="0"/>
          <a:lstStyle>
            <a:lvl1pPr>
              <a:defRPr sz="4900" spc="-82" baseline="0">
                <a:gradFill>
                  <a:gsLst>
                    <a:gs pos="3333">
                      <a:schemeClr val="tx2"/>
                    </a:gs>
                    <a:gs pos="39000">
                      <a:schemeClr val="tx2"/>
                    </a:gs>
                  </a:gsLst>
                  <a:lin ang="5400000" scaled="0"/>
                </a:gradFill>
              </a:defRPr>
            </a:lvl1pPr>
          </a:lstStyle>
          <a:p>
            <a:r>
              <a:rPr lang="en-US" dirty="0" smtClean="0"/>
              <a:t>Presentation title</a:t>
            </a:r>
            <a:endParaRPr lang="en-US" dirty="0"/>
          </a:p>
        </p:txBody>
      </p:sp>
      <p:pic>
        <p:nvPicPr>
          <p:cNvPr id="7" name="Picture 2" descr="D:\Documents\Projects\2012 Projects\_Template-Templates\MS Visual ID\Artwork\MSFT_cornerstone_tiles\CornerStoneTile-Blank\screen\CS_Tile_Purp526_rgb.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1931" y="218302"/>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7655401" y="352808"/>
            <a:ext cx="1141803" cy="244625"/>
          </a:xfrm>
          <a:prstGeom prst="rect">
            <a:avLst/>
          </a:prstGeom>
        </p:spPr>
      </p:pic>
    </p:spTree>
    <p:extLst>
      <p:ext uri="{BB962C8B-B14F-4D97-AF65-F5344CB8AC3E}">
        <p14:creationId xmlns:p14="http://schemas.microsoft.com/office/powerpoint/2010/main" val="2363487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01976" y="890733"/>
            <a:ext cx="7395458" cy="201722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31" y="889767"/>
            <a:ext cx="7394337" cy="2023491"/>
          </a:xfrm>
          <a:noFill/>
        </p:spPr>
        <p:txBody>
          <a:bodyPr tIns="75301" bIns="75301" anchor="t" anchorCtr="0"/>
          <a:lstStyle>
            <a:lvl1pPr>
              <a:defRPr sz="5900" spc="-82"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75301" bIns="75301"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75301" bIns="75301"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1563129"/>
            <a:ext cx="8740142" cy="1347163"/>
          </a:xfrm>
          <a:noFill/>
        </p:spPr>
        <p:txBody>
          <a:bodyPr tIns="75301" bIns="75301" anchor="t" anchorCtr="0"/>
          <a:lstStyle>
            <a:lvl1pPr>
              <a:defRPr sz="7200" spc="-82"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3"/>
            <a:ext cx="8740142" cy="1658639"/>
          </a:xfrm>
        </p:spPr>
        <p:txBody>
          <a:bodyPr/>
          <a:lstStyle>
            <a:lvl1pPr marL="0" indent="0">
              <a:buNone/>
              <a:defRPr>
                <a:gradFill>
                  <a:gsLst>
                    <a:gs pos="1250">
                      <a:schemeClr val="tx2"/>
                    </a:gs>
                    <a:gs pos="99000">
                      <a:schemeClr val="tx2"/>
                    </a:gs>
                  </a:gsLst>
                  <a:lin ang="5400000" scaled="0"/>
                </a:gradFill>
              </a:defRPr>
            </a:lvl1pPr>
            <a:lvl2pPr marL="0" indent="0">
              <a:buFontTx/>
              <a:buNone/>
              <a:defRPr sz="1600"/>
            </a:lvl2pPr>
            <a:lvl3pPr marL="188252" indent="0">
              <a:buNone/>
              <a:defRPr/>
            </a:lvl3pPr>
            <a:lvl4pPr marL="376504" indent="0">
              <a:buNone/>
              <a:defRPr/>
            </a:lvl4pPr>
            <a:lvl5pPr marL="56475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891883"/>
            <a:ext cx="8740142" cy="1658639"/>
          </a:xfrm>
        </p:spPr>
        <p:txBody>
          <a:bodyPr/>
          <a:lstStyle>
            <a:lvl1pPr marL="0" indent="0">
              <a:buNone/>
              <a:defRPr>
                <a:gradFill>
                  <a:gsLst>
                    <a:gs pos="1250">
                      <a:schemeClr val="tx1"/>
                    </a:gs>
                    <a:gs pos="99000">
                      <a:schemeClr val="tx1"/>
                    </a:gs>
                  </a:gsLst>
                  <a:lin ang="5400000" scaled="0"/>
                </a:gradFill>
              </a:defRPr>
            </a:lvl1pPr>
            <a:lvl2pPr marL="0" indent="0">
              <a:buFontTx/>
              <a:buNone/>
              <a:defRPr sz="1600"/>
            </a:lvl2pPr>
            <a:lvl3pPr marL="188252" indent="0">
              <a:buNone/>
              <a:defRPr/>
            </a:lvl3pPr>
            <a:lvl4pPr marL="376504" indent="0">
              <a:buNone/>
              <a:defRPr/>
            </a:lvl4pPr>
            <a:lvl5pPr marL="564756"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72635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172635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29941979"/>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891882"/>
            <a:ext cx="4033911" cy="2032588"/>
          </a:xfrm>
        </p:spPr>
        <p:txBody>
          <a:bodyPr wrap="square">
            <a:spAutoFit/>
          </a:bodyPr>
          <a:lstStyle>
            <a:lvl1pPr marL="0" indent="0">
              <a:spcBef>
                <a:spcPts val="1008"/>
              </a:spcBef>
              <a:buClr>
                <a:schemeClr val="tx1"/>
              </a:buClr>
              <a:buFont typeface="Wingdings" pitchFamily="2" charset="2"/>
              <a:buNone/>
              <a:defRPr sz="3000">
                <a:gradFill>
                  <a:gsLst>
                    <a:gs pos="1250">
                      <a:schemeClr val="tx2"/>
                    </a:gs>
                    <a:gs pos="99000">
                      <a:schemeClr val="tx2"/>
                    </a:gs>
                  </a:gsLst>
                  <a:lin ang="5400000" scaled="0"/>
                </a:gradFill>
              </a:defRPr>
            </a:lvl1pPr>
            <a:lvl2pPr marL="0" indent="0">
              <a:buNone/>
              <a:defRPr sz="1600"/>
            </a:lvl2pPr>
            <a:lvl3pPr marL="190867" indent="0">
              <a:buNone/>
              <a:tabLst/>
              <a:defRPr sz="1600"/>
            </a:lvl3pPr>
            <a:lvl4pPr marL="379119" indent="0">
              <a:buNone/>
              <a:defRPr/>
            </a:lvl4pPr>
            <a:lvl5pPr marL="56475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2" y="891882"/>
            <a:ext cx="4033911" cy="2032588"/>
          </a:xfrm>
        </p:spPr>
        <p:txBody>
          <a:bodyPr wrap="square">
            <a:spAutoFit/>
          </a:bodyPr>
          <a:lstStyle>
            <a:lvl1pPr marL="0" indent="0">
              <a:spcBef>
                <a:spcPts val="1008"/>
              </a:spcBef>
              <a:buClr>
                <a:schemeClr val="tx1"/>
              </a:buClr>
              <a:buFont typeface="Wingdings" pitchFamily="2" charset="2"/>
              <a:buNone/>
              <a:defRPr sz="3000">
                <a:gradFill>
                  <a:gsLst>
                    <a:gs pos="1250">
                      <a:schemeClr val="tx2"/>
                    </a:gs>
                    <a:gs pos="99000">
                      <a:schemeClr val="tx2"/>
                    </a:gs>
                  </a:gsLst>
                  <a:lin ang="5400000" scaled="0"/>
                </a:gradFill>
              </a:defRPr>
            </a:lvl1pPr>
            <a:lvl2pPr marL="0" indent="0">
              <a:buNone/>
              <a:defRPr sz="1600"/>
            </a:lvl2pPr>
            <a:lvl3pPr marL="190867" indent="0">
              <a:buNone/>
              <a:tabLst/>
              <a:defRPr sz="1600"/>
            </a:lvl3pPr>
            <a:lvl4pPr marL="379119" indent="0">
              <a:buNone/>
              <a:defRPr/>
            </a:lvl4pPr>
            <a:lvl5pPr marL="56475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891882"/>
            <a:ext cx="4033911" cy="2032588"/>
          </a:xfrm>
        </p:spPr>
        <p:txBody>
          <a:bodyPr wrap="square">
            <a:spAutoFit/>
          </a:bodyPr>
          <a:lstStyle>
            <a:lvl1pPr marL="0" indent="0">
              <a:spcBef>
                <a:spcPts val="1008"/>
              </a:spcBef>
              <a:buClr>
                <a:schemeClr val="tx1"/>
              </a:buClr>
              <a:buFont typeface="Wingdings" pitchFamily="2" charset="2"/>
              <a:buNone/>
              <a:defRPr sz="3000"/>
            </a:lvl1pPr>
            <a:lvl2pPr marL="0" indent="0">
              <a:buNone/>
              <a:defRPr sz="1600"/>
            </a:lvl2pPr>
            <a:lvl3pPr marL="190867" indent="0">
              <a:buNone/>
              <a:tabLst/>
              <a:defRPr sz="1600"/>
            </a:lvl3pPr>
            <a:lvl4pPr marL="379119" indent="0">
              <a:buNone/>
              <a:defRPr/>
            </a:lvl4pPr>
            <a:lvl5pPr marL="56475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2" y="891882"/>
            <a:ext cx="4033911" cy="2032588"/>
          </a:xfrm>
        </p:spPr>
        <p:txBody>
          <a:bodyPr wrap="square">
            <a:spAutoFit/>
          </a:bodyPr>
          <a:lstStyle>
            <a:lvl1pPr marL="0" indent="0">
              <a:spcBef>
                <a:spcPts val="1008"/>
              </a:spcBef>
              <a:buClr>
                <a:schemeClr val="tx1"/>
              </a:buClr>
              <a:buFont typeface="Wingdings" pitchFamily="2" charset="2"/>
              <a:buNone/>
              <a:defRPr sz="3000"/>
            </a:lvl1pPr>
            <a:lvl2pPr marL="0" indent="0">
              <a:buNone/>
              <a:defRPr sz="1600"/>
            </a:lvl2pPr>
            <a:lvl3pPr marL="190867" indent="0">
              <a:buNone/>
              <a:tabLst/>
              <a:defRPr sz="1600"/>
            </a:lvl3pPr>
            <a:lvl4pPr marL="379119" indent="0">
              <a:buNone/>
              <a:defRPr/>
            </a:lvl4pPr>
            <a:lvl5pPr marL="564756"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Rectangle 2"/>
          <p:cNvSpPr/>
          <p:nvPr/>
        </p:nvSpPr>
        <p:spPr bwMode="auto">
          <a:xfrm>
            <a:off x="201929" y="1563129"/>
            <a:ext cx="6723186" cy="268965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01977" y="1563140"/>
            <a:ext cx="6723139" cy="1344818"/>
          </a:xfrm>
          <a:noFill/>
        </p:spPr>
        <p:txBody>
          <a:bodyPr lIns="120481" tIns="75301" rIns="120481" bIns="75301" anchor="t" anchorCtr="0"/>
          <a:lstStyle>
            <a:lvl1pPr>
              <a:defRPr sz="49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337362" y="353342"/>
            <a:ext cx="1880604" cy="402909"/>
          </a:xfrm>
          <a:prstGeom prst="rect">
            <a:avLst/>
          </a:prstGeom>
        </p:spPr>
      </p:pic>
      <p:sp>
        <p:nvSpPr>
          <p:cNvPr id="5" name="Text Placeholder 4"/>
          <p:cNvSpPr>
            <a:spLocks noGrp="1"/>
          </p:cNvSpPr>
          <p:nvPr>
            <p:ph type="body" sz="quarter" idx="12" hasCustomPrompt="1"/>
          </p:nvPr>
        </p:nvSpPr>
        <p:spPr>
          <a:xfrm>
            <a:off x="201976" y="2908930"/>
            <a:ext cx="6723140" cy="1344245"/>
          </a:xfrm>
          <a:noFill/>
        </p:spPr>
        <p:txBody>
          <a:bodyPr lIns="120481" tIns="90361" rIns="120481" bIns="90361">
            <a:noAutofit/>
          </a:bodyPr>
          <a:lstStyle>
            <a:lvl1pPr marL="0" indent="0">
              <a:spcBef>
                <a:spcPts val="0"/>
              </a:spcBef>
              <a:buNone/>
              <a:defRPr sz="3000" spc="0" baseline="0">
                <a:gradFill>
                  <a:gsLst>
                    <a:gs pos="2917">
                      <a:srgbClr val="FFFFFF"/>
                    </a:gs>
                    <a:gs pos="3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891882"/>
            <a:ext cx="4033911" cy="2100298"/>
          </a:xfrm>
        </p:spPr>
        <p:txBody>
          <a:bodyPr wrap="square">
            <a:spAutoFit/>
          </a:bodyPr>
          <a:lstStyle>
            <a:lvl1pPr marL="236623" indent="-236623">
              <a:spcBef>
                <a:spcPts val="1008"/>
              </a:spcBef>
              <a:buClr>
                <a:schemeClr val="tx1"/>
              </a:buClr>
              <a:buFont typeface="Arial" pitchFamily="34" charset="0"/>
              <a:buChar char="•"/>
              <a:defRPr sz="3000"/>
            </a:lvl1pPr>
            <a:lvl2pPr marL="437415" indent="-192036">
              <a:defRPr sz="2000"/>
            </a:lvl2pPr>
            <a:lvl3pPr marL="576108" indent="-138693">
              <a:tabLst/>
              <a:defRPr sz="1600"/>
            </a:lvl3pPr>
            <a:lvl4pPr marL="725469" indent="-149361">
              <a:defRPr/>
            </a:lvl4pPr>
            <a:lvl5pPr marL="864162" indent="-138693">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2" y="891882"/>
            <a:ext cx="4033911" cy="2100298"/>
          </a:xfrm>
        </p:spPr>
        <p:txBody>
          <a:bodyPr wrap="square">
            <a:spAutoFit/>
          </a:bodyPr>
          <a:lstStyle>
            <a:lvl1pPr marL="236623" indent="-236623">
              <a:spcBef>
                <a:spcPts val="1008"/>
              </a:spcBef>
              <a:buClr>
                <a:schemeClr val="tx1"/>
              </a:buClr>
              <a:buFont typeface="Arial" pitchFamily="34" charset="0"/>
              <a:buChar char="•"/>
              <a:defRPr sz="3000"/>
            </a:lvl1pPr>
            <a:lvl2pPr marL="437415" indent="-192036">
              <a:defRPr sz="2000"/>
            </a:lvl2pPr>
            <a:lvl3pPr marL="576108" indent="-138693">
              <a:tabLst/>
              <a:defRPr sz="1600"/>
            </a:lvl3pPr>
            <a:lvl4pPr marL="725469" indent="-149361">
              <a:defRPr/>
            </a:lvl4pPr>
            <a:lvl5pPr marL="864162" indent="-138693">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1" y="891882"/>
            <a:ext cx="4033911" cy="2100298"/>
          </a:xfrm>
        </p:spPr>
        <p:txBody>
          <a:bodyPr wrap="square">
            <a:spAutoFit/>
          </a:bodyPr>
          <a:lstStyle>
            <a:lvl1pPr marL="236623" indent="-236623">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7415" indent="-192036">
              <a:defRPr sz="2000"/>
            </a:lvl2pPr>
            <a:lvl3pPr marL="576108" indent="-138693">
              <a:tabLst/>
              <a:defRPr sz="1600"/>
            </a:lvl3pPr>
            <a:lvl4pPr marL="725469" indent="-149361">
              <a:defRPr/>
            </a:lvl4pPr>
            <a:lvl5pPr marL="864162" indent="-138693">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2" y="891882"/>
            <a:ext cx="4033911" cy="2100298"/>
          </a:xfrm>
        </p:spPr>
        <p:txBody>
          <a:bodyPr wrap="square">
            <a:spAutoFit/>
          </a:bodyPr>
          <a:lstStyle>
            <a:lvl1pPr marL="236623" indent="-236623">
              <a:spcBef>
                <a:spcPts val="1008"/>
              </a:spcBef>
              <a:buClr>
                <a:schemeClr val="tx2"/>
              </a:buClr>
              <a:buFont typeface="Arial" pitchFamily="34" charset="0"/>
              <a:buChar char="•"/>
              <a:defRPr sz="3000">
                <a:gradFill>
                  <a:gsLst>
                    <a:gs pos="1250">
                      <a:schemeClr val="tx2"/>
                    </a:gs>
                    <a:gs pos="99000">
                      <a:schemeClr val="tx2"/>
                    </a:gs>
                  </a:gsLst>
                  <a:lin ang="5400000" scaled="0"/>
                </a:gradFill>
              </a:defRPr>
            </a:lvl1pPr>
            <a:lvl2pPr marL="437415" indent="-192036">
              <a:defRPr sz="2000"/>
            </a:lvl2pPr>
            <a:lvl3pPr marL="576108" indent="-138693">
              <a:tabLst/>
              <a:defRPr sz="1600"/>
            </a:lvl3pPr>
            <a:lvl4pPr marL="725469" indent="-149361">
              <a:defRPr/>
            </a:lvl4pPr>
            <a:lvl5pPr marL="864162" indent="-138693">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891882"/>
            <a:ext cx="9144000" cy="425161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8407" tIns="38407" rIns="38407" bIns="38407" numCol="1" spcCol="0" rtlCol="0" fromWordArt="0" anchor="ctr" anchorCtr="0" forceAA="0" compatLnSpc="1">
            <a:prstTxWarp prst="textNoShape">
              <a:avLst/>
            </a:prstTxWarp>
            <a:noAutofit/>
          </a:bodyPr>
          <a:lstStyle/>
          <a:p>
            <a:pPr algn="ctr" defTabSz="767891"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1" y="897991"/>
            <a:ext cx="8740141" cy="1643250"/>
          </a:xfrm>
        </p:spPr>
        <p:txBody>
          <a:bodyPr/>
          <a:lstStyle>
            <a:lvl1pPr marL="0" indent="0">
              <a:buNone/>
              <a:defRPr sz="2700">
                <a:gradFill>
                  <a:gsLst>
                    <a:gs pos="1250">
                      <a:srgbClr val="000000"/>
                    </a:gs>
                    <a:gs pos="100000">
                      <a:srgbClr val="000000"/>
                    </a:gs>
                  </a:gsLst>
                  <a:lin ang="5400000" scaled="0"/>
                </a:gradFill>
                <a:latin typeface="Segoe UI" pitchFamily="34" charset="0"/>
                <a:cs typeface="Segoe UI" pitchFamily="34" charset="0"/>
              </a:defRPr>
            </a:lvl1pPr>
            <a:lvl2pPr marL="285386" indent="0">
              <a:buNone/>
              <a:defRPr>
                <a:gradFill>
                  <a:gsLst>
                    <a:gs pos="1250">
                      <a:srgbClr val="000000"/>
                    </a:gs>
                    <a:gs pos="100000">
                      <a:srgbClr val="000000"/>
                    </a:gs>
                  </a:gsLst>
                  <a:lin ang="5400000" scaled="0"/>
                </a:gradFill>
                <a:latin typeface="Segoe UI" pitchFamily="34" charset="0"/>
                <a:cs typeface="Segoe UI" pitchFamily="34" charset="0"/>
              </a:defRPr>
            </a:lvl2pPr>
            <a:lvl3pPr marL="481424" indent="0">
              <a:buNone/>
              <a:defRPr>
                <a:gradFill>
                  <a:gsLst>
                    <a:gs pos="1250">
                      <a:srgbClr val="000000"/>
                    </a:gs>
                    <a:gs pos="100000">
                      <a:srgbClr val="000000"/>
                    </a:gs>
                  </a:gsLst>
                  <a:lin ang="5400000" scaled="0"/>
                </a:gradFill>
                <a:latin typeface="Segoe UI" pitchFamily="34" charset="0"/>
                <a:cs typeface="Segoe UI" pitchFamily="34" charset="0"/>
              </a:defRPr>
            </a:lvl3pPr>
            <a:lvl4pPr marL="670793" indent="0">
              <a:buNone/>
              <a:defRPr>
                <a:gradFill>
                  <a:gsLst>
                    <a:gs pos="1250">
                      <a:srgbClr val="000000"/>
                    </a:gs>
                    <a:gs pos="100000">
                      <a:srgbClr val="000000"/>
                    </a:gs>
                  </a:gsLst>
                  <a:lin ang="5400000" scaled="0"/>
                </a:gradFill>
                <a:latin typeface="Segoe UI" pitchFamily="34" charset="0"/>
                <a:cs typeface="Segoe UI" pitchFamily="34" charset="0"/>
              </a:defRPr>
            </a:lvl4pPr>
            <a:lvl5pPr marL="865496"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891883"/>
            <a:ext cx="8740142" cy="2006427"/>
          </a:xfrm>
          <a:prstGeom prst="rect">
            <a:avLst/>
          </a:prstGeom>
        </p:spPr>
        <p:txBody>
          <a:bodyPr/>
          <a:lstStyle>
            <a:lvl1pPr marL="239237" indent="-239237">
              <a:buClr>
                <a:schemeClr val="tx1"/>
              </a:buClr>
              <a:buSzPct val="90000"/>
              <a:buFont typeface="Arial" pitchFamily="34" charset="0"/>
              <a:buChar char="•"/>
              <a:defRPr sz="3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70630" indent="-231394">
              <a:buClr>
                <a:schemeClr val="tx1"/>
              </a:buClr>
              <a:buSzPct val="90000"/>
              <a:buFont typeface="Arial" pitchFamily="34" charset="0"/>
              <a:buChar char="•"/>
              <a:defRPr sz="26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9868" indent="-239237">
              <a:buClr>
                <a:schemeClr val="tx1"/>
              </a:buClr>
              <a:buSzPct val="90000"/>
              <a:buFont typeface="Arial" pitchFamily="34" charset="0"/>
              <a:buChar char="•"/>
              <a:defRPr sz="23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8120" indent="-18825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86372" indent="-188252">
              <a:buClr>
                <a:schemeClr val="tx1"/>
              </a:buClr>
              <a:buSzPct val="90000"/>
              <a:buFont typeface="Arial" pitchFamily="34" charset="0"/>
              <a:buChar char="•"/>
              <a:defRPr sz="16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4679157"/>
            <a:ext cx="9144001" cy="464344"/>
          </a:xfrm>
          <a:prstGeom prst="rect">
            <a:avLst/>
          </a:prstGeom>
          <a:solidFill>
            <a:srgbClr val="FFFF99"/>
          </a:solidFill>
        </p:spPr>
        <p:txBody>
          <a:bodyPr wrap="square" lIns="128019" tIns="64010" rIns="128019" bIns="64010" anchor="b" anchorCtr="0">
            <a:noAutofit/>
          </a:bodyPr>
          <a:lstStyle>
            <a:lvl1pPr algn="r">
              <a:buFont typeface="Arial" pitchFamily="34" charset="0"/>
              <a:buNone/>
              <a:defRPr sz="3000"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Master title style</a:t>
            </a:r>
            <a:endParaRPr lang="en-US" dirty="0"/>
          </a:p>
        </p:txBody>
      </p:sp>
      <p:sp>
        <p:nvSpPr>
          <p:cNvPr id="3" name="Content Placeholder 2"/>
          <p:cNvSpPr>
            <a:spLocks noGrp="1"/>
          </p:cNvSpPr>
          <p:nvPr>
            <p:ph sz="half" idx="1"/>
          </p:nvPr>
        </p:nvSpPr>
        <p:spPr>
          <a:xfrm>
            <a:off x="381000" y="1085851"/>
            <a:ext cx="4115872" cy="2728163"/>
          </a:xfrm>
        </p:spPr>
        <p:txBody>
          <a:bodyPr/>
          <a:lstStyle>
            <a:lvl1pPr marL="319806" indent="-319806">
              <a:lnSpc>
                <a:spcPct val="90000"/>
              </a:lnSpc>
              <a:defRPr sz="2700"/>
            </a:lvl1pPr>
            <a:lvl2pPr marL="633392" indent="-306118">
              <a:lnSpc>
                <a:spcPct val="90000"/>
              </a:lnSpc>
              <a:defRPr sz="2700"/>
            </a:lvl2pPr>
            <a:lvl3pPr marL="897201" indent="-271276">
              <a:lnSpc>
                <a:spcPct val="90000"/>
              </a:lnSpc>
              <a:defRPr sz="2700"/>
            </a:lvl3pPr>
            <a:lvl4pPr marL="1154788" indent="-257588">
              <a:lnSpc>
                <a:spcPct val="90000"/>
              </a:lnSpc>
              <a:defRPr sz="2700"/>
            </a:lvl4pPr>
            <a:lvl5pPr marL="1426064" indent="-263810">
              <a:lnSpc>
                <a:spcPct val="90000"/>
              </a:lnSpc>
              <a:defRPr sz="2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0"/>
          </p:nvPr>
        </p:nvSpPr>
        <p:spPr>
          <a:xfrm>
            <a:off x="381001" y="4821545"/>
            <a:ext cx="341760" cy="184666"/>
          </a:xfrm>
          <a:prstGeom prst="rect">
            <a:avLst/>
          </a:prstGeom>
        </p:spPr>
        <p:txBody>
          <a:bodyPr lIns="75301" tIns="37650" rIns="75301" bIns="37650"/>
          <a:lstStyle/>
          <a:p>
            <a:fld id="{B6F15528-21DE-4FAA-801E-634DDDAF4B2B}" type="slidenum">
              <a:rPr lang="en-US" smtClean="0"/>
              <a:pPr/>
              <a:t>‹#›</a:t>
            </a:fld>
            <a:endParaRPr lang="en-US"/>
          </a:p>
        </p:txBody>
      </p:sp>
      <p:sp>
        <p:nvSpPr>
          <p:cNvPr id="11" name="Text Placeholder 5"/>
          <p:cNvSpPr>
            <a:spLocks noGrp="1"/>
          </p:cNvSpPr>
          <p:nvPr>
            <p:ph type="body" sz="quarter" idx="12" hasCustomPrompt="1"/>
          </p:nvPr>
        </p:nvSpPr>
        <p:spPr>
          <a:xfrm>
            <a:off x="585014" y="4777158"/>
            <a:ext cx="1845150" cy="262872"/>
          </a:xfrm>
        </p:spPr>
        <p:txBody>
          <a:bodyPr anchor="ctr"/>
          <a:lstStyle>
            <a:lvl1pPr marL="0" indent="0" algn="l" defTabSz="860118" rtl="0" eaLnBrk="1" latinLnBrk="0" hangingPunct="1">
              <a:buNone/>
              <a:defRPr lang="en-US" sz="800" kern="1200" spc="0" baseline="0" dirty="0" smtClean="0">
                <a:gradFill>
                  <a:gsLst>
                    <a:gs pos="0">
                      <a:schemeClr val="tx1"/>
                    </a:gs>
                    <a:gs pos="99000">
                      <a:schemeClr val="tx1"/>
                    </a:gs>
                  </a:gsLst>
                  <a:lin ang="5400000" scaled="0"/>
                </a:gradFill>
                <a:latin typeface="+mn-lt"/>
                <a:ea typeface="+mn-ea"/>
                <a:cs typeface="+mn-cs"/>
              </a:defRPr>
            </a:lvl1pPr>
            <a:lvl2pPr marL="0" indent="0" algn="l" defTabSz="860118" rtl="0" eaLnBrk="1" latinLnBrk="0" hangingPunct="1">
              <a:buNone/>
              <a:defRPr lang="en-US" sz="800" kern="1200" dirty="0" smtClean="0">
                <a:gradFill>
                  <a:gsLst>
                    <a:gs pos="0">
                      <a:schemeClr val="tx1"/>
                    </a:gs>
                    <a:gs pos="99000">
                      <a:schemeClr val="tx1"/>
                    </a:gs>
                  </a:gsLst>
                  <a:lin ang="5400000" scaled="0"/>
                </a:gradFill>
                <a:latin typeface="+mn-lt"/>
                <a:ea typeface="+mn-ea"/>
                <a:cs typeface="+mn-cs"/>
              </a:defRPr>
            </a:lvl2pPr>
            <a:lvl3pPr marL="0" indent="0" algn="l" defTabSz="860118" rtl="0" eaLnBrk="1" latinLnBrk="0" hangingPunct="1">
              <a:buNone/>
              <a:defRPr lang="en-US" sz="800" kern="1200" dirty="0" smtClean="0">
                <a:gradFill>
                  <a:gsLst>
                    <a:gs pos="0">
                      <a:schemeClr val="tx1"/>
                    </a:gs>
                    <a:gs pos="99000">
                      <a:schemeClr val="tx1"/>
                    </a:gs>
                  </a:gsLst>
                  <a:lin ang="5400000" scaled="0"/>
                </a:gradFill>
                <a:latin typeface="+mn-lt"/>
                <a:ea typeface="+mn-ea"/>
                <a:cs typeface="+mn-cs"/>
              </a:defRPr>
            </a:lvl3pPr>
            <a:lvl4pPr marL="0" indent="0" algn="l" defTabSz="860118" rtl="0" eaLnBrk="1" latinLnBrk="0" hangingPunct="1">
              <a:buNone/>
              <a:defRPr lang="en-US" sz="800" kern="1200" dirty="0" smtClean="0">
                <a:gradFill>
                  <a:gsLst>
                    <a:gs pos="0">
                      <a:schemeClr val="tx1"/>
                    </a:gs>
                    <a:gs pos="99000">
                      <a:schemeClr val="tx1"/>
                    </a:gs>
                  </a:gsLst>
                  <a:lin ang="5400000" scaled="0"/>
                </a:gradFill>
                <a:latin typeface="+mn-lt"/>
                <a:ea typeface="+mn-ea"/>
                <a:cs typeface="+mn-cs"/>
              </a:defRPr>
            </a:lvl4pPr>
            <a:lvl5pPr marL="0" indent="0" algn="l" defTabSz="860118" rtl="0" eaLnBrk="1" latinLnBrk="0" hangingPunct="1">
              <a:buNone/>
              <a:defRPr lang="en-US" sz="800" kern="1200" dirty="0">
                <a:gradFill>
                  <a:gsLst>
                    <a:gs pos="0">
                      <a:schemeClr val="tx1"/>
                    </a:gs>
                    <a:gs pos="99000">
                      <a:schemeClr val="tx1"/>
                    </a:gs>
                  </a:gsLst>
                  <a:lin ang="5400000" scaled="0"/>
                </a:gradFill>
                <a:latin typeface="+mn-lt"/>
                <a:ea typeface="+mn-ea"/>
                <a:cs typeface="+mn-cs"/>
              </a:defRPr>
            </a:lvl5pPr>
          </a:lstStyle>
          <a:p>
            <a:pPr lvl="0"/>
            <a:r>
              <a:rPr lang="en-US" dirty="0" smtClean="0"/>
              <a:t>Click to insert text</a:t>
            </a:r>
            <a:endParaRPr lang="en-US" dirty="0"/>
          </a:p>
        </p:txBody>
      </p:sp>
      <p:sp>
        <p:nvSpPr>
          <p:cNvPr id="8" name="Content Placeholder 2"/>
          <p:cNvSpPr>
            <a:spLocks noGrp="1"/>
          </p:cNvSpPr>
          <p:nvPr>
            <p:ph sz="half" idx="13"/>
          </p:nvPr>
        </p:nvSpPr>
        <p:spPr>
          <a:xfrm>
            <a:off x="4610548" y="1095265"/>
            <a:ext cx="4115872" cy="2728163"/>
          </a:xfrm>
        </p:spPr>
        <p:txBody>
          <a:bodyPr/>
          <a:lstStyle>
            <a:lvl1pPr marL="319806" indent="-319806">
              <a:lnSpc>
                <a:spcPct val="90000"/>
              </a:lnSpc>
              <a:defRPr sz="2700"/>
            </a:lvl1pPr>
            <a:lvl2pPr marL="633392" indent="-306118">
              <a:lnSpc>
                <a:spcPct val="90000"/>
              </a:lnSpc>
              <a:defRPr sz="2700"/>
            </a:lvl2pPr>
            <a:lvl3pPr marL="897201" indent="-271276">
              <a:lnSpc>
                <a:spcPct val="90000"/>
              </a:lnSpc>
              <a:defRPr sz="2700"/>
            </a:lvl3pPr>
            <a:lvl4pPr marL="1154788" indent="-257588">
              <a:lnSpc>
                <a:spcPct val="90000"/>
              </a:lnSpc>
              <a:defRPr sz="2700"/>
            </a:lvl4pPr>
            <a:lvl5pPr marL="1426064" indent="-263810">
              <a:lnSpc>
                <a:spcPct val="90000"/>
              </a:lnSpc>
              <a:defRPr sz="2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15801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Slide 2 for internal audiences">
    <p:spTree>
      <p:nvGrpSpPr>
        <p:cNvPr id="1" name=""/>
        <p:cNvGrpSpPr/>
        <p:nvPr/>
      </p:nvGrpSpPr>
      <p:grpSpPr>
        <a:xfrm>
          <a:off x="0" y="0"/>
          <a:ext cx="0" cy="0"/>
          <a:chOff x="0" y="0"/>
          <a:chExt cx="0" cy="0"/>
        </a:xfrm>
      </p:grpSpPr>
      <p:sp>
        <p:nvSpPr>
          <p:cNvPr id="18" name="Rectangle 17"/>
          <p:cNvSpPr/>
          <p:nvPr/>
        </p:nvSpPr>
        <p:spPr bwMode="auto">
          <a:xfrm>
            <a:off x="201929" y="1563129"/>
            <a:ext cx="6723186" cy="268965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03098" y="1563130"/>
            <a:ext cx="6722019" cy="1344828"/>
          </a:xfrm>
          <a:noFill/>
        </p:spPr>
        <p:txBody>
          <a:bodyPr lIns="120481" tIns="75301" rIns="120481" bIns="75301" anchor="t" anchorCtr="0"/>
          <a:lstStyle>
            <a:lvl1pPr>
              <a:defRPr sz="49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7" name="Picture 2" descr="D:\Documents\Projects\2012 Projects\_Template-Templates\MS Visual ID\Artwork\MSFT_cornerstone_tiles\CornerStoneTile-Blank\screen\CS_Tile_Purp526_rgb.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1931" y="218302"/>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7655401" y="352808"/>
            <a:ext cx="1141803" cy="244625"/>
          </a:xfrm>
          <a:prstGeom prst="rect">
            <a:avLst/>
          </a:prstGeom>
        </p:spPr>
      </p:pic>
      <p:sp>
        <p:nvSpPr>
          <p:cNvPr id="5" name="Text Placeholder 4"/>
          <p:cNvSpPr>
            <a:spLocks noGrp="1"/>
          </p:cNvSpPr>
          <p:nvPr>
            <p:ph type="body" sz="quarter" idx="12" hasCustomPrompt="1"/>
          </p:nvPr>
        </p:nvSpPr>
        <p:spPr>
          <a:xfrm>
            <a:off x="201929" y="2907953"/>
            <a:ext cx="6723186" cy="1344245"/>
          </a:xfrm>
          <a:noFill/>
        </p:spPr>
        <p:txBody>
          <a:bodyPr lIns="120481" tIns="90361" rIns="120481" bIns="90361">
            <a:noAutofit/>
          </a:bodyPr>
          <a:lstStyle>
            <a:lvl1pPr marL="0" indent="0">
              <a:spcBef>
                <a:spcPts val="0"/>
              </a:spcBef>
              <a:buNone/>
              <a:defRPr sz="3000" spc="0" baseline="0">
                <a:gradFill>
                  <a:gsLst>
                    <a:gs pos="4583">
                      <a:srgbClr val="FFFFFF"/>
                    </a:gs>
                    <a:gs pos="84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64820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202084"/>
            <a:ext cx="4040188" cy="429072"/>
          </a:xfrm>
        </p:spPr>
        <p:txBody>
          <a:bodyPr anchor="b"/>
          <a:lstStyle>
            <a:lvl1pPr marL="0" indent="0">
              <a:buNone/>
              <a:defRPr sz="2000" b="1"/>
            </a:lvl1pPr>
            <a:lvl2pPr marL="383996" indent="0">
              <a:buNone/>
              <a:defRPr sz="1700" b="1"/>
            </a:lvl2pPr>
            <a:lvl3pPr marL="767994" indent="0">
              <a:buNone/>
              <a:defRPr sz="1500" b="1"/>
            </a:lvl3pPr>
            <a:lvl4pPr marL="1151990" indent="0">
              <a:buNone/>
              <a:defRPr sz="1300" b="1"/>
            </a:lvl4pPr>
            <a:lvl5pPr marL="1535986" indent="0">
              <a:buNone/>
              <a:defRPr sz="1300" b="1"/>
            </a:lvl5pPr>
            <a:lvl6pPr marL="1919983" indent="0">
              <a:buNone/>
              <a:defRPr sz="1300" b="1"/>
            </a:lvl6pPr>
            <a:lvl7pPr marL="2303980" indent="0">
              <a:buNone/>
              <a:defRPr sz="1300" b="1"/>
            </a:lvl7pPr>
            <a:lvl8pPr marL="2687976" indent="0">
              <a:buNone/>
              <a:defRPr sz="1300" b="1"/>
            </a:lvl8pPr>
            <a:lvl9pPr marL="3071973" indent="0">
              <a:buNone/>
              <a:defRPr sz="1300" b="1"/>
            </a:lvl9pPr>
          </a:lstStyle>
          <a:p>
            <a:pPr lvl="0"/>
            <a:r>
              <a:rPr lang="en-US" smtClean="0"/>
              <a:t>Click to edit Master text styles</a:t>
            </a:r>
          </a:p>
        </p:txBody>
      </p:sp>
      <p:sp>
        <p:nvSpPr>
          <p:cNvPr id="4" name="Content Placeholder 3"/>
          <p:cNvSpPr>
            <a:spLocks noGrp="1"/>
          </p:cNvSpPr>
          <p:nvPr>
            <p:ph sz="half" idx="2"/>
          </p:nvPr>
        </p:nvSpPr>
        <p:spPr>
          <a:xfrm>
            <a:off x="457200" y="1631158"/>
            <a:ext cx="4040188" cy="1410879"/>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7" y="1202084"/>
            <a:ext cx="4041775" cy="429072"/>
          </a:xfrm>
        </p:spPr>
        <p:txBody>
          <a:bodyPr anchor="b"/>
          <a:lstStyle>
            <a:lvl1pPr marL="0" indent="0">
              <a:buNone/>
              <a:defRPr sz="2000" b="1"/>
            </a:lvl1pPr>
            <a:lvl2pPr marL="383996" indent="0">
              <a:buNone/>
              <a:defRPr sz="1700" b="1"/>
            </a:lvl2pPr>
            <a:lvl3pPr marL="767994" indent="0">
              <a:buNone/>
              <a:defRPr sz="1500" b="1"/>
            </a:lvl3pPr>
            <a:lvl4pPr marL="1151990" indent="0">
              <a:buNone/>
              <a:defRPr sz="1300" b="1"/>
            </a:lvl4pPr>
            <a:lvl5pPr marL="1535986" indent="0">
              <a:buNone/>
              <a:defRPr sz="1300" b="1"/>
            </a:lvl5pPr>
            <a:lvl6pPr marL="1919983" indent="0">
              <a:buNone/>
              <a:defRPr sz="1300" b="1"/>
            </a:lvl6pPr>
            <a:lvl7pPr marL="2303980" indent="0">
              <a:buNone/>
              <a:defRPr sz="1300" b="1"/>
            </a:lvl7pPr>
            <a:lvl8pPr marL="2687976" indent="0">
              <a:buNone/>
              <a:defRPr sz="1300" b="1"/>
            </a:lvl8pPr>
            <a:lvl9pPr marL="3071973" indent="0">
              <a:buNone/>
              <a:defRPr sz="1300" b="1"/>
            </a:lvl9pPr>
          </a:lstStyle>
          <a:p>
            <a:pPr lvl="0"/>
            <a:r>
              <a:rPr lang="en-US" smtClean="0"/>
              <a:t>Click to edit Master text styles</a:t>
            </a:r>
          </a:p>
        </p:txBody>
      </p:sp>
      <p:sp>
        <p:nvSpPr>
          <p:cNvPr id="6" name="Content Placeholder 5"/>
          <p:cNvSpPr>
            <a:spLocks noGrp="1"/>
          </p:cNvSpPr>
          <p:nvPr>
            <p:ph sz="quarter" idx="4"/>
          </p:nvPr>
        </p:nvSpPr>
        <p:spPr>
          <a:xfrm>
            <a:off x="4645027" y="1631158"/>
            <a:ext cx="4041775" cy="1410879"/>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a:xfrm>
            <a:off x="2865742" y="4822870"/>
            <a:ext cx="1098755" cy="182011"/>
          </a:xfrm>
          <a:prstGeom prst="rect">
            <a:avLst/>
          </a:prstGeom>
        </p:spPr>
        <p:txBody>
          <a:bodyPr lIns="75301" tIns="37650" rIns="75301" bIns="37650"/>
          <a:lstStyle/>
          <a:p>
            <a:fld id="{1D8BD707-D9CF-40AE-B4C6-C98DA3205C09}" type="datetimeFigureOut">
              <a:rPr lang="en-US" smtClean="0"/>
              <a:pPr/>
              <a:t>7/8/2013</a:t>
            </a:fld>
            <a:endParaRPr lang="en-US"/>
          </a:p>
        </p:txBody>
      </p:sp>
      <p:sp>
        <p:nvSpPr>
          <p:cNvPr id="8" name="Footer Placeholder 7"/>
          <p:cNvSpPr>
            <a:spLocks noGrp="1"/>
          </p:cNvSpPr>
          <p:nvPr>
            <p:ph type="ftr" sz="quarter" idx="11"/>
          </p:nvPr>
        </p:nvSpPr>
        <p:spPr>
          <a:xfrm>
            <a:off x="3964493" y="4822870"/>
            <a:ext cx="2895600" cy="182011"/>
          </a:xfrm>
          <a:prstGeom prst="rect">
            <a:avLst/>
          </a:prstGeom>
        </p:spPr>
        <p:txBody>
          <a:bodyPr lIns="75301" tIns="37650" rIns="75301" bIns="37650"/>
          <a:lstStyle/>
          <a:p>
            <a:endParaRPr lang="en-US"/>
          </a:p>
        </p:txBody>
      </p:sp>
      <p:sp>
        <p:nvSpPr>
          <p:cNvPr id="9" name="Slide Number Placeholder 8"/>
          <p:cNvSpPr>
            <a:spLocks noGrp="1"/>
          </p:cNvSpPr>
          <p:nvPr>
            <p:ph type="sldNum" sz="quarter" idx="12"/>
          </p:nvPr>
        </p:nvSpPr>
        <p:spPr>
          <a:xfrm>
            <a:off x="381000" y="4821544"/>
            <a:ext cx="340158" cy="184666"/>
          </a:xfrm>
          <a:prstGeom prst="rect">
            <a:avLst/>
          </a:prstGeom>
        </p:spPr>
        <p:txBody>
          <a:bodyPr lIns="75301" tIns="37650" rIns="75301" bIns="37650"/>
          <a:lstStyle/>
          <a:p>
            <a:fld id="{B6F15528-21DE-4FAA-801E-634DDDAF4B2B}" type="slidenum">
              <a:rPr lang="en-US" smtClean="0"/>
              <a:pPr/>
              <a:t>‹#›</a:t>
            </a:fld>
            <a:endParaRPr lang="en-US"/>
          </a:p>
        </p:txBody>
      </p:sp>
    </p:spTree>
    <p:extLst>
      <p:ext uri="{BB962C8B-B14F-4D97-AF65-F5344CB8AC3E}">
        <p14:creationId xmlns:p14="http://schemas.microsoft.com/office/powerpoint/2010/main" val="20016698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Emphasis content color - callouts">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9144000" cy="5143500"/>
          </a:xfrm>
          <a:solidFill>
            <a:schemeClr val="accent1"/>
          </a:solidFill>
        </p:spPr>
        <p:txBody>
          <a:bodyPr vert="horz" wrap="square" lIns="451805" tIns="188252" rIns="451805" bIns="376504" rtlCol="0" anchor="t" anchorCtr="0">
            <a:noAutofit/>
          </a:bodyPr>
          <a:lstStyle>
            <a:lvl1pPr>
              <a:spcBef>
                <a:spcPts val="1008"/>
              </a:spcBef>
              <a:defRPr lang="en-US" sz="4500" dirty="0">
                <a:solidFill>
                  <a:schemeClr val="bg1"/>
                </a:solidFill>
              </a:defRPr>
            </a:lvl1pPr>
          </a:lstStyle>
          <a:p>
            <a:pPr marL="0" lvl="0">
              <a:spcBef>
                <a:spcPts val="0"/>
              </a:spcBef>
            </a:pPr>
            <a:r>
              <a:rPr lang="en-US" smtClean="0"/>
              <a:t>Click to edit Master title style</a:t>
            </a:r>
            <a:endParaRPr lang="en-US" dirty="0"/>
          </a:p>
        </p:txBody>
      </p:sp>
      <p:sp>
        <p:nvSpPr>
          <p:cNvPr id="7" name="Text Placeholder 5"/>
          <p:cNvSpPr>
            <a:spLocks noGrp="1"/>
          </p:cNvSpPr>
          <p:nvPr>
            <p:ph type="body" sz="quarter" idx="13"/>
          </p:nvPr>
        </p:nvSpPr>
        <p:spPr>
          <a:xfrm>
            <a:off x="221353" y="1085851"/>
            <a:ext cx="2908549" cy="2907791"/>
          </a:xfrm>
          <a:solidFill>
            <a:schemeClr val="accent5"/>
          </a:solidFill>
        </p:spPr>
        <p:txBody>
          <a:bodyPr lIns="225903" tIns="188252" rIns="225903" bIns="188252">
            <a:normAutofit/>
          </a:bodyPr>
          <a:lstStyle>
            <a:lvl1pPr marL="0" indent="0">
              <a:spcBef>
                <a:spcPts val="1008"/>
              </a:spcBef>
              <a:spcAft>
                <a:spcPts val="504"/>
              </a:spcAft>
              <a:buNone/>
              <a:defRPr sz="3400">
                <a:solidFill>
                  <a:schemeClr val="bg1"/>
                </a:solidFill>
                <a:latin typeface="+mj-lt"/>
              </a:defRPr>
            </a:lvl1pPr>
            <a:lvl2pPr marL="0" indent="0">
              <a:spcBef>
                <a:spcPts val="1008"/>
              </a:spcBef>
              <a:buNone/>
              <a:defRPr sz="1700">
                <a:solidFill>
                  <a:schemeClr val="bg1"/>
                </a:solidFill>
              </a:defRPr>
            </a:lvl2pPr>
            <a:lvl3pPr marL="195999" indent="0">
              <a:spcBef>
                <a:spcPts val="1008"/>
              </a:spcBef>
              <a:buNone/>
              <a:defRPr sz="1700">
                <a:solidFill>
                  <a:schemeClr val="bg1"/>
                </a:solidFill>
              </a:defRPr>
            </a:lvl3pPr>
            <a:lvl4pPr marL="383996" indent="0">
              <a:spcBef>
                <a:spcPts val="1008"/>
              </a:spcBef>
              <a:buNone/>
              <a:defRPr sz="1700">
                <a:solidFill>
                  <a:schemeClr val="bg1"/>
                </a:solidFill>
              </a:defRPr>
            </a:lvl4pPr>
            <a:lvl5pPr marL="582662" indent="0">
              <a:spcBef>
                <a:spcPts val="1008"/>
              </a:spcBef>
              <a:buNone/>
              <a:defRPr sz="17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5"/>
          <p:cNvSpPr>
            <a:spLocks noGrp="1"/>
          </p:cNvSpPr>
          <p:nvPr>
            <p:ph type="body" sz="quarter" idx="14"/>
          </p:nvPr>
        </p:nvSpPr>
        <p:spPr>
          <a:xfrm>
            <a:off x="3127798" y="1085851"/>
            <a:ext cx="2908549" cy="2907791"/>
          </a:xfrm>
          <a:solidFill>
            <a:schemeClr val="accent4"/>
          </a:solidFill>
          <a:ln>
            <a:noFill/>
          </a:ln>
        </p:spPr>
        <p:txBody>
          <a:bodyPr lIns="225903" tIns="188252" rIns="225903" bIns="188252">
            <a:normAutofit/>
          </a:bodyPr>
          <a:lstStyle>
            <a:lvl1pPr marL="0" indent="0">
              <a:spcBef>
                <a:spcPts val="1008"/>
              </a:spcBef>
              <a:spcAft>
                <a:spcPts val="504"/>
              </a:spcAft>
              <a:buNone/>
              <a:defRPr sz="3400">
                <a:solidFill>
                  <a:schemeClr val="bg1"/>
                </a:solidFill>
                <a:latin typeface="+mj-lt"/>
              </a:defRPr>
            </a:lvl1pPr>
            <a:lvl2pPr marL="0" indent="0">
              <a:spcBef>
                <a:spcPts val="1008"/>
              </a:spcBef>
              <a:buNone/>
              <a:defRPr sz="1700">
                <a:solidFill>
                  <a:schemeClr val="bg1"/>
                </a:solidFill>
              </a:defRPr>
            </a:lvl2pPr>
            <a:lvl3pPr marL="195999" indent="0">
              <a:spcBef>
                <a:spcPts val="1008"/>
              </a:spcBef>
              <a:buNone/>
              <a:defRPr sz="1700">
                <a:solidFill>
                  <a:schemeClr val="bg1"/>
                </a:solidFill>
              </a:defRPr>
            </a:lvl3pPr>
            <a:lvl4pPr marL="383996" indent="0">
              <a:spcBef>
                <a:spcPts val="1008"/>
              </a:spcBef>
              <a:buNone/>
              <a:defRPr sz="1700">
                <a:solidFill>
                  <a:schemeClr val="bg1"/>
                </a:solidFill>
              </a:defRPr>
            </a:lvl4pPr>
            <a:lvl5pPr marL="582662" indent="0">
              <a:spcBef>
                <a:spcPts val="1008"/>
              </a:spcBef>
              <a:buNone/>
              <a:defRPr sz="17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5"/>
          <p:cNvSpPr>
            <a:spLocks noGrp="1"/>
          </p:cNvSpPr>
          <p:nvPr>
            <p:ph type="body" sz="quarter" idx="15"/>
          </p:nvPr>
        </p:nvSpPr>
        <p:spPr>
          <a:xfrm>
            <a:off x="6034245" y="1085851"/>
            <a:ext cx="2908549" cy="2907791"/>
          </a:xfrm>
          <a:solidFill>
            <a:schemeClr val="accent2"/>
          </a:solidFill>
          <a:ln>
            <a:noFill/>
          </a:ln>
        </p:spPr>
        <p:txBody>
          <a:bodyPr lIns="225903" tIns="188252" rIns="225903" bIns="188252">
            <a:normAutofit/>
          </a:bodyPr>
          <a:lstStyle>
            <a:lvl1pPr marL="0" indent="0">
              <a:spcBef>
                <a:spcPts val="1008"/>
              </a:spcBef>
              <a:spcAft>
                <a:spcPts val="504"/>
              </a:spcAft>
              <a:buNone/>
              <a:defRPr sz="3400">
                <a:solidFill>
                  <a:srgbClr val="FFFFFF"/>
                </a:solidFill>
                <a:latin typeface="+mj-lt"/>
              </a:defRPr>
            </a:lvl1pPr>
            <a:lvl2pPr marL="0" indent="0">
              <a:spcBef>
                <a:spcPts val="1008"/>
              </a:spcBef>
              <a:buNone/>
              <a:defRPr sz="1700">
                <a:solidFill>
                  <a:srgbClr val="FFFFFF"/>
                </a:solidFill>
              </a:defRPr>
            </a:lvl2pPr>
            <a:lvl3pPr marL="195999" indent="0">
              <a:spcBef>
                <a:spcPts val="1008"/>
              </a:spcBef>
              <a:buNone/>
              <a:defRPr sz="1700">
                <a:solidFill>
                  <a:srgbClr val="FFFFFF"/>
                </a:solidFill>
              </a:defRPr>
            </a:lvl3pPr>
            <a:lvl4pPr marL="383996" indent="0">
              <a:spcBef>
                <a:spcPts val="1008"/>
              </a:spcBef>
              <a:buNone/>
              <a:defRPr sz="1700">
                <a:solidFill>
                  <a:srgbClr val="FFFFFF"/>
                </a:solidFill>
              </a:defRPr>
            </a:lvl4pPr>
            <a:lvl5pPr marL="582662" indent="0">
              <a:spcBef>
                <a:spcPts val="1008"/>
              </a:spcBef>
              <a:buNone/>
              <a:defRPr sz="1700">
                <a:solidFill>
                  <a:srgbClr val="FFFFF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2335372"/>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Emphasis content - Large">
    <p:spTree>
      <p:nvGrpSpPr>
        <p:cNvPr id="1" name=""/>
        <p:cNvGrpSpPr/>
        <p:nvPr/>
      </p:nvGrpSpPr>
      <p:grpSpPr>
        <a:xfrm>
          <a:off x="0" y="0"/>
          <a:ext cx="0" cy="0"/>
          <a:chOff x="0" y="0"/>
          <a:chExt cx="0" cy="0"/>
        </a:xfrm>
      </p:grpSpPr>
      <p:sp>
        <p:nvSpPr>
          <p:cNvPr id="3" name="Title 1"/>
          <p:cNvSpPr>
            <a:spLocks noGrp="1"/>
          </p:cNvSpPr>
          <p:nvPr>
            <p:ph type="title"/>
          </p:nvPr>
        </p:nvSpPr>
        <p:spPr>
          <a:xfrm>
            <a:off x="1" y="0"/>
            <a:ext cx="9144000" cy="5143500"/>
          </a:xfrm>
          <a:solidFill>
            <a:schemeClr val="accent1"/>
          </a:solidFill>
        </p:spPr>
        <p:txBody>
          <a:bodyPr lIns="451805" rIns="0" anchor="ctr" anchorCtr="0">
            <a:noAutofit/>
          </a:bodyPr>
          <a:lstStyle>
            <a:lvl1pPr marL="0">
              <a:spcBef>
                <a:spcPts val="0"/>
              </a:spcBef>
              <a:defRPr sz="6000">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33661361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609121"/>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1D8BD707-D9CF-40AE-B4C6-C98DA3205C09}" type="datetimeFigureOut">
              <a:rPr lang="en-US" smtClean="0"/>
              <a:pPr/>
              <a:t>7/8/2013</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ark - Light Content - Swoosh w/ Logo">
    <p:bg>
      <p:bgPr>
        <a:solidFill>
          <a:srgbClr val="191919"/>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89436" y="171451"/>
            <a:ext cx="8363938" cy="457049"/>
          </a:xfrm>
        </p:spPr>
        <p:txBody>
          <a:bodyPr/>
          <a:lstStyle>
            <a:lvl1pPr>
              <a:defRPr baseline="0">
                <a:solidFill>
                  <a:schemeClr val="tx1"/>
                </a:solidFill>
              </a:defRPr>
            </a:lvl1pPr>
          </a:lstStyle>
          <a:p>
            <a:r>
              <a:rPr lang="en-US" dirty="0" smtClean="0"/>
              <a:t>Content Slide Title</a:t>
            </a:r>
            <a:endParaRPr lang="en-US" dirty="0"/>
          </a:p>
        </p:txBody>
      </p:sp>
      <p:sp>
        <p:nvSpPr>
          <p:cNvPr id="6" name="Text Placeholder 4"/>
          <p:cNvSpPr>
            <a:spLocks noGrp="1"/>
          </p:cNvSpPr>
          <p:nvPr>
            <p:ph type="body" sz="quarter" idx="10" hasCustomPrompt="1"/>
          </p:nvPr>
        </p:nvSpPr>
        <p:spPr>
          <a:xfrm>
            <a:off x="389436" y="1085851"/>
            <a:ext cx="8363938" cy="387522"/>
          </a:xfrm>
        </p:spPr>
        <p:txBody>
          <a:bodyPr/>
          <a:lstStyle>
            <a:lvl1pPr marL="0" indent="0">
              <a:lnSpc>
                <a:spcPct val="90000"/>
              </a:lnSpc>
              <a:spcBef>
                <a:spcPts val="0"/>
              </a:spcBef>
              <a:spcAft>
                <a:spcPts val="0"/>
              </a:spcAft>
              <a:buNone/>
              <a:defRPr sz="1700" spc="0" baseline="0">
                <a:solidFill>
                  <a:schemeClr val="tx1"/>
                </a:solidFill>
                <a:latin typeface="Segoe UI Light" pitchFamily="34" charset="0"/>
              </a:defRPr>
            </a:lvl1pPr>
            <a:lvl2pPr marL="0" indent="0">
              <a:spcBef>
                <a:spcPts val="0"/>
              </a:spcBef>
              <a:spcAft>
                <a:spcPts val="300"/>
              </a:spcAft>
              <a:buNone/>
              <a:defRPr sz="1500" spc="-38" baseline="0">
                <a:solidFill>
                  <a:schemeClr val="tx1"/>
                </a:soli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ontent goes here</a:t>
            </a:r>
          </a:p>
        </p:txBody>
      </p:sp>
    </p:spTree>
    <p:extLst>
      <p:ext uri="{BB962C8B-B14F-4D97-AF65-F5344CB8AC3E}">
        <p14:creationId xmlns:p14="http://schemas.microsoft.com/office/powerpoint/2010/main" val="147452411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5799" y="409577"/>
            <a:ext cx="8363938" cy="495301"/>
          </a:xfrm>
        </p:spPr>
        <p:txBody>
          <a:bodyPr/>
          <a:lstStyle>
            <a:lvl1pPr>
              <a:defRPr>
                <a:solidFill>
                  <a:schemeClr val="tx1">
                    <a:alpha val="98824"/>
                  </a:schemeClr>
                </a:solidFill>
              </a:defRPr>
            </a:lvl1pPr>
          </a:lstStyle>
          <a:p>
            <a:r>
              <a:rPr lang="en-US" dirty="0" smtClean="0"/>
              <a:t>Click to edit Master title style</a:t>
            </a:r>
            <a:endParaRPr lang="en-US" dirty="0"/>
          </a:p>
        </p:txBody>
      </p:sp>
      <p:sp>
        <p:nvSpPr>
          <p:cNvPr id="3" name="Date Placeholder 2"/>
          <p:cNvSpPr>
            <a:spLocks noGrp="1"/>
          </p:cNvSpPr>
          <p:nvPr>
            <p:ph type="dt" sz="half" idx="10"/>
          </p:nvPr>
        </p:nvSpPr>
        <p:spPr>
          <a:xfrm>
            <a:off x="457322" y="4767264"/>
            <a:ext cx="2132965" cy="273844"/>
          </a:xfrm>
          <a:prstGeom prst="rect">
            <a:avLst/>
          </a:prstGeom>
        </p:spPr>
        <p:txBody>
          <a:bodyPr lIns="68589" tIns="34295" rIns="68589" bIns="34295"/>
          <a:lstStyle/>
          <a:p>
            <a:endParaRPr lang="en-US" dirty="0">
              <a:solidFill>
                <a:srgbClr val="292929">
                  <a:tint val="75000"/>
                </a:srgbClr>
              </a:solidFill>
            </a:endParaRPr>
          </a:p>
        </p:txBody>
      </p:sp>
      <p:sp>
        <p:nvSpPr>
          <p:cNvPr id="4" name="Footer Placeholder 3"/>
          <p:cNvSpPr>
            <a:spLocks noGrp="1"/>
          </p:cNvSpPr>
          <p:nvPr>
            <p:ph type="ftr" sz="quarter" idx="11"/>
          </p:nvPr>
        </p:nvSpPr>
        <p:spPr>
          <a:xfrm>
            <a:off x="3123823" y="4767264"/>
            <a:ext cx="2896354" cy="273844"/>
          </a:xfrm>
          <a:prstGeom prst="rect">
            <a:avLst/>
          </a:prstGeom>
        </p:spPr>
        <p:txBody>
          <a:bodyPr lIns="68589" tIns="34295" rIns="68589" bIns="34295"/>
          <a:lstStyle/>
          <a:p>
            <a:r>
              <a:rPr lang="en-US" dirty="0" smtClean="0">
                <a:solidFill>
                  <a:srgbClr val="292929">
                    <a:tint val="75000"/>
                  </a:srgbClr>
                </a:solidFill>
              </a:rPr>
              <a:t>Microsoft Confidential</a:t>
            </a:r>
            <a:endParaRPr lang="en-US" dirty="0">
              <a:solidFill>
                <a:srgbClr val="292929">
                  <a:tint val="75000"/>
                </a:srgbClr>
              </a:solidFill>
            </a:endParaRPr>
          </a:p>
        </p:txBody>
      </p:sp>
      <p:sp>
        <p:nvSpPr>
          <p:cNvPr id="5" name="Slide Number Placeholder 4"/>
          <p:cNvSpPr>
            <a:spLocks noGrp="1"/>
          </p:cNvSpPr>
          <p:nvPr>
            <p:ph type="sldNum" sz="quarter" idx="12"/>
          </p:nvPr>
        </p:nvSpPr>
        <p:spPr>
          <a:xfrm>
            <a:off x="6553717" y="4767264"/>
            <a:ext cx="2132964" cy="273844"/>
          </a:xfrm>
          <a:prstGeom prst="rect">
            <a:avLst/>
          </a:prstGeom>
        </p:spPr>
        <p:txBody>
          <a:bodyPr lIns="68589" tIns="34295" rIns="68589" bIns="34295"/>
          <a:lstStyle/>
          <a:p>
            <a:fld id="{21E93C5E-8C73-40BE-A170-FB184A3270C1}" type="slidenum">
              <a:rPr lang="en-US" smtClean="0">
                <a:solidFill>
                  <a:srgbClr val="292929">
                    <a:tint val="75000"/>
                  </a:srgbClr>
                </a:solidFill>
              </a:rPr>
              <a:pPr/>
              <a:t>‹#›</a:t>
            </a:fld>
            <a:endParaRPr lang="en-US" dirty="0">
              <a:solidFill>
                <a:srgbClr val="292929">
                  <a:tint val="75000"/>
                </a:srgbClr>
              </a:solidFill>
            </a:endParaRPr>
          </a:p>
        </p:txBody>
      </p:sp>
      <p:sp>
        <p:nvSpPr>
          <p:cNvPr id="6" name="Text Placeholder 2"/>
          <p:cNvSpPr>
            <a:spLocks noGrp="1"/>
          </p:cNvSpPr>
          <p:nvPr>
            <p:ph type="body" idx="1"/>
          </p:nvPr>
        </p:nvSpPr>
        <p:spPr>
          <a:xfrm>
            <a:off x="457319" y="203124"/>
            <a:ext cx="8313075" cy="203314"/>
          </a:xfrm>
        </p:spPr>
        <p:txBody>
          <a:bodyPr anchor="t" anchorCtr="0">
            <a:noAutofit/>
          </a:bodyPr>
          <a:lstStyle>
            <a:lvl1pPr marL="0" indent="0">
              <a:lnSpc>
                <a:spcPct val="90000"/>
              </a:lnSpc>
              <a:spcBef>
                <a:spcPts val="0"/>
              </a:spcBef>
              <a:buNone/>
              <a:defRPr sz="1200" b="1" cap="all" baseline="0"/>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dirty="0" smtClean="0"/>
              <a:t>Click to edit Master text styles</a:t>
            </a:r>
          </a:p>
        </p:txBody>
      </p:sp>
    </p:spTree>
    <p:extLst>
      <p:ext uri="{BB962C8B-B14F-4D97-AF65-F5344CB8AC3E}">
        <p14:creationId xmlns:p14="http://schemas.microsoft.com/office/powerpoint/2010/main" val="164785289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9180" y="4723456"/>
            <a:ext cx="1277391" cy="306493"/>
          </a:xfrm>
          <a:prstGeom prst="rect">
            <a:avLst/>
          </a:prstGeom>
        </p:spPr>
      </p:pic>
      <p:sp>
        <p:nvSpPr>
          <p:cNvPr id="11" name="Slide Number Placeholder 5"/>
          <p:cNvSpPr txBox="1">
            <a:spLocks/>
          </p:cNvSpPr>
          <p:nvPr/>
        </p:nvSpPr>
        <p:spPr>
          <a:xfrm>
            <a:off x="8648610" y="5418783"/>
            <a:ext cx="322597" cy="171127"/>
          </a:xfrm>
          <a:prstGeom prst="rect">
            <a:avLst/>
          </a:prstGeom>
        </p:spPr>
        <p:txBody>
          <a:bodyPr lIns="67226" tIns="33612" rIns="67226" bIns="33612"/>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588" dirty="0" smtClean="0">
                <a:solidFill>
                  <a:srgbClr val="FFFFFF"/>
                </a:solidFill>
              </a:rPr>
              <a:t>3</a:t>
            </a:r>
            <a:endParaRPr lang="en-US" sz="588" dirty="0">
              <a:solidFill>
                <a:srgbClr val="FFFFFF"/>
              </a:solidFill>
            </a:endParaRPr>
          </a:p>
        </p:txBody>
      </p:sp>
      <p:sp>
        <p:nvSpPr>
          <p:cNvPr id="16" name="Title 1"/>
          <p:cNvSpPr>
            <a:spLocks noGrp="1"/>
          </p:cNvSpPr>
          <p:nvPr>
            <p:ph type="title" hasCustomPrompt="1"/>
          </p:nvPr>
        </p:nvSpPr>
        <p:spPr>
          <a:xfrm>
            <a:off x="200191" y="217133"/>
            <a:ext cx="8741880" cy="607041"/>
          </a:xfr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00195" y="756467"/>
            <a:ext cx="8741876" cy="538850"/>
          </a:xfrm>
          <a:noFill/>
        </p:spPr>
        <p:txBody>
          <a:bodyPr lIns="146290" tIns="109717" rIns="146290" bIns="109717">
            <a:noAutofit/>
          </a:bodyPr>
          <a:lstStyle>
            <a:lvl1pPr marL="0" indent="0">
              <a:spcBef>
                <a:spcPts val="0"/>
              </a:spcBef>
              <a:buNone/>
              <a:defRPr sz="2059"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37029518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16" name="Rectangle 15"/>
          <p:cNvSpPr/>
          <p:nvPr/>
        </p:nvSpPr>
        <p:spPr bwMode="auto">
          <a:xfrm>
            <a:off x="201929" y="1563129"/>
            <a:ext cx="6723186" cy="268965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77" y="1561233"/>
            <a:ext cx="6723139" cy="1346725"/>
          </a:xfrm>
          <a:noFill/>
        </p:spPr>
        <p:txBody>
          <a:bodyPr lIns="120481" tIns="75301" rIns="120481" bIns="75301" anchor="t" anchorCtr="0"/>
          <a:lstStyle>
            <a:lvl1pPr>
              <a:defRPr sz="49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01977" y="2907957"/>
            <a:ext cx="6723139" cy="1344829"/>
          </a:xfrm>
          <a:noFill/>
        </p:spPr>
        <p:txBody>
          <a:bodyPr lIns="120481" tIns="90361" rIns="120481" bIns="90361">
            <a:noAutofit/>
          </a:bodyPr>
          <a:lstStyle>
            <a:lvl1pPr marL="0" indent="0">
              <a:spcBef>
                <a:spcPts val="0"/>
              </a:spcBef>
              <a:buNone/>
              <a:defRPr sz="30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337361" y="353343"/>
            <a:ext cx="1880604" cy="402909"/>
          </a:xfrm>
          <a:prstGeom prst="rect">
            <a:avLst/>
          </a:prstGeom>
        </p:spPr>
      </p:pic>
    </p:spTree>
    <p:extLst>
      <p:ext uri="{BB962C8B-B14F-4D97-AF65-F5344CB8AC3E}">
        <p14:creationId xmlns:p14="http://schemas.microsoft.com/office/powerpoint/2010/main" val="511994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3 for internal audiences">
    <p:spTree>
      <p:nvGrpSpPr>
        <p:cNvPr id="1" name=""/>
        <p:cNvGrpSpPr/>
        <p:nvPr/>
      </p:nvGrpSpPr>
      <p:grpSpPr>
        <a:xfrm>
          <a:off x="0" y="0"/>
          <a:ext cx="0" cy="0"/>
          <a:chOff x="0" y="0"/>
          <a:chExt cx="0" cy="0"/>
        </a:xfrm>
      </p:grpSpPr>
      <p:sp>
        <p:nvSpPr>
          <p:cNvPr id="8" name="Rectangle 7"/>
          <p:cNvSpPr/>
          <p:nvPr/>
        </p:nvSpPr>
        <p:spPr bwMode="auto">
          <a:xfrm>
            <a:off x="201929" y="1563129"/>
            <a:ext cx="6723186" cy="268965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01929" y="1561233"/>
            <a:ext cx="6723186" cy="2693888"/>
          </a:xfrm>
          <a:noFill/>
        </p:spPr>
        <p:txBody>
          <a:bodyPr lIns="120481" tIns="75301" rIns="120481" bIns="75301" anchor="t" anchorCtr="0"/>
          <a:lstStyle>
            <a:lvl1pPr>
              <a:defRPr sz="49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01929" y="2907954"/>
            <a:ext cx="6723186" cy="1344829"/>
          </a:xfrm>
          <a:noFill/>
        </p:spPr>
        <p:txBody>
          <a:bodyPr lIns="120481" tIns="90361" rIns="120481" bIns="90361">
            <a:noAutofit/>
          </a:bodyPr>
          <a:lstStyle>
            <a:lvl1pPr marL="0" indent="0">
              <a:spcBef>
                <a:spcPts val="0"/>
              </a:spcBef>
              <a:buNone/>
              <a:defRPr sz="30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1931" y="218302"/>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7653999" y="352808"/>
            <a:ext cx="1141803" cy="244625"/>
          </a:xfrm>
          <a:prstGeom prst="rect">
            <a:avLst/>
          </a:prstGeom>
        </p:spPr>
      </p:pic>
    </p:spTree>
    <p:extLst>
      <p:ext uri="{BB962C8B-B14F-4D97-AF65-F5344CB8AC3E}">
        <p14:creationId xmlns:p14="http://schemas.microsoft.com/office/powerpoint/2010/main" val="5414112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bwMode="gray">
          <a:xfrm flipH="1">
            <a:off x="1" y="0"/>
            <a:ext cx="9144001" cy="5143500"/>
          </a:xfrm>
          <a:prstGeom prst="rect">
            <a:avLst/>
          </a:prstGeom>
        </p:spPr>
      </p:pic>
      <p:sp>
        <p:nvSpPr>
          <p:cNvPr id="18" name="Rectangle 17"/>
          <p:cNvSpPr/>
          <p:nvPr/>
        </p:nvSpPr>
        <p:spPr bwMode="gray">
          <a:xfrm>
            <a:off x="201930" y="1563129"/>
            <a:ext cx="5378549" cy="268965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1977" y="1561851"/>
            <a:ext cx="5379716" cy="1346106"/>
          </a:xfrm>
          <a:noFill/>
        </p:spPr>
        <p:txBody>
          <a:bodyPr lIns="120481" tIns="75301" rIns="120481" bIns="75301" anchor="t" anchorCtr="0"/>
          <a:lstStyle>
            <a:lvl1pPr>
              <a:defRPr sz="49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1977" y="2910293"/>
            <a:ext cx="5379716" cy="1342493"/>
          </a:xfrm>
        </p:spPr>
        <p:txBody>
          <a:bodyPr tIns="90361" bIns="90361">
            <a:noAutofit/>
          </a:bodyPr>
          <a:lstStyle>
            <a:lvl1pPr marL="0" indent="0">
              <a:spcBef>
                <a:spcPts val="0"/>
              </a:spcBef>
              <a:buNone/>
              <a:defRPr sz="2600" baseline="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336993" y="353343"/>
            <a:ext cx="1141803" cy="244625"/>
          </a:xfrm>
          <a:prstGeom prst="rect">
            <a:avLst/>
          </a:prstGeom>
        </p:spPr>
      </p:pic>
    </p:spTree>
    <p:extLst>
      <p:ext uri="{BB962C8B-B14F-4D97-AF65-F5344CB8AC3E}">
        <p14:creationId xmlns:p14="http://schemas.microsoft.com/office/powerpoint/2010/main" val="12912738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4 for internal audiences">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a:xfrm flipH="1">
            <a:off x="-1" y="0"/>
            <a:ext cx="9144001" cy="5143500"/>
          </a:xfrm>
          <a:prstGeom prst="rect">
            <a:avLst/>
          </a:prstGeom>
        </p:spPr>
      </p:pic>
      <p:sp>
        <p:nvSpPr>
          <p:cNvPr id="20" name="Rectangle 19"/>
          <p:cNvSpPr/>
          <p:nvPr/>
        </p:nvSpPr>
        <p:spPr bwMode="gray">
          <a:xfrm>
            <a:off x="201930" y="1563129"/>
            <a:ext cx="5378549" cy="268965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3130"/>
            <a:ext cx="5379716" cy="1344828"/>
          </a:xfrm>
          <a:noFill/>
        </p:spPr>
        <p:txBody>
          <a:bodyPr lIns="120481" tIns="75301" rIns="120481" bIns="75301" anchor="t" anchorCtr="0"/>
          <a:lstStyle>
            <a:lvl1pPr>
              <a:defRPr sz="49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10293"/>
            <a:ext cx="5379716" cy="1342493"/>
          </a:xfrm>
        </p:spPr>
        <p:txBody>
          <a:bodyPr tIns="90361" bIns="90361">
            <a:noAutofit/>
          </a:bodyPr>
          <a:lstStyle>
            <a:lvl1pPr marL="0" indent="0">
              <a:spcBef>
                <a:spcPts val="0"/>
              </a:spcBef>
              <a:buNone/>
              <a:defRPr sz="26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7" name="Picture 2" descr="D:\Documents\Projects\2012 Projects\_Template-Templates\MS Visual ID\Artwork\MSFT_cornerstone_tiles\CornerStoneTile-Blank\screen\CS_Tile_Purp526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01931" y="217134"/>
            <a:ext cx="1344637" cy="13448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invGray">
          <a:xfrm>
            <a:off x="7655401" y="352808"/>
            <a:ext cx="1141803" cy="244625"/>
          </a:xfrm>
          <a:prstGeom prst="rect">
            <a:avLst/>
          </a:prstGeom>
        </p:spPr>
      </p:pic>
    </p:spTree>
    <p:extLst>
      <p:ext uri="{BB962C8B-B14F-4D97-AF65-F5344CB8AC3E}">
        <p14:creationId xmlns:p14="http://schemas.microsoft.com/office/powerpoint/2010/main" val="24144346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flipH="1">
            <a:off x="-3" y="0"/>
            <a:ext cx="9142703" cy="51435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bwMode="gray">
          <a:xfrm>
            <a:off x="201930" y="1563129"/>
            <a:ext cx="4706230" cy="2689656"/>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0602" tIns="120481" rIns="150602" bIns="120481" numCol="1" spcCol="0" rtlCol="0" fromWordArt="0" anchor="t" anchorCtr="0" forceAA="0" compatLnSpc="1">
            <a:prstTxWarp prst="textNoShape">
              <a:avLst/>
            </a:prstTxWarp>
            <a:noAutofit/>
          </a:bodyPr>
          <a:lstStyle/>
          <a:p>
            <a:pPr algn="ctr" defTabSz="767891"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00762" y="1561851"/>
            <a:ext cx="4707398" cy="1346106"/>
          </a:xfrm>
          <a:noFill/>
        </p:spPr>
        <p:txBody>
          <a:bodyPr lIns="120481" tIns="75301" rIns="120481" bIns="75301" anchor="t" anchorCtr="0"/>
          <a:lstStyle>
            <a:lvl1pPr>
              <a:defRPr sz="4900" spc="-82"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00762" y="2910293"/>
            <a:ext cx="4707398" cy="1342493"/>
          </a:xfrm>
          <a:noFill/>
        </p:spPr>
        <p:txBody>
          <a:bodyPr tIns="90361" bIns="90361">
            <a:noAutofit/>
          </a:bodyPr>
          <a:lstStyle>
            <a:lvl1pPr marL="0" indent="0">
              <a:spcBef>
                <a:spcPts val="0"/>
              </a:spcBef>
              <a:buNone/>
              <a:defRPr sz="2600">
                <a:gradFill>
                  <a:gsLst>
                    <a:gs pos="1250">
                      <a:srgbClr val="FFFFFF"/>
                    </a:gs>
                    <a:gs pos="99000">
                      <a:srgbClr val="FFFFFF"/>
                    </a:gs>
                  </a:gsLst>
                  <a:lin ang="5400000" scaled="0"/>
                </a:gradFill>
              </a:defRPr>
            </a:lvl1pPr>
          </a:lstStyle>
          <a:p>
            <a:pPr lvl="0"/>
            <a:r>
              <a:rPr lang="en-US" dirty="0" smtClean="0"/>
              <a:t>Speaker Nam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336993" y="353343"/>
            <a:ext cx="1141803" cy="244625"/>
          </a:xfrm>
          <a:prstGeom prst="rect">
            <a:avLst/>
          </a:prstGeom>
        </p:spPr>
      </p:pic>
    </p:spTree>
    <p:extLst>
      <p:ext uri="{BB962C8B-B14F-4D97-AF65-F5344CB8AC3E}">
        <p14:creationId xmlns:p14="http://schemas.microsoft.com/office/powerpoint/2010/main" val="41451813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17134"/>
            <a:ext cx="8741880" cy="674749"/>
          </a:xfrm>
          <a:prstGeom prst="rect">
            <a:avLst/>
          </a:prstGeom>
        </p:spPr>
        <p:txBody>
          <a:bodyPr vert="horz" wrap="square" lIns="120481" tIns="75301" rIns="120481" bIns="75301"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891883"/>
            <a:ext cx="8740140" cy="1726350"/>
          </a:xfrm>
          <a:prstGeom prst="rect">
            <a:avLst/>
          </a:prstGeom>
        </p:spPr>
        <p:txBody>
          <a:bodyPr vert="horz" wrap="square" lIns="120481" tIns="75301" rIns="120481" bIns="75301"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6" r:id="rId45"/>
    <p:sldLayoutId id="2147483707" r:id="rId46"/>
  </p:sldLayoutIdLst>
  <p:transition>
    <p:fade/>
  </p:transition>
  <p:timing>
    <p:tnLst>
      <p:par>
        <p:cTn id="1" dur="indefinite" restart="never" nodeType="tmRoot"/>
      </p:par>
    </p:tnLst>
  </p:timing>
  <p:txStyles>
    <p:titleStyle>
      <a:lvl1pPr algn="l" defTabSz="768113" rtl="0" eaLnBrk="1" latinLnBrk="0" hangingPunct="1">
        <a:lnSpc>
          <a:spcPct val="90000"/>
        </a:lnSpc>
        <a:spcBef>
          <a:spcPct val="0"/>
        </a:spcBef>
        <a:buNone/>
        <a:defRPr lang="en-US" sz="4400"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2378" marR="0" indent="-282378" algn="l" defTabSz="768113" rtl="0" eaLnBrk="1" fontAlgn="auto" latinLnBrk="0" hangingPunct="1">
        <a:lnSpc>
          <a:spcPct val="90000"/>
        </a:lnSpc>
        <a:spcBef>
          <a:spcPct val="20000"/>
        </a:spcBef>
        <a:spcAft>
          <a:spcPts val="0"/>
        </a:spcAft>
        <a:buClrTx/>
        <a:buSzPct val="90000"/>
        <a:buFont typeface="Arial" pitchFamily="34" charset="0"/>
        <a:buChar char="•"/>
        <a:tabLst/>
        <a:defRPr sz="3300" kern="1200" spc="0" baseline="0">
          <a:gradFill>
            <a:gsLst>
              <a:gs pos="1250">
                <a:schemeClr val="tx1"/>
              </a:gs>
              <a:gs pos="100000">
                <a:schemeClr val="tx1"/>
              </a:gs>
            </a:gsLst>
            <a:lin ang="5400000" scaled="0"/>
          </a:gradFill>
          <a:latin typeface="+mj-lt"/>
          <a:ea typeface="+mn-ea"/>
          <a:cs typeface="+mn-cs"/>
        </a:defRPr>
      </a:lvl1pPr>
      <a:lvl2pPr marL="481089" marR="0" indent="-198711" algn="l" defTabSz="76811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58882" marR="0" indent="-188252" algn="l" defTabSz="768113"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847134" marR="0" indent="-188252" algn="l" defTabSz="768113"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4pPr>
      <a:lvl5pPr marL="1035387" marR="0" indent="-188252" algn="l" defTabSz="768113"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gradFill>
            <a:gsLst>
              <a:gs pos="1250">
                <a:schemeClr val="tx1"/>
              </a:gs>
              <a:gs pos="100000">
                <a:schemeClr val="tx1"/>
              </a:gs>
            </a:gsLst>
            <a:lin ang="5400000" scaled="0"/>
          </a:gradFill>
          <a:latin typeface="+mn-lt"/>
          <a:ea typeface="+mn-ea"/>
          <a:cs typeface="+mn-cs"/>
        </a:defRPr>
      </a:lvl5pPr>
      <a:lvl6pPr marL="2112310"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96368"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80424"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64482"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8113" rtl="0" eaLnBrk="1" latinLnBrk="0" hangingPunct="1">
        <a:defRPr sz="1500" kern="1200">
          <a:solidFill>
            <a:schemeClr val="tx1"/>
          </a:solidFill>
          <a:latin typeface="+mn-lt"/>
          <a:ea typeface="+mn-ea"/>
          <a:cs typeface="+mn-cs"/>
        </a:defRPr>
      </a:lvl1pPr>
      <a:lvl2pPr marL="384057" algn="l" defTabSz="768113" rtl="0" eaLnBrk="1" latinLnBrk="0" hangingPunct="1">
        <a:defRPr sz="1500" kern="1200">
          <a:solidFill>
            <a:schemeClr val="tx1"/>
          </a:solidFill>
          <a:latin typeface="+mn-lt"/>
          <a:ea typeface="+mn-ea"/>
          <a:cs typeface="+mn-cs"/>
        </a:defRPr>
      </a:lvl2pPr>
      <a:lvl3pPr marL="768113" algn="l" defTabSz="768113" rtl="0" eaLnBrk="1" latinLnBrk="0" hangingPunct="1">
        <a:defRPr sz="1500" kern="1200">
          <a:solidFill>
            <a:schemeClr val="tx1"/>
          </a:solidFill>
          <a:latin typeface="+mn-lt"/>
          <a:ea typeface="+mn-ea"/>
          <a:cs typeface="+mn-cs"/>
        </a:defRPr>
      </a:lvl3pPr>
      <a:lvl4pPr marL="1152170" algn="l" defTabSz="768113" rtl="0" eaLnBrk="1" latinLnBrk="0" hangingPunct="1">
        <a:defRPr sz="1500" kern="1200">
          <a:solidFill>
            <a:schemeClr val="tx1"/>
          </a:solidFill>
          <a:latin typeface="+mn-lt"/>
          <a:ea typeface="+mn-ea"/>
          <a:cs typeface="+mn-cs"/>
        </a:defRPr>
      </a:lvl4pPr>
      <a:lvl5pPr marL="1536226" algn="l" defTabSz="768113" rtl="0" eaLnBrk="1" latinLnBrk="0" hangingPunct="1">
        <a:defRPr sz="1500" kern="1200">
          <a:solidFill>
            <a:schemeClr val="tx1"/>
          </a:solidFill>
          <a:latin typeface="+mn-lt"/>
          <a:ea typeface="+mn-ea"/>
          <a:cs typeface="+mn-cs"/>
        </a:defRPr>
      </a:lvl5pPr>
      <a:lvl6pPr marL="1920283" algn="l" defTabSz="768113" rtl="0" eaLnBrk="1" latinLnBrk="0" hangingPunct="1">
        <a:defRPr sz="1500" kern="1200">
          <a:solidFill>
            <a:schemeClr val="tx1"/>
          </a:solidFill>
          <a:latin typeface="+mn-lt"/>
          <a:ea typeface="+mn-ea"/>
          <a:cs typeface="+mn-cs"/>
        </a:defRPr>
      </a:lvl6pPr>
      <a:lvl7pPr marL="2304339" algn="l" defTabSz="768113" rtl="0" eaLnBrk="1" latinLnBrk="0" hangingPunct="1">
        <a:defRPr sz="1500" kern="1200">
          <a:solidFill>
            <a:schemeClr val="tx1"/>
          </a:solidFill>
          <a:latin typeface="+mn-lt"/>
          <a:ea typeface="+mn-ea"/>
          <a:cs typeface="+mn-cs"/>
        </a:defRPr>
      </a:lvl7pPr>
      <a:lvl8pPr marL="2688396" algn="l" defTabSz="768113" rtl="0" eaLnBrk="1" latinLnBrk="0" hangingPunct="1">
        <a:defRPr sz="1500" kern="1200">
          <a:solidFill>
            <a:schemeClr val="tx1"/>
          </a:solidFill>
          <a:latin typeface="+mn-lt"/>
          <a:ea typeface="+mn-ea"/>
          <a:cs typeface="+mn-cs"/>
        </a:defRPr>
      </a:lvl8pPr>
      <a:lvl9pPr marL="3072453" algn="l" defTabSz="768113"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7" Type="http://schemas.microsoft.com/office/2007/relationships/hdphoto" Target="../media/hdphoto2.wdp"/><Relationship Id="rId2" Type="http://schemas.openxmlformats.org/officeDocument/2006/relationships/notesSlide" Target="../notesSlides/notesSlide6.xml"/><Relationship Id="rId1" Type="http://schemas.openxmlformats.org/officeDocument/2006/relationships/slideLayout" Target="../slideLayouts/slideLayout4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4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46.xml"/><Relationship Id="rId5" Type="http://schemas.openxmlformats.org/officeDocument/2006/relationships/image" Target="../media/image25.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png"/><Relationship Id="rId18" Type="http://schemas.openxmlformats.org/officeDocument/2006/relationships/image" Target="../media/image34.png"/><Relationship Id="rId3" Type="http://schemas.openxmlformats.org/officeDocument/2006/relationships/image" Target="../media/image16.png"/><Relationship Id="rId7" Type="http://schemas.microsoft.com/office/2007/relationships/hdphoto" Target="../media/hdphoto2.wdp"/><Relationship Id="rId12" Type="http://schemas.microsoft.com/office/2007/relationships/hdphoto" Target="../media/hdphoto3.wdp"/><Relationship Id="rId17" Type="http://schemas.openxmlformats.org/officeDocument/2006/relationships/image" Target="../media/image33.emf"/><Relationship Id="rId2" Type="http://schemas.openxmlformats.org/officeDocument/2006/relationships/notesSlide" Target="../notesSlides/notesSlide10.xml"/><Relationship Id="rId16" Type="http://schemas.microsoft.com/office/2007/relationships/hdphoto" Target="../media/hdphoto4.wdp"/><Relationship Id="rId1" Type="http://schemas.openxmlformats.org/officeDocument/2006/relationships/slideLayout" Target="../slideLayouts/slideLayout46.xml"/><Relationship Id="rId6" Type="http://schemas.openxmlformats.org/officeDocument/2006/relationships/image" Target="../media/image19.png"/><Relationship Id="rId11" Type="http://schemas.openxmlformats.org/officeDocument/2006/relationships/image" Target="../media/image29.png"/><Relationship Id="rId5" Type="http://schemas.openxmlformats.org/officeDocument/2006/relationships/image" Target="../media/image18.png"/><Relationship Id="rId15" Type="http://schemas.openxmlformats.org/officeDocument/2006/relationships/image" Target="../media/image32.png"/><Relationship Id="rId10" Type="http://schemas.openxmlformats.org/officeDocument/2006/relationships/image" Target="../media/image28.png"/><Relationship Id="rId4" Type="http://schemas.openxmlformats.org/officeDocument/2006/relationships/image" Target="../media/image17.png"/><Relationship Id="rId9" Type="http://schemas.openxmlformats.org/officeDocument/2006/relationships/image" Target="../media/image27.png"/><Relationship Id="rId14" Type="http://schemas.openxmlformats.org/officeDocument/2006/relationships/image" Target="../media/image31.png"/></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emf"/><Relationship Id="rId18" Type="http://schemas.openxmlformats.org/officeDocument/2006/relationships/image" Target="../media/image46.png"/><Relationship Id="rId26" Type="http://schemas.openxmlformats.org/officeDocument/2006/relationships/image" Target="../media/image54.emf"/><Relationship Id="rId3" Type="http://schemas.openxmlformats.org/officeDocument/2006/relationships/image" Target="../media/image35.png"/><Relationship Id="rId21" Type="http://schemas.openxmlformats.org/officeDocument/2006/relationships/image" Target="../media/image49.png"/><Relationship Id="rId7" Type="http://schemas.openxmlformats.org/officeDocument/2006/relationships/image" Target="../media/image26.png"/><Relationship Id="rId12" Type="http://schemas.openxmlformats.org/officeDocument/2006/relationships/image" Target="../media/image40.png"/><Relationship Id="rId17" Type="http://schemas.openxmlformats.org/officeDocument/2006/relationships/image" Target="../media/image45.png"/><Relationship Id="rId25" Type="http://schemas.openxmlformats.org/officeDocument/2006/relationships/image" Target="../media/image53.emf"/><Relationship Id="rId2" Type="http://schemas.openxmlformats.org/officeDocument/2006/relationships/notesSlide" Target="../notesSlides/notesSlide11.xml"/><Relationship Id="rId16" Type="http://schemas.openxmlformats.org/officeDocument/2006/relationships/image" Target="../media/image44.png"/><Relationship Id="rId20" Type="http://schemas.openxmlformats.org/officeDocument/2006/relationships/image" Target="../media/image48.png"/><Relationship Id="rId29" Type="http://schemas.openxmlformats.org/officeDocument/2006/relationships/image" Target="../media/image57.png"/><Relationship Id="rId1" Type="http://schemas.openxmlformats.org/officeDocument/2006/relationships/slideLayout" Target="../slideLayouts/slideLayout46.xml"/><Relationship Id="rId6" Type="http://schemas.openxmlformats.org/officeDocument/2006/relationships/image" Target="../media/image28.png"/><Relationship Id="rId11" Type="http://schemas.openxmlformats.org/officeDocument/2006/relationships/image" Target="../media/image39.png"/><Relationship Id="rId24" Type="http://schemas.openxmlformats.org/officeDocument/2006/relationships/image" Target="../media/image52.png"/><Relationship Id="rId5" Type="http://schemas.openxmlformats.org/officeDocument/2006/relationships/image" Target="../media/image27.png"/><Relationship Id="rId15" Type="http://schemas.openxmlformats.org/officeDocument/2006/relationships/image" Target="../media/image43.png"/><Relationship Id="rId23" Type="http://schemas.openxmlformats.org/officeDocument/2006/relationships/image" Target="../media/image51.png"/><Relationship Id="rId28" Type="http://schemas.openxmlformats.org/officeDocument/2006/relationships/image" Target="../media/image56.png"/><Relationship Id="rId10" Type="http://schemas.openxmlformats.org/officeDocument/2006/relationships/image" Target="../media/image38.png"/><Relationship Id="rId19" Type="http://schemas.openxmlformats.org/officeDocument/2006/relationships/image" Target="../media/image47.png"/><Relationship Id="rId4" Type="http://schemas.microsoft.com/office/2007/relationships/hdphoto" Target="../media/hdphoto5.wdp"/><Relationship Id="rId9" Type="http://schemas.openxmlformats.org/officeDocument/2006/relationships/image" Target="../media/image37.png"/><Relationship Id="rId14" Type="http://schemas.openxmlformats.org/officeDocument/2006/relationships/image" Target="../media/image42.png"/><Relationship Id="rId22" Type="http://schemas.openxmlformats.org/officeDocument/2006/relationships/image" Target="../media/image50.emf"/><Relationship Id="rId27" Type="http://schemas.openxmlformats.org/officeDocument/2006/relationships/image" Target="../media/image55.png"/><Relationship Id="rId30" Type="http://schemas.openxmlformats.org/officeDocument/2006/relationships/image" Target="../media/image58.png"/></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46.xml"/><Relationship Id="rId4" Type="http://schemas.openxmlformats.org/officeDocument/2006/relationships/image" Target="../media/image61.png"/></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46.xml"/><Relationship Id="rId4" Type="http://schemas.openxmlformats.org/officeDocument/2006/relationships/image" Target="../media/image61.png"/></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46.xml"/><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slideLayout" Target="../slideLayouts/slideLayout46.xml"/><Relationship Id="rId7" Type="http://schemas.openxmlformats.org/officeDocument/2006/relationships/image" Target="../media/image6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9.jpeg"/><Relationship Id="rId4" Type="http://schemas.openxmlformats.org/officeDocument/2006/relationships/notesSlide" Target="../notesSlides/notesSlide16.xml"/><Relationship Id="rId9" Type="http://schemas.openxmlformats.org/officeDocument/2006/relationships/image" Target="../media/image68.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4.xml"/><Relationship Id="rId1" Type="http://schemas.openxmlformats.org/officeDocument/2006/relationships/tags" Target="../tags/tag3.xml"/></Relationships>
</file>

<file path=ppt/slides/_rels/slide2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slideLayout" Target="../slideLayouts/slideLayout46.xml"/><Relationship Id="rId3" Type="http://schemas.openxmlformats.org/officeDocument/2006/relationships/tags" Target="../tags/tag7.xml"/><Relationship Id="rId21" Type="http://schemas.openxmlformats.org/officeDocument/2006/relationships/image" Target="../media/image71.png"/><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image" Target="../media/image75.png"/><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image" Target="../media/image70.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image" Target="../media/image74.png"/><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image" Target="../media/image73.png"/><Relationship Id="rId10" Type="http://schemas.openxmlformats.org/officeDocument/2006/relationships/tags" Target="../tags/tag14.xml"/><Relationship Id="rId19" Type="http://schemas.openxmlformats.org/officeDocument/2006/relationships/notesSlide" Target="../notesSlides/notesSlide17.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image" Target="../media/image72.png"/></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8.xml"/><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19.xml"/><Relationship Id="rId1" Type="http://schemas.openxmlformats.org/officeDocument/2006/relationships/slideLayout" Target="../slideLayouts/slideLayout46.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 Id="rId9" Type="http://schemas.openxmlformats.org/officeDocument/2006/relationships/image" Target="../media/image50.emf"/></Relationships>
</file>

<file path=ppt/slides/_rels/slide28.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20.xml"/><Relationship Id="rId1" Type="http://schemas.openxmlformats.org/officeDocument/2006/relationships/slideLayout" Target="../slideLayouts/slideLayout46.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image" Target="../media/image91.jpeg"/><Relationship Id="rId5" Type="http://schemas.openxmlformats.org/officeDocument/2006/relationships/image" Target="../media/image90.png"/><Relationship Id="rId4" Type="http://schemas.openxmlformats.org/officeDocument/2006/relationships/image" Target="../media/image89.jpeg"/></Relationships>
</file>

<file path=ppt/slides/_rels/slide32.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image" Target="../media/image88.jpeg"/><Relationship Id="rId7" Type="http://schemas.microsoft.com/office/2007/relationships/hdphoto" Target="../media/hdphoto6.wdp"/><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93.jpeg"/><Relationship Id="rId5" Type="http://schemas.openxmlformats.org/officeDocument/2006/relationships/image" Target="../media/image92.jpeg"/><Relationship Id="rId4" Type="http://schemas.openxmlformats.org/officeDocument/2006/relationships/image" Target="../media/image89.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2.xml"/><Relationship Id="rId5" Type="http://schemas.openxmlformats.org/officeDocument/2006/relationships/image" Target="../media/image15.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veloping for the Windows Ecosystem</a:t>
            </a:r>
            <a:endParaRPr lang="en-US" dirty="0"/>
          </a:p>
        </p:txBody>
      </p:sp>
      <p:sp>
        <p:nvSpPr>
          <p:cNvPr id="5" name="Text Placeholder 4"/>
          <p:cNvSpPr>
            <a:spLocks noGrp="1"/>
          </p:cNvSpPr>
          <p:nvPr>
            <p:ph type="body" sz="quarter" idx="14"/>
          </p:nvPr>
        </p:nvSpPr>
        <p:spPr/>
        <p:txBody>
          <a:bodyPr/>
          <a:lstStyle/>
          <a:p>
            <a:r>
              <a:rPr lang="en-US" dirty="0" smtClean="0"/>
              <a:t>Dave Russell</a:t>
            </a:r>
          </a:p>
          <a:p>
            <a:r>
              <a:rPr lang="en-US" dirty="0" smtClean="0"/>
              <a:t>Technical Evangelist</a:t>
            </a:r>
          </a:p>
          <a:p>
            <a:r>
              <a:rPr lang="en-US" dirty="0" smtClean="0"/>
              <a:t>Microsoft</a:t>
            </a:r>
            <a:endParaRPr lang="en-US" dirty="0"/>
          </a:p>
        </p:txBody>
      </p:sp>
    </p:spTree>
    <p:extLst>
      <p:ext uri="{BB962C8B-B14F-4D97-AF65-F5344CB8AC3E}">
        <p14:creationId xmlns:p14="http://schemas.microsoft.com/office/powerpoint/2010/main" val="63341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914400" y="4324350"/>
            <a:ext cx="8077200" cy="53340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indows Core OS Services</a:t>
            </a:r>
          </a:p>
        </p:txBody>
      </p:sp>
      <p:sp>
        <p:nvSpPr>
          <p:cNvPr id="7" name="Rectangle 6"/>
          <p:cNvSpPr/>
          <p:nvPr/>
        </p:nvSpPr>
        <p:spPr bwMode="auto">
          <a:xfrm>
            <a:off x="304800" y="4324350"/>
            <a:ext cx="533400" cy="533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a:gradFill>
                  <a:gsLst>
                    <a:gs pos="0">
                      <a:srgbClr val="FFFFFF"/>
                    </a:gs>
                    <a:gs pos="100000">
                      <a:srgbClr val="FFFFFF"/>
                    </a:gs>
                  </a:gsLst>
                  <a:lin ang="5400000" scaled="0"/>
                </a:gradFill>
                <a:ea typeface="Segoe UI" pitchFamily="34" charset="0"/>
                <a:cs typeface="Segoe UI" pitchFamily="34" charset="0"/>
              </a:rPr>
              <a:t>Core</a:t>
            </a:r>
          </a:p>
        </p:txBody>
      </p:sp>
      <p:sp>
        <p:nvSpPr>
          <p:cNvPr id="8" name="Rectangle 7"/>
          <p:cNvSpPr/>
          <p:nvPr/>
        </p:nvSpPr>
        <p:spPr bwMode="auto">
          <a:xfrm>
            <a:off x="914400" y="2801896"/>
            <a:ext cx="4953000" cy="1444196"/>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a:gradFill>
                  <a:gsLst>
                    <a:gs pos="0">
                      <a:srgbClr val="FFFFFF"/>
                    </a:gs>
                    <a:gs pos="100000">
                      <a:srgbClr val="FFFFFF"/>
                    </a:gs>
                  </a:gsLst>
                  <a:lin ang="5400000" scaled="0"/>
                </a:gradFill>
                <a:ea typeface="Segoe UI" pitchFamily="34" charset="0"/>
                <a:cs typeface="Segoe UI" pitchFamily="34" charset="0"/>
              </a:rPr>
              <a:t>WinRT</a:t>
            </a:r>
            <a:r>
              <a:rPr lang="en-US" sz="2400" dirty="0">
                <a:gradFill>
                  <a:gsLst>
                    <a:gs pos="0">
                      <a:srgbClr val="FFFFFF"/>
                    </a:gs>
                    <a:gs pos="100000">
                      <a:srgbClr val="FFFFFF"/>
                    </a:gs>
                  </a:gsLst>
                  <a:lin ang="5400000" scaled="0"/>
                </a:gradFill>
                <a:ea typeface="Segoe UI" pitchFamily="34" charset="0"/>
                <a:cs typeface="Segoe UI" pitchFamily="34" charset="0"/>
              </a:rPr>
              <a:t> APIs</a:t>
            </a:r>
          </a:p>
        </p:txBody>
      </p:sp>
      <p:sp>
        <p:nvSpPr>
          <p:cNvPr id="9" name="Rectangle 8"/>
          <p:cNvSpPr/>
          <p:nvPr/>
        </p:nvSpPr>
        <p:spPr bwMode="auto">
          <a:xfrm>
            <a:off x="914400" y="209550"/>
            <a:ext cx="4953000" cy="60960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in8 and </a:t>
            </a:r>
            <a:r>
              <a:rPr lang="en-US" sz="2400" dirty="0" err="1">
                <a:gradFill>
                  <a:gsLst>
                    <a:gs pos="0">
                      <a:srgbClr val="FFFFFF"/>
                    </a:gs>
                    <a:gs pos="100000">
                      <a:srgbClr val="FFFFFF"/>
                    </a:gs>
                  </a:gsLst>
                  <a:lin ang="5400000" scaled="0"/>
                </a:gradFill>
                <a:ea typeface="Segoe UI" pitchFamily="34" charset="0"/>
                <a:cs typeface="Segoe UI" pitchFamily="34" charset="0"/>
              </a:rPr>
              <a:t>WinPhone</a:t>
            </a:r>
            <a:r>
              <a:rPr lang="en-US" sz="2400" dirty="0">
                <a:gradFill>
                  <a:gsLst>
                    <a:gs pos="0">
                      <a:srgbClr val="FFFFFF"/>
                    </a:gs>
                    <a:gs pos="100000">
                      <a:srgbClr val="FFFFFF"/>
                    </a:gs>
                  </a:gsLst>
                  <a:lin ang="5400000" scaled="0"/>
                </a:gradFill>
                <a:ea typeface="Segoe UI" pitchFamily="34" charset="0"/>
                <a:cs typeface="Segoe UI" pitchFamily="34" charset="0"/>
              </a:rPr>
              <a:t> 8 Apps</a:t>
            </a:r>
          </a:p>
        </p:txBody>
      </p:sp>
      <p:sp>
        <p:nvSpPr>
          <p:cNvPr id="10" name="Rectangle 9"/>
          <p:cNvSpPr/>
          <p:nvPr/>
        </p:nvSpPr>
        <p:spPr bwMode="auto">
          <a:xfrm>
            <a:off x="5981700" y="209550"/>
            <a:ext cx="3009900" cy="609600"/>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sktop Apps</a:t>
            </a:r>
          </a:p>
        </p:txBody>
      </p:sp>
      <p:sp>
        <p:nvSpPr>
          <p:cNvPr id="11" name="Rectangle 10"/>
          <p:cNvSpPr/>
          <p:nvPr/>
        </p:nvSpPr>
        <p:spPr bwMode="auto">
          <a:xfrm>
            <a:off x="8229600" y="969493"/>
            <a:ext cx="762000" cy="2590799"/>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B</a:t>
            </a:r>
          </a:p>
        </p:txBody>
      </p:sp>
      <p:sp>
        <p:nvSpPr>
          <p:cNvPr id="12" name="Rectangle 11"/>
          <p:cNvSpPr/>
          <p:nvPr/>
        </p:nvSpPr>
        <p:spPr bwMode="auto">
          <a:xfrm>
            <a:off x="7239000" y="969493"/>
            <a:ext cx="914400" cy="2590800"/>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C </a:t>
            </a:r>
            <a:r>
              <a:rPr lang="en-US" sz="2000" dirty="0" err="1">
                <a:gradFill>
                  <a:gsLst>
                    <a:gs pos="0">
                      <a:srgbClr val="FFFFFF"/>
                    </a:gs>
                    <a:gs pos="100000">
                      <a:srgbClr val="FFFFFF"/>
                    </a:gs>
                  </a:gsLst>
                  <a:lin ang="5400000" scaled="0"/>
                </a:gradFill>
                <a:ea typeface="Segoe UI" pitchFamily="34" charset="0"/>
                <a:cs typeface="Segoe UI" pitchFamily="34" charset="0"/>
              </a:rPr>
              <a:t>C</a:t>
            </a:r>
            <a:r>
              <a:rPr lang="en-US" sz="2000" dirty="0">
                <a:gradFill>
                  <a:gsLst>
                    <a:gs pos="0">
                      <a:srgbClr val="FFFFFF"/>
                    </a:gs>
                    <a:gs pos="100000">
                      <a:srgbClr val="FFFFFF"/>
                    </a:gs>
                  </a:gsLst>
                  <a:lin ang="5400000" scaled="0"/>
                </a:gradFill>
                <a:ea typeface="Segoe UI" pitchFamily="34" charset="0"/>
                <a:cs typeface="Segoe UI" pitchFamily="34" charset="0"/>
              </a:rPr>
              <a:t>++</a:t>
            </a:r>
          </a:p>
        </p:txBody>
      </p:sp>
      <p:sp>
        <p:nvSpPr>
          <p:cNvPr id="13" name="Rectangle 12"/>
          <p:cNvSpPr/>
          <p:nvPr/>
        </p:nvSpPr>
        <p:spPr bwMode="auto">
          <a:xfrm>
            <a:off x="5981700" y="969492"/>
            <a:ext cx="1143000" cy="2590801"/>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HTML</a:t>
            </a:r>
            <a:r>
              <a:rPr lang="en-US" sz="2400" dirty="0">
                <a:gradFill>
                  <a:gsLst>
                    <a:gs pos="0">
                      <a:srgbClr val="FFFFFF"/>
                    </a:gs>
                    <a:gs pos="100000">
                      <a:srgbClr val="FFFFFF"/>
                    </a:gs>
                  </a:gsLst>
                  <a:lin ang="5400000" scaled="0"/>
                </a:gradFill>
                <a:ea typeface="Segoe UI" pitchFamily="34" charset="0"/>
                <a:cs typeface="Segoe UI" pitchFamily="34" charset="0"/>
              </a:rPr>
              <a:t> </a:t>
            </a:r>
            <a:r>
              <a:rPr lang="en-US" sz="1400" dirty="0" err="1">
                <a:gradFill>
                  <a:gsLst>
                    <a:gs pos="0">
                      <a:srgbClr val="FFFFFF"/>
                    </a:gs>
                    <a:gs pos="100000">
                      <a:srgbClr val="FFFFFF"/>
                    </a:gs>
                  </a:gsLst>
                  <a:lin ang="5400000" scaled="0"/>
                </a:gradFill>
                <a:ea typeface="Segoe UI" pitchFamily="34" charset="0"/>
                <a:cs typeface="Segoe UI" pitchFamily="34" charset="0"/>
              </a:rPr>
              <a:t>Javascript</a:t>
            </a: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8229600" y="3636492"/>
            <a:ext cx="762000" cy="609085"/>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err="1">
                <a:gradFill>
                  <a:gsLst>
                    <a:gs pos="0">
                      <a:srgbClr val="FFFFFF"/>
                    </a:gs>
                    <a:gs pos="100000">
                      <a:srgbClr val="FFFFFF"/>
                    </a:gs>
                  </a:gsLst>
                  <a:lin ang="5400000" scaled="0"/>
                </a:gradFill>
                <a:ea typeface="Segoe UI" pitchFamily="34" charset="0"/>
                <a:cs typeface="Segoe UI" pitchFamily="34" charset="0"/>
              </a:rPr>
              <a:t>.Net</a:t>
            </a:r>
            <a:r>
              <a:rPr lang="en-US" sz="1600" dirty="0">
                <a:gradFill>
                  <a:gsLst>
                    <a:gs pos="0">
                      <a:srgbClr val="FFFFFF"/>
                    </a:gs>
                    <a:gs pos="100000">
                      <a:srgbClr val="FFFFFF"/>
                    </a:gs>
                  </a:gsLst>
                  <a:lin ang="5400000" scaled="0"/>
                </a:gradFill>
                <a:ea typeface="Segoe UI" pitchFamily="34" charset="0"/>
                <a:cs typeface="Segoe UI" pitchFamily="34" charset="0"/>
              </a:rPr>
              <a:t> / SL</a:t>
            </a:r>
          </a:p>
        </p:txBody>
      </p:sp>
      <p:sp>
        <p:nvSpPr>
          <p:cNvPr id="17" name="Rectangle 16"/>
          <p:cNvSpPr/>
          <p:nvPr/>
        </p:nvSpPr>
        <p:spPr bwMode="auto">
          <a:xfrm>
            <a:off x="7239000" y="3636491"/>
            <a:ext cx="914400" cy="609085"/>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Win32</a:t>
            </a:r>
          </a:p>
        </p:txBody>
      </p:sp>
      <p:sp>
        <p:nvSpPr>
          <p:cNvPr id="18" name="Rectangle 17"/>
          <p:cNvSpPr/>
          <p:nvPr/>
        </p:nvSpPr>
        <p:spPr bwMode="auto">
          <a:xfrm>
            <a:off x="5981700" y="3625421"/>
            <a:ext cx="1143000" cy="609085"/>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Internet Explorer</a:t>
            </a:r>
          </a:p>
        </p:txBody>
      </p:sp>
      <p:sp>
        <p:nvSpPr>
          <p:cNvPr id="19" name="Rectangle 18"/>
          <p:cNvSpPr/>
          <p:nvPr/>
        </p:nvSpPr>
        <p:spPr bwMode="auto">
          <a:xfrm>
            <a:off x="304800" y="2801896"/>
            <a:ext cx="533400" cy="14441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System Services</a:t>
            </a:r>
          </a:p>
        </p:txBody>
      </p:sp>
      <p:sp>
        <p:nvSpPr>
          <p:cNvPr id="20" name="Rectangle 19"/>
          <p:cNvSpPr/>
          <p:nvPr/>
        </p:nvSpPr>
        <p:spPr bwMode="auto">
          <a:xfrm>
            <a:off x="304800" y="1883892"/>
            <a:ext cx="533400" cy="8793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Model</a:t>
            </a:r>
          </a:p>
        </p:txBody>
      </p:sp>
      <p:sp>
        <p:nvSpPr>
          <p:cNvPr id="21" name="Rectangle 20"/>
          <p:cNvSpPr/>
          <p:nvPr/>
        </p:nvSpPr>
        <p:spPr bwMode="auto">
          <a:xfrm>
            <a:off x="304800" y="969493"/>
            <a:ext cx="533400" cy="84643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View</a:t>
            </a:r>
          </a:p>
        </p:txBody>
      </p:sp>
      <p:sp>
        <p:nvSpPr>
          <p:cNvPr id="23" name="Rectangle 22"/>
          <p:cNvSpPr/>
          <p:nvPr/>
        </p:nvSpPr>
        <p:spPr bwMode="auto">
          <a:xfrm>
            <a:off x="990600" y="3266046"/>
            <a:ext cx="1752600" cy="46775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Communication &amp; Data</a:t>
            </a:r>
          </a:p>
        </p:txBody>
      </p:sp>
      <p:sp>
        <p:nvSpPr>
          <p:cNvPr id="24" name="Rectangle 23"/>
          <p:cNvSpPr/>
          <p:nvPr/>
        </p:nvSpPr>
        <p:spPr bwMode="auto">
          <a:xfrm>
            <a:off x="990600" y="3788892"/>
            <a:ext cx="4800600" cy="38100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Application Model</a:t>
            </a:r>
          </a:p>
        </p:txBody>
      </p:sp>
      <p:sp>
        <p:nvSpPr>
          <p:cNvPr id="25" name="Rectangle 24"/>
          <p:cNvSpPr/>
          <p:nvPr/>
        </p:nvSpPr>
        <p:spPr bwMode="auto">
          <a:xfrm>
            <a:off x="2819400" y="3261669"/>
            <a:ext cx="1460157" cy="46775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Graphics &amp; Media</a:t>
            </a:r>
          </a:p>
        </p:txBody>
      </p:sp>
      <p:sp>
        <p:nvSpPr>
          <p:cNvPr id="26" name="Rectangle 25"/>
          <p:cNvSpPr/>
          <p:nvPr/>
        </p:nvSpPr>
        <p:spPr bwMode="auto">
          <a:xfrm>
            <a:off x="4331043" y="3261668"/>
            <a:ext cx="1460157" cy="467755"/>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Devices &amp; Printing</a:t>
            </a:r>
          </a:p>
        </p:txBody>
      </p:sp>
      <p:sp>
        <p:nvSpPr>
          <p:cNvPr id="27" name="Rectangle 26"/>
          <p:cNvSpPr/>
          <p:nvPr/>
        </p:nvSpPr>
        <p:spPr bwMode="auto">
          <a:xfrm>
            <a:off x="914400" y="1883892"/>
            <a:ext cx="1447800" cy="859308"/>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 </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p>
        </p:txBody>
      </p:sp>
      <p:sp>
        <p:nvSpPr>
          <p:cNvPr id="28" name="Rectangle 27"/>
          <p:cNvSpPr/>
          <p:nvPr/>
        </p:nvSpPr>
        <p:spPr bwMode="auto">
          <a:xfrm>
            <a:off x="2438400" y="1883892"/>
            <a:ext cx="1524000" cy="859308"/>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B</a:t>
            </a:r>
          </a:p>
        </p:txBody>
      </p:sp>
      <p:sp>
        <p:nvSpPr>
          <p:cNvPr id="29" name="Rectangle 28"/>
          <p:cNvSpPr/>
          <p:nvPr/>
        </p:nvSpPr>
        <p:spPr bwMode="auto">
          <a:xfrm>
            <a:off x="4038601" y="1883892"/>
            <a:ext cx="1828799" cy="846436"/>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err="1">
                <a:gradFill>
                  <a:gsLst>
                    <a:gs pos="0">
                      <a:srgbClr val="FFFFFF"/>
                    </a:gs>
                    <a:gs pos="100000">
                      <a:srgbClr val="FFFFFF"/>
                    </a:gs>
                  </a:gsLst>
                  <a:lin ang="5400000" scaled="0"/>
                </a:gradFill>
                <a:ea typeface="Segoe UI" pitchFamily="34" charset="0"/>
                <a:cs typeface="Segoe UI" pitchFamily="34" charset="0"/>
              </a:rPr>
              <a:t>Javascript</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4038601" y="969493"/>
            <a:ext cx="1828799" cy="846436"/>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HTML /CSS</a:t>
            </a:r>
          </a:p>
        </p:txBody>
      </p:sp>
      <p:sp>
        <p:nvSpPr>
          <p:cNvPr id="31" name="Rectangle 30"/>
          <p:cNvSpPr/>
          <p:nvPr/>
        </p:nvSpPr>
        <p:spPr bwMode="auto">
          <a:xfrm>
            <a:off x="1346886" y="959711"/>
            <a:ext cx="2192294" cy="856218"/>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XAML</a:t>
            </a:r>
          </a:p>
        </p:txBody>
      </p:sp>
      <p:sp>
        <p:nvSpPr>
          <p:cNvPr id="32" name="Rectangle 31"/>
          <p:cNvSpPr/>
          <p:nvPr/>
        </p:nvSpPr>
        <p:spPr bwMode="auto">
          <a:xfrm>
            <a:off x="914400" y="963056"/>
            <a:ext cx="361950" cy="920835"/>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3600450" y="969492"/>
            <a:ext cx="361950" cy="920835"/>
          </a:xfrm>
          <a:prstGeom prst="rect">
            <a:avLst/>
          </a:prstGeom>
          <a:solidFill>
            <a:schemeClr val="accent3">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9110285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P8 Subset of Win8</a:t>
            </a:r>
            <a:endParaRPr lang="en-US" dirty="0"/>
          </a:p>
        </p:txBody>
      </p:sp>
      <p:sp>
        <p:nvSpPr>
          <p:cNvPr id="4" name="Oval 3"/>
          <p:cNvSpPr/>
          <p:nvPr/>
        </p:nvSpPr>
        <p:spPr>
          <a:xfrm>
            <a:off x="676446" y="1428750"/>
            <a:ext cx="2676354" cy="268616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nchorCtr="0"/>
          <a:lstStyle/>
          <a:p>
            <a:pPr algn="ctr"/>
            <a:r>
              <a:rPr lang="en-US" dirty="0">
                <a:solidFill>
                  <a:prstClr val="white"/>
                </a:solidFill>
              </a:rPr>
              <a:t>Full </a:t>
            </a:r>
            <a:r>
              <a:rPr lang="en-US" dirty="0" err="1">
                <a:solidFill>
                  <a:prstClr val="white"/>
                </a:solidFill>
              </a:rPr>
              <a:t>WinRT</a:t>
            </a:r>
            <a:endParaRPr lang="en-US" dirty="0">
              <a:solidFill>
                <a:prstClr val="white"/>
              </a:solidFill>
            </a:endParaRPr>
          </a:p>
          <a:p>
            <a:pPr algn="ctr"/>
            <a:r>
              <a:rPr lang="en-US" sz="1600" dirty="0">
                <a:solidFill>
                  <a:prstClr val="white"/>
                </a:solidFill>
              </a:rPr>
              <a:t>11,000 members</a:t>
            </a:r>
          </a:p>
        </p:txBody>
      </p:sp>
      <p:sp>
        <p:nvSpPr>
          <p:cNvPr id="5" name="Oval 4"/>
          <p:cNvSpPr/>
          <p:nvPr/>
        </p:nvSpPr>
        <p:spPr>
          <a:xfrm>
            <a:off x="2733846" y="1598882"/>
            <a:ext cx="2380179" cy="2287435"/>
          </a:xfrm>
          <a:prstGeom prst="ellipse">
            <a:avLst/>
          </a:prstGeom>
          <a:solidFill>
            <a:srgbClr val="92D05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nchorCtr="0"/>
          <a:lstStyle/>
          <a:p>
            <a:pPr algn="ctr"/>
            <a:r>
              <a:rPr lang="en-US" sz="1400" dirty="0">
                <a:solidFill>
                  <a:prstClr val="white"/>
                </a:solidFill>
              </a:rPr>
              <a:t>Windows Phone Runtime</a:t>
            </a:r>
          </a:p>
          <a:p>
            <a:pPr algn="ctr"/>
            <a:r>
              <a:rPr lang="en-US" sz="1100" dirty="0">
                <a:solidFill>
                  <a:prstClr val="white"/>
                </a:solidFill>
              </a:rPr>
              <a:t>2,800 shared members</a:t>
            </a:r>
          </a:p>
          <a:p>
            <a:pPr algn="ctr"/>
            <a:r>
              <a:rPr lang="en-US" sz="1100" dirty="0">
                <a:solidFill>
                  <a:prstClr val="white"/>
                </a:solidFill>
              </a:rPr>
              <a:t>600 new members</a:t>
            </a:r>
          </a:p>
        </p:txBody>
      </p:sp>
      <p:sp>
        <p:nvSpPr>
          <p:cNvPr id="6" name="Oval 5"/>
          <p:cNvSpPr/>
          <p:nvPr/>
        </p:nvSpPr>
        <p:spPr>
          <a:xfrm>
            <a:off x="5705646" y="1200150"/>
            <a:ext cx="2676354" cy="268616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ctr" anchorCtr="0"/>
          <a:lstStyle/>
          <a:p>
            <a:pPr algn="ctr" fontAlgn="ctr"/>
            <a:r>
              <a:rPr lang="en-US" sz="1200" dirty="0">
                <a:solidFill>
                  <a:srgbClr val="FFFFFF"/>
                </a:solidFill>
                <a:cs typeface="Segoe UI" pitchFamily="34" charset="0"/>
              </a:rPr>
              <a:t>Networking</a:t>
            </a:r>
          </a:p>
          <a:p>
            <a:pPr algn="ctr" fontAlgn="ctr"/>
            <a:r>
              <a:rPr lang="en-US" sz="1200" dirty="0">
                <a:solidFill>
                  <a:srgbClr val="FFFFFF"/>
                </a:solidFill>
                <a:cs typeface="Segoe UI" pitchFamily="34" charset="0"/>
              </a:rPr>
              <a:t>Proximity</a:t>
            </a:r>
          </a:p>
          <a:p>
            <a:pPr algn="ctr" fontAlgn="ctr"/>
            <a:r>
              <a:rPr lang="en-US" sz="1200" dirty="0">
                <a:solidFill>
                  <a:srgbClr val="FFFFFF"/>
                </a:solidFill>
                <a:cs typeface="Segoe UI" pitchFamily="34" charset="0"/>
              </a:rPr>
              <a:t>In-App Purchase</a:t>
            </a:r>
          </a:p>
          <a:p>
            <a:pPr algn="ctr" fontAlgn="ctr"/>
            <a:r>
              <a:rPr lang="en-US" sz="1200" dirty="0">
                <a:solidFill>
                  <a:srgbClr val="FFFFFF"/>
                </a:solidFill>
                <a:cs typeface="Segoe UI" pitchFamily="34" charset="0"/>
              </a:rPr>
              <a:t>Sensors</a:t>
            </a:r>
          </a:p>
          <a:p>
            <a:pPr algn="ctr" fontAlgn="ctr"/>
            <a:r>
              <a:rPr lang="en-US" sz="1200" dirty="0">
                <a:solidFill>
                  <a:srgbClr val="FFFFFF"/>
                </a:solidFill>
                <a:cs typeface="Segoe UI" pitchFamily="34" charset="0"/>
              </a:rPr>
              <a:t>Location</a:t>
            </a:r>
          </a:p>
          <a:p>
            <a:pPr algn="ctr" fontAlgn="ctr"/>
            <a:r>
              <a:rPr lang="en-US" sz="1200" dirty="0">
                <a:solidFill>
                  <a:srgbClr val="FFFFFF"/>
                </a:solidFill>
                <a:cs typeface="Segoe UI" pitchFamily="34" charset="0"/>
              </a:rPr>
              <a:t>File System</a:t>
            </a:r>
          </a:p>
          <a:p>
            <a:pPr algn="ctr" fontAlgn="ctr"/>
            <a:r>
              <a:rPr lang="en-US" sz="1200" dirty="0">
                <a:solidFill>
                  <a:srgbClr val="FFFFFF"/>
                </a:solidFill>
                <a:cs typeface="Segoe UI" pitchFamily="34" charset="0"/>
              </a:rPr>
              <a:t>Core app model</a:t>
            </a:r>
          </a:p>
          <a:p>
            <a:pPr algn="ctr" fontAlgn="ctr"/>
            <a:r>
              <a:rPr lang="en-US" sz="1200" dirty="0">
                <a:solidFill>
                  <a:srgbClr val="FFFFFF"/>
                </a:solidFill>
                <a:cs typeface="Segoe UI" pitchFamily="34" charset="0"/>
              </a:rPr>
              <a:t>Threading</a:t>
            </a:r>
          </a:p>
        </p:txBody>
      </p:sp>
      <p:cxnSp>
        <p:nvCxnSpPr>
          <p:cNvPr id="14" name="Curved Connector 13"/>
          <p:cNvCxnSpPr>
            <a:stCxn id="5" idx="3"/>
            <a:endCxn id="6" idx="4"/>
          </p:cNvCxnSpPr>
          <p:nvPr/>
        </p:nvCxnSpPr>
        <p:spPr>
          <a:xfrm rot="16200000" flipH="1">
            <a:off x="4895625" y="1738120"/>
            <a:ext cx="334988" cy="3961408"/>
          </a:xfrm>
          <a:prstGeom prst="curvedConnector3">
            <a:avLst>
              <a:gd name="adj1" fmla="val 168241"/>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941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bwMode="black">
          <a:xfrm>
            <a:off x="1043148" y="-1484447"/>
            <a:ext cx="6889534" cy="6041375"/>
            <a:chOff x="2462213" y="1598613"/>
            <a:chExt cx="4222750" cy="3667125"/>
          </a:xfrm>
          <a:solidFill>
            <a:schemeClr val="accent2"/>
          </a:solidFill>
        </p:grpSpPr>
        <p:sp>
          <p:nvSpPr>
            <p:cNvPr id="18"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0"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1"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3"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5"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7"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8"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0"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1"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2"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3"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4"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5"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6"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7"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8"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9"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0"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1"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2"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3"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4"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5"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6"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7"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8"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grpSp>
      <p:sp>
        <p:nvSpPr>
          <p:cNvPr id="3" name="TextBox 2"/>
          <p:cNvSpPr txBox="1"/>
          <p:nvPr/>
        </p:nvSpPr>
        <p:spPr>
          <a:xfrm>
            <a:off x="3246774" y="1071187"/>
            <a:ext cx="3992226" cy="904863"/>
          </a:xfrm>
          <a:prstGeom prst="rect">
            <a:avLst/>
          </a:prstGeom>
          <a:noFill/>
        </p:spPr>
        <p:txBody>
          <a:bodyPr wrap="square" lIns="182880" tIns="146304" rIns="182880" bIns="146304" rtlCol="0">
            <a:spAutoFit/>
          </a:bodyPr>
          <a:lstStyle/>
          <a:p>
            <a:pPr>
              <a:lnSpc>
                <a:spcPct val="90000"/>
              </a:lnSpc>
              <a:spcAft>
                <a:spcPts val="600"/>
              </a:spcAft>
            </a:pPr>
            <a:r>
              <a:rPr lang="en-US" sz="4400" dirty="0" smtClean="0">
                <a:solidFill>
                  <a:schemeClr val="bg1"/>
                </a:solidFill>
                <a:latin typeface="+mj-lt"/>
              </a:rPr>
              <a:t>Services</a:t>
            </a:r>
          </a:p>
        </p:txBody>
      </p:sp>
      <p:sp>
        <p:nvSpPr>
          <p:cNvPr id="49" name="Rectangle 48"/>
          <p:cNvSpPr/>
          <p:nvPr/>
        </p:nvSpPr>
        <p:spPr bwMode="auto">
          <a:xfrm>
            <a:off x="2056932" y="-1263222"/>
            <a:ext cx="4593275" cy="18328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p:cNvSpPr/>
          <p:nvPr/>
        </p:nvSpPr>
        <p:spPr bwMode="auto">
          <a:xfrm>
            <a:off x="6080715" y="564881"/>
            <a:ext cx="2657554" cy="18328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cv</a:t>
            </a:r>
          </a:p>
        </p:txBody>
      </p:sp>
      <p:sp>
        <p:nvSpPr>
          <p:cNvPr id="51" name="Rectangle 50"/>
          <p:cNvSpPr/>
          <p:nvPr/>
        </p:nvSpPr>
        <p:spPr bwMode="auto">
          <a:xfrm>
            <a:off x="-1828800" y="519115"/>
            <a:ext cx="4593275" cy="18328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3244955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oud Design Principles</a:t>
            </a:r>
            <a:endParaRPr lang="en-US" dirty="0"/>
          </a:p>
        </p:txBody>
      </p:sp>
      <p:sp>
        <p:nvSpPr>
          <p:cNvPr id="5" name="Text Placeholder 4"/>
          <p:cNvSpPr>
            <a:spLocks noGrp="1"/>
          </p:cNvSpPr>
          <p:nvPr>
            <p:ph type="body" sz="quarter" idx="15"/>
          </p:nvPr>
        </p:nvSpPr>
        <p:spPr/>
        <p:txBody>
          <a:bodyPr/>
          <a:lstStyle/>
          <a:p>
            <a:endParaRPr lang="en-US"/>
          </a:p>
        </p:txBody>
      </p:sp>
      <p:sp>
        <p:nvSpPr>
          <p:cNvPr id="6" name="Rectangle 5"/>
          <p:cNvSpPr/>
          <p:nvPr/>
        </p:nvSpPr>
        <p:spPr bwMode="auto">
          <a:xfrm>
            <a:off x="1958841" y="1545070"/>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7" name="Rectangle 6"/>
          <p:cNvSpPr/>
          <p:nvPr/>
        </p:nvSpPr>
        <p:spPr bwMode="auto">
          <a:xfrm>
            <a:off x="3321124" y="1545070"/>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a:gradFill>
                <a:gsLst>
                  <a:gs pos="0">
                    <a:srgbClr val="FFFFFF"/>
                  </a:gs>
                  <a:gs pos="100000">
                    <a:srgbClr val="FFFFFF"/>
                  </a:gs>
                </a:gsLst>
                <a:lin ang="5400000" scaled="0"/>
              </a:gradFill>
              <a:latin typeface="Segoe UI"/>
            </a:endParaRPr>
          </a:p>
        </p:txBody>
      </p:sp>
      <p:sp>
        <p:nvSpPr>
          <p:cNvPr id="8" name="Rectangle 7"/>
          <p:cNvSpPr/>
          <p:nvPr/>
        </p:nvSpPr>
        <p:spPr bwMode="auto">
          <a:xfrm>
            <a:off x="6047919" y="1545070"/>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9" name="Rectangle 8"/>
          <p:cNvSpPr/>
          <p:nvPr/>
        </p:nvSpPr>
        <p:spPr bwMode="auto">
          <a:xfrm>
            <a:off x="7419545" y="1545070"/>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10" name="Rectangle 9"/>
          <p:cNvSpPr/>
          <p:nvPr/>
        </p:nvSpPr>
        <p:spPr bwMode="auto">
          <a:xfrm>
            <a:off x="4683408" y="1545070"/>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11" name="Rectangle 10"/>
          <p:cNvSpPr/>
          <p:nvPr/>
        </p:nvSpPr>
        <p:spPr bwMode="auto">
          <a:xfrm>
            <a:off x="605364" y="1545070"/>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pic>
        <p:nvPicPr>
          <p:cNvPr id="13" name="Picture 29" descr="money-stach"/>
          <p:cNvPicPr>
            <a:picLocks noChangeAspect="1" noChangeArrowheads="1"/>
          </p:cNvPicPr>
          <p:nvPr/>
        </p:nvPicPr>
        <p:blipFill>
          <a:blip r:embed="rId3" cstate="email"/>
          <a:srcRect/>
          <a:stretch>
            <a:fillRect/>
          </a:stretch>
        </p:blipFill>
        <p:spPr bwMode="auto">
          <a:xfrm>
            <a:off x="999913" y="1638620"/>
            <a:ext cx="877146" cy="404053"/>
          </a:xfrm>
          <a:prstGeom prst="rect">
            <a:avLst/>
          </a:prstGeom>
          <a:noFill/>
          <a:ln w="9525">
            <a:noFill/>
            <a:miter lim="800000"/>
            <a:headEnd/>
            <a:tailEnd/>
          </a:ln>
        </p:spPr>
      </p:pic>
      <p:pic>
        <p:nvPicPr>
          <p:cNvPr id="14" name="Picture 30" descr="server"/>
          <p:cNvPicPr>
            <a:picLocks noChangeAspect="1" noChangeArrowheads="1"/>
          </p:cNvPicPr>
          <p:nvPr/>
        </p:nvPicPr>
        <p:blipFill>
          <a:blip r:embed="rId4"/>
          <a:srcRect/>
          <a:stretch>
            <a:fillRect/>
          </a:stretch>
        </p:blipFill>
        <p:spPr bwMode="auto">
          <a:xfrm>
            <a:off x="6620665" y="1645564"/>
            <a:ext cx="615638" cy="497129"/>
          </a:xfrm>
          <a:prstGeom prst="rect">
            <a:avLst/>
          </a:prstGeom>
          <a:noFill/>
          <a:ln w="9525">
            <a:noFill/>
            <a:miter lim="800000"/>
            <a:headEnd/>
            <a:tailEnd/>
          </a:ln>
        </p:spPr>
      </p:pic>
      <p:sp>
        <p:nvSpPr>
          <p:cNvPr id="15" name="Text Box 33"/>
          <p:cNvSpPr txBox="1">
            <a:spLocks noChangeArrowheads="1"/>
          </p:cNvSpPr>
          <p:nvPr/>
        </p:nvSpPr>
        <p:spPr bwMode="auto">
          <a:xfrm>
            <a:off x="6108346" y="2424426"/>
            <a:ext cx="809299" cy="230806"/>
          </a:xfrm>
          <a:prstGeom prst="rect">
            <a:avLst/>
          </a:prstGeom>
          <a:noFill/>
          <a:ln w="9525">
            <a:noFill/>
            <a:miter lim="800000"/>
            <a:headEnd/>
            <a:tailEnd/>
          </a:ln>
        </p:spPr>
        <p:txBody>
          <a:bodyPr lIns="57122" tIns="28562" rIns="57122" bIns="28562">
            <a:spAutoFit/>
          </a:bodyPr>
          <a:lstStyle>
            <a:defPPr>
              <a:defRPr lang="en-US"/>
            </a:defPPr>
            <a:lvl1pPr defTabSz="1306513">
              <a:defRPr sz="1400">
                <a:solidFill>
                  <a:schemeClr val="bg1"/>
                </a:solidFill>
                <a:latin typeface="Segoe" pitchFamily="34" charset="0"/>
              </a:defRPr>
            </a:lvl1pPr>
          </a:lstStyle>
          <a:p>
            <a:pPr defTabSz="816268">
              <a:defRPr/>
            </a:pPr>
            <a:r>
              <a:rPr lang="en-US" sz="1125" kern="0" dirty="0">
                <a:solidFill>
                  <a:sysClr val="window" lastClr="FFFFFF"/>
                </a:solidFill>
              </a:rPr>
              <a:t>managed</a:t>
            </a:r>
          </a:p>
        </p:txBody>
      </p:sp>
      <p:sp>
        <p:nvSpPr>
          <p:cNvPr id="16" name="Text Box 34"/>
          <p:cNvSpPr txBox="1">
            <a:spLocks noChangeArrowheads="1"/>
          </p:cNvSpPr>
          <p:nvPr/>
        </p:nvSpPr>
        <p:spPr bwMode="auto">
          <a:xfrm>
            <a:off x="3391536" y="2460980"/>
            <a:ext cx="854342" cy="230806"/>
          </a:xfrm>
          <a:prstGeom prst="rect">
            <a:avLst/>
          </a:prstGeom>
          <a:noFill/>
          <a:ln w="9525">
            <a:noFill/>
            <a:miter lim="800000"/>
            <a:headEnd/>
            <a:tailEnd/>
          </a:ln>
        </p:spPr>
        <p:txBody>
          <a:bodyPr lIns="57122" tIns="28562" rIns="57122" bIns="28562">
            <a:spAutoFit/>
          </a:bodyPr>
          <a:lstStyle>
            <a:defPPr>
              <a:defRPr lang="en-US"/>
            </a:defPPr>
            <a:lvl1pPr defTabSz="1306513">
              <a:defRPr sz="1400">
                <a:solidFill>
                  <a:schemeClr val="bg1"/>
                </a:solidFill>
                <a:latin typeface="Segoe" pitchFamily="34" charset="0"/>
              </a:defRPr>
            </a:lvl1pPr>
          </a:lstStyle>
          <a:p>
            <a:pPr defTabSz="816268">
              <a:defRPr/>
            </a:pPr>
            <a:r>
              <a:rPr lang="en-US" sz="1125" kern="0">
                <a:solidFill>
                  <a:sysClr val="window" lastClr="FFFFFF"/>
                </a:solidFill>
              </a:rPr>
              <a:t>automated</a:t>
            </a:r>
            <a:endParaRPr lang="en-US" sz="1125" kern="0" dirty="0">
              <a:solidFill>
                <a:sysClr val="window" lastClr="FFFFFF"/>
              </a:solidFill>
            </a:endParaRPr>
          </a:p>
        </p:txBody>
      </p:sp>
      <p:sp>
        <p:nvSpPr>
          <p:cNvPr id="17" name="Text Box 35"/>
          <p:cNvSpPr txBox="1">
            <a:spLocks noChangeArrowheads="1"/>
          </p:cNvSpPr>
          <p:nvPr/>
        </p:nvSpPr>
        <p:spPr bwMode="auto">
          <a:xfrm>
            <a:off x="2013846" y="2460980"/>
            <a:ext cx="1157467" cy="230806"/>
          </a:xfrm>
          <a:prstGeom prst="rect">
            <a:avLst/>
          </a:prstGeom>
          <a:noFill/>
          <a:ln w="9525">
            <a:noFill/>
            <a:miter lim="800000"/>
            <a:headEnd/>
            <a:tailEnd/>
          </a:ln>
        </p:spPr>
        <p:txBody>
          <a:bodyPr wrap="square" lIns="57122" tIns="28562" rIns="57122" bIns="28562">
            <a:spAutoFit/>
          </a:bodyPr>
          <a:lstStyle/>
          <a:p>
            <a:pPr defTabSz="816268">
              <a:defRPr/>
            </a:pPr>
            <a:r>
              <a:rPr lang="en-US" sz="1125" kern="0">
                <a:solidFill>
                  <a:sysClr val="window" lastClr="FFFFFF"/>
                </a:solidFill>
                <a:latin typeface="Segoe" pitchFamily="34" charset="0"/>
              </a:rPr>
              <a:t>usage based</a:t>
            </a:r>
            <a:endParaRPr lang="en-US" sz="1125" kern="0" dirty="0">
              <a:solidFill>
                <a:sysClr val="window" lastClr="FFFFFF"/>
              </a:solidFill>
              <a:latin typeface="Segoe" pitchFamily="34" charset="0"/>
            </a:endParaRPr>
          </a:p>
        </p:txBody>
      </p:sp>
      <p:pic>
        <p:nvPicPr>
          <p:cNvPr id="18" name="Picture 32" descr="speed"/>
          <p:cNvPicPr>
            <a:picLocks noChangeAspect="1" noChangeArrowheads="1"/>
          </p:cNvPicPr>
          <p:nvPr/>
        </p:nvPicPr>
        <p:blipFill>
          <a:blip r:embed="rId5"/>
          <a:srcRect/>
          <a:stretch>
            <a:fillRect/>
          </a:stretch>
        </p:blipFill>
        <p:spPr bwMode="auto">
          <a:xfrm>
            <a:off x="2453273" y="1680086"/>
            <a:ext cx="656375" cy="357498"/>
          </a:xfrm>
          <a:prstGeom prst="rect">
            <a:avLst/>
          </a:prstGeom>
          <a:noFill/>
          <a:ln w="9525">
            <a:noFill/>
            <a:miter lim="800000"/>
            <a:headEnd/>
            <a:tailEnd/>
          </a:ln>
        </p:spPr>
      </p:pic>
      <p:sp>
        <p:nvSpPr>
          <p:cNvPr id="19" name="Left-Right Arrow 18"/>
          <p:cNvSpPr/>
          <p:nvPr/>
        </p:nvSpPr>
        <p:spPr>
          <a:xfrm>
            <a:off x="5186142" y="1742345"/>
            <a:ext cx="661507" cy="218375"/>
          </a:xfrm>
          <a:prstGeom prst="leftRightArrow">
            <a:avLst/>
          </a:prstGeom>
          <a:solidFill>
            <a:sysClr val="window" lastClr="FFFFFF"/>
          </a:solidFill>
          <a:ln w="25400" cap="flat" cmpd="sng" algn="ctr">
            <a:noFill/>
            <a:prstDash val="solid"/>
          </a:ln>
          <a:effectLst/>
        </p:spPr>
        <p:txBody>
          <a:bodyPr lIns="57126" tIns="28563" rIns="57126" bIns="28563" rtlCol="0" anchor="ctr"/>
          <a:lstStyle/>
          <a:p>
            <a:pPr algn="ctr" defTabSz="571289">
              <a:defRPr/>
            </a:pPr>
            <a:endParaRPr lang="en-US" sz="1125" kern="0">
              <a:solidFill>
                <a:sysClr val="window" lastClr="FFFFFF"/>
              </a:solidFill>
              <a:latin typeface="Segoe UI"/>
            </a:endParaRPr>
          </a:p>
        </p:txBody>
      </p:sp>
      <p:sp>
        <p:nvSpPr>
          <p:cNvPr id="20" name="Text Box 33"/>
          <p:cNvSpPr txBox="1">
            <a:spLocks noChangeArrowheads="1"/>
          </p:cNvSpPr>
          <p:nvPr/>
        </p:nvSpPr>
        <p:spPr bwMode="auto">
          <a:xfrm>
            <a:off x="665790" y="2457333"/>
            <a:ext cx="809299" cy="230806"/>
          </a:xfrm>
          <a:prstGeom prst="rect">
            <a:avLst/>
          </a:prstGeom>
          <a:noFill/>
          <a:ln w="9525">
            <a:noFill/>
            <a:miter lim="800000"/>
            <a:headEnd/>
            <a:tailEnd/>
          </a:ln>
        </p:spPr>
        <p:txBody>
          <a:bodyPr lIns="57122" tIns="28562" rIns="57122" bIns="28562">
            <a:spAutoFit/>
          </a:bodyPr>
          <a:lstStyle>
            <a:defPPr>
              <a:defRPr lang="en-US"/>
            </a:defPPr>
            <a:lvl1pPr defTabSz="1306513">
              <a:defRPr sz="1400">
                <a:solidFill>
                  <a:schemeClr val="bg1"/>
                </a:solidFill>
                <a:latin typeface="Segoe" pitchFamily="34" charset="0"/>
              </a:defRPr>
            </a:lvl1pPr>
          </a:lstStyle>
          <a:p>
            <a:pPr defTabSz="816268">
              <a:defRPr/>
            </a:pPr>
            <a:r>
              <a:rPr lang="en-US" sz="1125" kern="0" dirty="0">
                <a:solidFill>
                  <a:sysClr val="window" lastClr="FFFFFF"/>
                </a:solidFill>
              </a:rPr>
              <a:t>economics</a:t>
            </a:r>
          </a:p>
        </p:txBody>
      </p:sp>
      <p:sp>
        <p:nvSpPr>
          <p:cNvPr id="21" name="Text Box 34"/>
          <p:cNvSpPr txBox="1">
            <a:spLocks noChangeArrowheads="1"/>
          </p:cNvSpPr>
          <p:nvPr/>
        </p:nvSpPr>
        <p:spPr bwMode="auto">
          <a:xfrm>
            <a:off x="4753819" y="2447322"/>
            <a:ext cx="854342" cy="230806"/>
          </a:xfrm>
          <a:prstGeom prst="rect">
            <a:avLst/>
          </a:prstGeom>
          <a:noFill/>
          <a:ln w="9525">
            <a:noFill/>
            <a:miter lim="800000"/>
            <a:headEnd/>
            <a:tailEnd/>
          </a:ln>
        </p:spPr>
        <p:txBody>
          <a:bodyPr lIns="57122" tIns="28562" rIns="57122" bIns="28562">
            <a:spAutoFit/>
          </a:bodyPr>
          <a:lstStyle>
            <a:defPPr>
              <a:defRPr lang="en-US"/>
            </a:defPPr>
            <a:lvl1pPr defTabSz="1306513">
              <a:defRPr sz="1400">
                <a:solidFill>
                  <a:schemeClr val="bg1"/>
                </a:solidFill>
                <a:latin typeface="Segoe" pitchFamily="34" charset="0"/>
              </a:defRPr>
            </a:lvl1pPr>
          </a:lstStyle>
          <a:p>
            <a:pPr defTabSz="816268">
              <a:defRPr/>
            </a:pPr>
            <a:r>
              <a:rPr lang="en-US" sz="1125" kern="0">
                <a:solidFill>
                  <a:sysClr val="window" lastClr="FFFFFF"/>
                </a:solidFill>
              </a:rPr>
              <a:t>elastic</a:t>
            </a:r>
            <a:endParaRPr lang="en-US" sz="1125" kern="0" dirty="0">
              <a:solidFill>
                <a:sysClr val="window" lastClr="FFFFFF"/>
              </a:solidFill>
            </a:endParaRPr>
          </a:p>
        </p:txBody>
      </p:sp>
      <p:sp>
        <p:nvSpPr>
          <p:cNvPr id="22" name="Text Box 35"/>
          <p:cNvSpPr txBox="1">
            <a:spLocks noChangeArrowheads="1"/>
          </p:cNvSpPr>
          <p:nvPr/>
        </p:nvSpPr>
        <p:spPr bwMode="auto">
          <a:xfrm>
            <a:off x="7474549" y="2266018"/>
            <a:ext cx="809299" cy="403930"/>
          </a:xfrm>
          <a:prstGeom prst="rect">
            <a:avLst/>
          </a:prstGeom>
          <a:noFill/>
          <a:ln w="9525">
            <a:noFill/>
            <a:miter lim="800000"/>
            <a:headEnd/>
            <a:tailEnd/>
          </a:ln>
        </p:spPr>
        <p:txBody>
          <a:bodyPr lIns="57122" tIns="28562" rIns="57122" bIns="28562">
            <a:spAutoFit/>
          </a:bodyPr>
          <a:lstStyle/>
          <a:p>
            <a:pPr defTabSz="816268">
              <a:defRPr/>
            </a:pPr>
            <a:r>
              <a:rPr lang="en-US" sz="1125" kern="0">
                <a:solidFill>
                  <a:sysClr val="window" lastClr="FFFFFF"/>
                </a:solidFill>
                <a:latin typeface="Segoe" pitchFamily="34" charset="0"/>
              </a:rPr>
              <a:t>always up.</a:t>
            </a:r>
          </a:p>
          <a:p>
            <a:pPr defTabSz="816268">
              <a:defRPr/>
            </a:pPr>
            <a:r>
              <a:rPr lang="en-US" sz="1125" kern="0">
                <a:solidFill>
                  <a:sysClr val="window" lastClr="FFFFFF"/>
                </a:solidFill>
                <a:latin typeface="Segoe" pitchFamily="34" charset="0"/>
              </a:rPr>
              <a:t>always on.</a:t>
            </a:r>
            <a:endParaRPr lang="en-US" sz="1125" kern="0" dirty="0">
              <a:solidFill>
                <a:sysClr val="window" lastClr="FFFFFF"/>
              </a:solidFill>
              <a:latin typeface="Segoe" pitchFamily="34" charset="0"/>
            </a:endParaRPr>
          </a:p>
        </p:txBody>
      </p:sp>
      <p:sp>
        <p:nvSpPr>
          <p:cNvPr id="23" name="Circular Arrow 22"/>
          <p:cNvSpPr/>
          <p:nvPr/>
        </p:nvSpPr>
        <p:spPr bwMode="auto">
          <a:xfrm rot="3211654">
            <a:off x="4017316" y="1671629"/>
            <a:ext cx="433321" cy="433872"/>
          </a:xfrm>
          <a:prstGeom prst="circularArrow">
            <a:avLst/>
          </a:prstGeom>
          <a:solidFill>
            <a:sysClr val="window" lastClr="FFFFF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24" name="Circular Arrow 23"/>
          <p:cNvSpPr/>
          <p:nvPr/>
        </p:nvSpPr>
        <p:spPr bwMode="auto">
          <a:xfrm rot="13932142">
            <a:off x="3992056" y="1712344"/>
            <a:ext cx="433321" cy="382180"/>
          </a:xfrm>
          <a:prstGeom prst="circularArrow">
            <a:avLst/>
          </a:prstGeom>
          <a:solidFill>
            <a:sysClr val="window" lastClr="FFFFF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pic>
        <p:nvPicPr>
          <p:cNvPr id="25" name="Picture 24"/>
          <p:cNvPicPr>
            <a:picLocks noChangeAspect="1"/>
          </p:cNvPicPr>
          <p:nvPr/>
        </p:nvPicPr>
        <p:blipFill>
          <a:blip r:embed="rId6" cstate="screen">
            <a:lum bright="70000" contrast="-70000"/>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a:ext>
            </a:extLst>
          </a:blip>
          <a:stretch>
            <a:fillRect/>
          </a:stretch>
        </p:blipFill>
        <p:spPr>
          <a:xfrm>
            <a:off x="7946169" y="1674107"/>
            <a:ext cx="612506" cy="338448"/>
          </a:xfrm>
          <a:prstGeom prst="rect">
            <a:avLst/>
          </a:prstGeom>
          <a:noFill/>
          <a:ln>
            <a:noFill/>
          </a:ln>
        </p:spPr>
      </p:pic>
    </p:spTree>
    <p:extLst>
      <p:ext uri="{BB962C8B-B14F-4D97-AF65-F5344CB8AC3E}">
        <p14:creationId xmlns:p14="http://schemas.microsoft.com/office/powerpoint/2010/main" val="280506182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bwMode="black">
          <a:xfrm>
            <a:off x="457784" y="1428821"/>
            <a:ext cx="8171291" cy="3294325"/>
          </a:xfrm>
          <a:prstGeom prst="rect">
            <a:avLst/>
          </a:prstGeom>
          <a:solidFill>
            <a:schemeClr val="tx2"/>
          </a:solidFill>
          <a:ln w="9525">
            <a:gradFill>
              <a:gsLst>
                <a:gs pos="0">
                  <a:srgbClr val="FFFFFF">
                    <a:alpha val="28000"/>
                  </a:srgbClr>
                </a:gs>
                <a:gs pos="50000">
                  <a:srgbClr val="FFFFFF">
                    <a:alpha val="68000"/>
                  </a:srgbClr>
                </a:gs>
                <a:gs pos="100000">
                  <a:srgbClr val="FFFFFF">
                    <a:alpha val="31000"/>
                  </a:srgbClr>
                </a:gs>
              </a:gsLst>
              <a:lin ang="54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228560" rIns="68567" bIns="34284" numCol="1" rtlCol="0" anchor="t" anchorCtr="0" compatLnSpc="1">
            <a:prstTxWarp prst="textNoShape">
              <a:avLst/>
            </a:prstTxWarp>
          </a:bodyPr>
          <a:lstStyle/>
          <a:p>
            <a:pPr algn="ctr" defTabSz="685783" fontAlgn="base">
              <a:lnSpc>
                <a:spcPct val="80000"/>
              </a:lnSpc>
              <a:spcBef>
                <a:spcPct val="0"/>
              </a:spcBef>
              <a:spcAft>
                <a:spcPct val="0"/>
              </a:spcAft>
              <a:buClr>
                <a:srgbClr val="FFFF99"/>
              </a:buClr>
              <a:buSzPct val="120000"/>
              <a:defRPr/>
            </a:pPr>
            <a:endParaRPr lang="en-US" altLang="zh-CN" sz="4124" spc="-93" dirty="0">
              <a:ln w="18415" cmpd="sng">
                <a:noFill/>
                <a:prstDash val="solid"/>
              </a:ln>
              <a:solidFill>
                <a:schemeClr val="tx1"/>
              </a:solidFill>
              <a:effectLst>
                <a:glow rad="101600">
                  <a:srgbClr val="CCECFF"/>
                </a:glow>
                <a:innerShdw blurRad="114300">
                  <a:prstClr val="black"/>
                </a:innerShdw>
              </a:effectLst>
              <a:latin typeface="Segoe Light" pitchFamily="34" charset="0"/>
            </a:endParaRPr>
          </a:p>
        </p:txBody>
      </p:sp>
      <p:sp>
        <p:nvSpPr>
          <p:cNvPr id="47" name="Rectangle 46"/>
          <p:cNvSpPr/>
          <p:nvPr/>
        </p:nvSpPr>
        <p:spPr bwMode="auto">
          <a:xfrm>
            <a:off x="2376711" y="1725953"/>
            <a:ext cx="4894315" cy="2429588"/>
          </a:xfrm>
          <a:prstGeom prst="rect">
            <a:avLst/>
          </a:prstGeom>
          <a:gradFill rotWithShape="1">
            <a:gsLst>
              <a:gs pos="0">
                <a:schemeClr val="tx1">
                  <a:lumMod val="51000"/>
                  <a:alpha val="14000"/>
                </a:schemeClr>
              </a:gs>
              <a:gs pos="50000">
                <a:schemeClr val="tx1">
                  <a:lumMod val="85000"/>
                  <a:alpha val="15000"/>
                </a:schemeClr>
              </a:gs>
              <a:gs pos="70000">
                <a:schemeClr val="tx1">
                  <a:lumMod val="85000"/>
                  <a:alpha val="1000"/>
                </a:schemeClr>
              </a:gs>
              <a:gs pos="100000">
                <a:schemeClr val="tx1">
                  <a:lumMod val="96000"/>
                  <a:alpha val="0"/>
                </a:schemeClr>
              </a:gs>
            </a:gsLst>
            <a:lin ang="16200000" scaled="0"/>
          </a:gradFill>
          <a:ln>
            <a:noFill/>
            <a:headEnd type="none" w="med" len="med"/>
            <a:tailEnd type="none" w="med" len="med"/>
          </a:ln>
          <a:effectLst>
            <a:outerShdw blurRad="63500" dist="38100" dir="5400000" rotWithShape="0">
              <a:srgbClr val="000000">
                <a:alpha val="45000"/>
              </a:srgbClr>
            </a:outerShdw>
          </a:effectLst>
        </p:spPr>
        <p:txBody>
          <a:bodyPr vert="horz" wrap="square" lIns="68578" tIns="34289" rIns="68578" bIns="34289" numCol="1" rtlCol="0" anchor="ctr" anchorCtr="0" compatLnSpc="1">
            <a:prstTxWarp prst="textNoShape">
              <a:avLst/>
            </a:prstTxWarp>
          </a:bodyPr>
          <a:lstStyle/>
          <a:p>
            <a:pPr algn="ctr" defTabSz="685614" fontAlgn="base">
              <a:spcBef>
                <a:spcPct val="0"/>
              </a:spcBef>
              <a:spcAft>
                <a:spcPct val="0"/>
              </a:spcAft>
            </a:pPr>
            <a:endParaRPr lang="en-US" sz="1750" kern="0" dirty="0">
              <a:effectLst>
                <a:outerShdw blurRad="38100" dist="38100" dir="2700000" algn="tl">
                  <a:srgbClr val="000000">
                    <a:alpha val="43137"/>
                  </a:srgbClr>
                </a:outerShdw>
              </a:effectLst>
              <a:latin typeface="Segoe Light" pitchFamily="34" charset="0"/>
            </a:endParaRPr>
          </a:p>
        </p:txBody>
      </p:sp>
      <p:grpSp>
        <p:nvGrpSpPr>
          <p:cNvPr id="48" name="Group 47"/>
          <p:cNvGrpSpPr/>
          <p:nvPr/>
        </p:nvGrpSpPr>
        <p:grpSpPr>
          <a:xfrm>
            <a:off x="2376712" y="3163436"/>
            <a:ext cx="4894314" cy="888219"/>
            <a:chOff x="3153010" y="3553843"/>
            <a:chExt cx="6524978" cy="1184459"/>
          </a:xfrm>
        </p:grpSpPr>
        <p:cxnSp>
          <p:nvCxnSpPr>
            <p:cNvPr id="49" name="Straight Connector 48"/>
            <p:cNvCxnSpPr/>
            <p:nvPr/>
          </p:nvCxnSpPr>
          <p:spPr>
            <a:xfrm>
              <a:off x="3153010" y="4738302"/>
              <a:ext cx="6524978" cy="0"/>
            </a:xfrm>
            <a:prstGeom prst="line">
              <a:avLst/>
            </a:prstGeom>
            <a:ln w="381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0" name="Rectangular Callout 49"/>
            <p:cNvSpPr/>
            <p:nvPr/>
          </p:nvSpPr>
          <p:spPr>
            <a:xfrm>
              <a:off x="7476980" y="3553843"/>
              <a:ext cx="1785817" cy="508834"/>
            </a:xfrm>
            <a:prstGeom prst="wedgeRectCallout">
              <a:avLst>
                <a:gd name="adj1" fmla="val 41213"/>
                <a:gd name="adj2" fmla="val 169726"/>
              </a:avLst>
            </a:prstGeom>
            <a:no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63" dirty="0">
                  <a:solidFill>
                    <a:srgbClr val="FFFFFF"/>
                  </a:solidFill>
                  <a:latin typeface="Segoe Light" pitchFamily="34" charset="0"/>
                </a:rPr>
                <a:t>Public cloud steady state pricing</a:t>
              </a:r>
            </a:p>
          </p:txBody>
        </p:sp>
      </p:grpSp>
      <p:pic>
        <p:nvPicPr>
          <p:cNvPr id="5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9079" y="1604283"/>
            <a:ext cx="6000272" cy="30082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TextBox 51"/>
          <p:cNvSpPr txBox="1"/>
          <p:nvPr/>
        </p:nvSpPr>
        <p:spPr>
          <a:xfrm>
            <a:off x="1183631" y="4900649"/>
            <a:ext cx="1038073" cy="202771"/>
          </a:xfrm>
          <a:prstGeom prst="rect">
            <a:avLst/>
          </a:prstGeom>
          <a:noFill/>
        </p:spPr>
        <p:txBody>
          <a:bodyPr wrap="square" lIns="68582" tIns="34291" rIns="68582" bIns="34291" rtlCol="0">
            <a:noAutofit/>
          </a:bodyPr>
          <a:lstStyle/>
          <a:p>
            <a:pPr>
              <a:spcBef>
                <a:spcPct val="20000"/>
              </a:spcBef>
            </a:pPr>
            <a:r>
              <a:rPr lang="en-US" sz="750" dirty="0">
                <a:solidFill>
                  <a:srgbClr val="FFFFFF"/>
                </a:solidFill>
                <a:latin typeface="Segoe Light" pitchFamily="34" charset="0"/>
              </a:rPr>
              <a:t>Source: Microsoft</a:t>
            </a:r>
          </a:p>
        </p:txBody>
      </p:sp>
      <p:grpSp>
        <p:nvGrpSpPr>
          <p:cNvPr id="53" name="Group 52"/>
          <p:cNvGrpSpPr/>
          <p:nvPr/>
        </p:nvGrpSpPr>
        <p:grpSpPr>
          <a:xfrm>
            <a:off x="2803376" y="1806908"/>
            <a:ext cx="1922971" cy="2244746"/>
            <a:chOff x="3721828" y="1933364"/>
            <a:chExt cx="2563657" cy="2993418"/>
          </a:xfrm>
        </p:grpSpPr>
        <p:sp>
          <p:nvSpPr>
            <p:cNvPr id="54" name="Rectangular Callout 53"/>
            <p:cNvSpPr/>
            <p:nvPr/>
          </p:nvSpPr>
          <p:spPr>
            <a:xfrm>
              <a:off x="4429115" y="1933364"/>
              <a:ext cx="1856370" cy="636086"/>
            </a:xfrm>
            <a:prstGeom prst="wedgeRectCallout">
              <a:avLst>
                <a:gd name="adj1" fmla="val -72060"/>
                <a:gd name="adj2" fmla="val 120923"/>
              </a:avLst>
            </a:prstGeom>
            <a:no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63" dirty="0">
                  <a:solidFill>
                    <a:srgbClr val="FFFFFF"/>
                  </a:solidFill>
                  <a:latin typeface="Segoe Light" pitchFamily="34" charset="0"/>
                </a:rPr>
                <a:t> SMB: </a:t>
              </a:r>
              <a:r>
                <a:rPr lang="en-US" sz="1063" b="1" dirty="0">
                  <a:solidFill>
                    <a:srgbClr val="FFFFFF"/>
                  </a:solidFill>
                  <a:latin typeface="Segoe Light" pitchFamily="34" charset="0"/>
                </a:rPr>
                <a:t>&gt;25x </a:t>
              </a:r>
              <a:r>
                <a:rPr lang="en-US" sz="1063" dirty="0">
                  <a:solidFill>
                    <a:srgbClr val="FFFFFF"/>
                  </a:solidFill>
                  <a:latin typeface="Segoe Light" pitchFamily="34" charset="0"/>
                </a:rPr>
                <a:t>public cloud benefit</a:t>
              </a:r>
            </a:p>
          </p:txBody>
        </p:sp>
        <p:pic>
          <p:nvPicPr>
            <p:cNvPr id="55" name="Picture 2" descr="C:\Users\tobrien\Pictures\DVD_Art_Sept-2-2010\Artwork_Imagery\Shapes\Arrows\White Collection 25 percent opaque - soft shadow\double headed arrow 4.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flipV="1">
              <a:off x="2839560" y="3745783"/>
              <a:ext cx="2063267" cy="2987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oup 55"/>
          <p:cNvGrpSpPr/>
          <p:nvPr/>
        </p:nvGrpSpPr>
        <p:grpSpPr>
          <a:xfrm>
            <a:off x="3867653" y="2410087"/>
            <a:ext cx="1864451" cy="1610185"/>
            <a:chOff x="5140695" y="2737716"/>
            <a:chExt cx="2485640" cy="2147218"/>
          </a:xfrm>
        </p:grpSpPr>
        <p:sp>
          <p:nvSpPr>
            <p:cNvPr id="57" name="Rectangular Callout 56"/>
            <p:cNvSpPr/>
            <p:nvPr/>
          </p:nvSpPr>
          <p:spPr>
            <a:xfrm>
              <a:off x="5578195" y="2737716"/>
              <a:ext cx="2048140" cy="636086"/>
            </a:xfrm>
            <a:prstGeom prst="wedgeRectCallout">
              <a:avLst>
                <a:gd name="adj1" fmla="val -61913"/>
                <a:gd name="adj2" fmla="val 174400"/>
              </a:avLst>
            </a:prstGeom>
            <a:noFill/>
            <a:ln w="127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63" dirty="0">
                  <a:solidFill>
                    <a:srgbClr val="FFFFFF"/>
                  </a:solidFill>
                  <a:latin typeface="Segoe Light" pitchFamily="34" charset="0"/>
                </a:rPr>
                <a:t>Enterprise:  </a:t>
              </a:r>
              <a:r>
                <a:rPr lang="en-US" sz="1063" b="1" dirty="0">
                  <a:solidFill>
                    <a:srgbClr val="FFFFFF"/>
                  </a:solidFill>
                  <a:latin typeface="Segoe Light" pitchFamily="34" charset="0"/>
                </a:rPr>
                <a:t>~10x </a:t>
              </a:r>
              <a:r>
                <a:rPr lang="en-US" sz="1063" dirty="0">
                  <a:solidFill>
                    <a:srgbClr val="FFFFFF"/>
                  </a:solidFill>
                  <a:latin typeface="Segoe Light" pitchFamily="34" charset="0"/>
                </a:rPr>
                <a:t>public cloud benefit</a:t>
              </a:r>
            </a:p>
          </p:txBody>
        </p:sp>
        <p:pic>
          <p:nvPicPr>
            <p:cNvPr id="58" name="Picture 3" descr="C:\Users\tobrien\Pictures\DVD_Art_Sept-2-2010\Artwork_Imagery\Shapes\Arrows\White Collection 25 percent opaque - soft shadow\double headed arrow 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5400000">
              <a:off x="4947193" y="4371393"/>
              <a:ext cx="707043" cy="320040"/>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itle 4"/>
          <p:cNvSpPr>
            <a:spLocks noGrp="1"/>
          </p:cNvSpPr>
          <p:nvPr>
            <p:ph type="title"/>
          </p:nvPr>
        </p:nvSpPr>
        <p:spPr/>
        <p:txBody>
          <a:bodyPr/>
          <a:lstStyle/>
          <a:p>
            <a:r>
              <a:rPr lang="en-US" dirty="0"/>
              <a:t>Economics of the Cloud</a:t>
            </a:r>
          </a:p>
        </p:txBody>
      </p:sp>
      <p:sp>
        <p:nvSpPr>
          <p:cNvPr id="2" name="Text Placeholder 1"/>
          <p:cNvSpPr>
            <a:spLocks noGrp="1"/>
          </p:cNvSpPr>
          <p:nvPr>
            <p:ph type="body" sz="quarter" idx="15"/>
          </p:nvPr>
        </p:nvSpPr>
        <p:spPr/>
        <p:txBody>
          <a:bodyPr/>
          <a:lstStyle/>
          <a:p>
            <a:r>
              <a:rPr lang="en-US" dirty="0" smtClean="0"/>
              <a:t>Private </a:t>
            </a:r>
            <a:r>
              <a:rPr lang="en-US" dirty="0" err="1" smtClean="0"/>
              <a:t>vs</a:t>
            </a:r>
            <a:r>
              <a:rPr lang="en-US" dirty="0" smtClean="0"/>
              <a:t> Public Clouds</a:t>
            </a:r>
            <a:endParaRPr lang="en-US" dirty="0"/>
          </a:p>
        </p:txBody>
      </p:sp>
      <p:pic>
        <p:nvPicPr>
          <p:cNvPr id="3" name="Picture 2"/>
          <p:cNvPicPr>
            <a:picLocks noChangeAspect="1"/>
          </p:cNvPicPr>
          <p:nvPr/>
        </p:nvPicPr>
        <p:blipFill>
          <a:blip r:embed="rId6"/>
          <a:stretch>
            <a:fillRect/>
          </a:stretch>
        </p:blipFill>
        <p:spPr>
          <a:xfrm>
            <a:off x="6521703" y="113582"/>
            <a:ext cx="2474498" cy="369658"/>
          </a:xfrm>
          <a:prstGeom prst="rect">
            <a:avLst/>
          </a:prstGeom>
        </p:spPr>
      </p:pic>
      <p:sp>
        <p:nvSpPr>
          <p:cNvPr id="4" name="Rectangle 3"/>
          <p:cNvSpPr/>
          <p:nvPr/>
        </p:nvSpPr>
        <p:spPr bwMode="auto">
          <a:xfrm>
            <a:off x="6454472" y="42503"/>
            <a:ext cx="537849" cy="490353"/>
          </a:xfrm>
          <a:prstGeom prst="rect">
            <a:avLst/>
          </a:prstGeom>
          <a:no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4"/>
          </a:p>
        </p:txBody>
      </p:sp>
    </p:spTree>
    <p:extLst>
      <p:ext uri="{BB962C8B-B14F-4D97-AF65-F5344CB8AC3E}">
        <p14:creationId xmlns:p14="http://schemas.microsoft.com/office/powerpoint/2010/main" val="1894811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500"/>
                                        <p:tgtEl>
                                          <p:spTgt spid="5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fade">
                                      <p:cBhvr>
                                        <p:cTn id="17"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uting Patterns</a:t>
            </a:r>
            <a:endParaRPr lang="en-US" dirty="0"/>
          </a:p>
        </p:txBody>
      </p:sp>
      <p:grpSp>
        <p:nvGrpSpPr>
          <p:cNvPr id="83" name="Group 82"/>
          <p:cNvGrpSpPr/>
          <p:nvPr/>
        </p:nvGrpSpPr>
        <p:grpSpPr>
          <a:xfrm>
            <a:off x="241525" y="2271820"/>
            <a:ext cx="2649697" cy="1442792"/>
            <a:chOff x="8257345" y="1102314"/>
            <a:chExt cx="2277705" cy="1240238"/>
          </a:xfrm>
        </p:grpSpPr>
        <p:cxnSp>
          <p:nvCxnSpPr>
            <p:cNvPr id="76" name="Straight Arrow Connector 75"/>
            <p:cNvCxnSpPr/>
            <p:nvPr/>
          </p:nvCxnSpPr>
          <p:spPr bwMode="auto">
            <a:xfrm flipV="1">
              <a:off x="8272892" y="1102314"/>
              <a:ext cx="0" cy="107069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77" name="Straight Arrow Connector 76"/>
            <p:cNvCxnSpPr/>
            <p:nvPr/>
          </p:nvCxnSpPr>
          <p:spPr bwMode="auto">
            <a:xfrm>
              <a:off x="8257345" y="2160215"/>
              <a:ext cx="2248835" cy="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82" name="TextBox 81"/>
            <p:cNvSpPr txBox="1"/>
            <p:nvPr/>
          </p:nvSpPr>
          <p:spPr>
            <a:xfrm>
              <a:off x="8440223" y="2152954"/>
              <a:ext cx="2094827" cy="189598"/>
            </a:xfrm>
            <a:prstGeom prst="rect">
              <a:avLst/>
            </a:prstGeom>
            <a:noFill/>
            <a:ln>
              <a:noFill/>
            </a:ln>
          </p:spPr>
          <p:txBody>
            <a:bodyPr wrap="square" lIns="0" tIns="28570" rIns="0" bIns="28570" rtlCol="0">
              <a:spAutoFit/>
            </a:bodyPr>
            <a:lstStyle/>
            <a:p>
              <a:pPr defTabSz="914085">
                <a:lnSpc>
                  <a:spcPct val="90000"/>
                </a:lnSpc>
                <a:spcBef>
                  <a:spcPct val="20000"/>
                </a:spcBef>
              </a:pPr>
              <a:r>
                <a:rPr lang="en-US" sz="1176" dirty="0">
                  <a:solidFill>
                    <a:schemeClr val="bg1"/>
                  </a:solidFill>
                  <a:ea typeface="Segoe UI" pitchFamily="34" charset="0"/>
                  <a:cs typeface="Segoe UI" pitchFamily="34" charset="0"/>
                </a:rPr>
                <a:t>S     M      T      W      T       F       S</a:t>
              </a:r>
              <a:endParaRPr lang="en-US" sz="1176" dirty="0">
                <a:solidFill>
                  <a:schemeClr val="bg1"/>
                </a:solidFill>
                <a:ea typeface="Segoe UI" pitchFamily="34" charset="0"/>
                <a:cs typeface="Segoe UI" pitchFamily="34" charset="0"/>
              </a:endParaRPr>
            </a:p>
          </p:txBody>
        </p:sp>
      </p:grpSp>
      <p:sp>
        <p:nvSpPr>
          <p:cNvPr id="104" name="Freeform 103"/>
          <p:cNvSpPr/>
          <p:nvPr/>
        </p:nvSpPr>
        <p:spPr bwMode="auto">
          <a:xfrm>
            <a:off x="280133" y="2609325"/>
            <a:ext cx="2415573" cy="655267"/>
          </a:xfrm>
          <a:custGeom>
            <a:avLst/>
            <a:gdLst>
              <a:gd name="connsiteX0" fmla="*/ 0 w 2076450"/>
              <a:gd name="connsiteY0" fmla="*/ 447675 h 563274"/>
              <a:gd name="connsiteX1" fmla="*/ 142875 w 2076450"/>
              <a:gd name="connsiteY1" fmla="*/ 276225 h 563274"/>
              <a:gd name="connsiteX2" fmla="*/ 276225 w 2076450"/>
              <a:gd name="connsiteY2" fmla="*/ 504825 h 563274"/>
              <a:gd name="connsiteX3" fmla="*/ 419100 w 2076450"/>
              <a:gd name="connsiteY3" fmla="*/ 95250 h 563274"/>
              <a:gd name="connsiteX4" fmla="*/ 609600 w 2076450"/>
              <a:gd name="connsiteY4" fmla="*/ 514350 h 563274"/>
              <a:gd name="connsiteX5" fmla="*/ 781050 w 2076450"/>
              <a:gd name="connsiteY5" fmla="*/ 28575 h 563274"/>
              <a:gd name="connsiteX6" fmla="*/ 914400 w 2076450"/>
              <a:gd name="connsiteY6" fmla="*/ 428625 h 563274"/>
              <a:gd name="connsiteX7" fmla="*/ 1076325 w 2076450"/>
              <a:gd name="connsiteY7" fmla="*/ 0 h 563274"/>
              <a:gd name="connsiteX8" fmla="*/ 1228725 w 2076450"/>
              <a:gd name="connsiteY8" fmla="*/ 428625 h 563274"/>
              <a:gd name="connsiteX9" fmla="*/ 1390650 w 2076450"/>
              <a:gd name="connsiteY9" fmla="*/ 133350 h 563274"/>
              <a:gd name="connsiteX10" fmla="*/ 1552575 w 2076450"/>
              <a:gd name="connsiteY10" fmla="*/ 438150 h 563274"/>
              <a:gd name="connsiteX11" fmla="*/ 1676400 w 2076450"/>
              <a:gd name="connsiteY11" fmla="*/ 209550 h 563274"/>
              <a:gd name="connsiteX12" fmla="*/ 1819275 w 2076450"/>
              <a:gd name="connsiteY12" fmla="*/ 561975 h 563274"/>
              <a:gd name="connsiteX13" fmla="*/ 1981200 w 2076450"/>
              <a:gd name="connsiteY13" fmla="*/ 333375 h 563274"/>
              <a:gd name="connsiteX14" fmla="*/ 2076450 w 2076450"/>
              <a:gd name="connsiteY14" fmla="*/ 457200 h 56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76450" h="563274">
                <a:moveTo>
                  <a:pt x="0" y="447675"/>
                </a:moveTo>
                <a:cubicBezTo>
                  <a:pt x="48419" y="357187"/>
                  <a:pt x="96838" y="266700"/>
                  <a:pt x="142875" y="276225"/>
                </a:cubicBezTo>
                <a:cubicBezTo>
                  <a:pt x="188913" y="285750"/>
                  <a:pt x="230188" y="534987"/>
                  <a:pt x="276225" y="504825"/>
                </a:cubicBezTo>
                <a:cubicBezTo>
                  <a:pt x="322262" y="474663"/>
                  <a:pt x="363538" y="93663"/>
                  <a:pt x="419100" y="95250"/>
                </a:cubicBezTo>
                <a:cubicBezTo>
                  <a:pt x="474662" y="96837"/>
                  <a:pt x="549275" y="525462"/>
                  <a:pt x="609600" y="514350"/>
                </a:cubicBezTo>
                <a:cubicBezTo>
                  <a:pt x="669925" y="503238"/>
                  <a:pt x="730250" y="42862"/>
                  <a:pt x="781050" y="28575"/>
                </a:cubicBezTo>
                <a:cubicBezTo>
                  <a:pt x="831850" y="14288"/>
                  <a:pt x="865188" y="433387"/>
                  <a:pt x="914400" y="428625"/>
                </a:cubicBezTo>
                <a:cubicBezTo>
                  <a:pt x="963613" y="423862"/>
                  <a:pt x="1023938" y="0"/>
                  <a:pt x="1076325" y="0"/>
                </a:cubicBezTo>
                <a:cubicBezTo>
                  <a:pt x="1128712" y="0"/>
                  <a:pt x="1176338" y="406400"/>
                  <a:pt x="1228725" y="428625"/>
                </a:cubicBezTo>
                <a:cubicBezTo>
                  <a:pt x="1281112" y="450850"/>
                  <a:pt x="1336675" y="131762"/>
                  <a:pt x="1390650" y="133350"/>
                </a:cubicBezTo>
                <a:cubicBezTo>
                  <a:pt x="1444625" y="134937"/>
                  <a:pt x="1504950" y="425450"/>
                  <a:pt x="1552575" y="438150"/>
                </a:cubicBezTo>
                <a:cubicBezTo>
                  <a:pt x="1600200" y="450850"/>
                  <a:pt x="1631950" y="188912"/>
                  <a:pt x="1676400" y="209550"/>
                </a:cubicBezTo>
                <a:cubicBezTo>
                  <a:pt x="1720850" y="230187"/>
                  <a:pt x="1768475" y="541338"/>
                  <a:pt x="1819275" y="561975"/>
                </a:cubicBezTo>
                <a:cubicBezTo>
                  <a:pt x="1870075" y="582612"/>
                  <a:pt x="1938338" y="350837"/>
                  <a:pt x="1981200" y="333375"/>
                </a:cubicBezTo>
                <a:cubicBezTo>
                  <a:pt x="2024062" y="315913"/>
                  <a:pt x="2050256" y="386556"/>
                  <a:pt x="2076450" y="457200"/>
                </a:cubicBezTo>
              </a:path>
            </a:pathLst>
          </a:custGeom>
          <a:ln w="25400">
            <a:solidFill>
              <a:schemeClr val="tx1"/>
            </a:solidFill>
            <a:headEnd type="none" w="med" len="med"/>
            <a:tailEnd type="triangle"/>
          </a:ln>
          <a:effectLst/>
        </p:spPr>
        <p:txBody>
          <a:bodyPr lIns="57140" tIns="28570" rIns="57140" bIns="28570" rtlCol="0" anchor="ctr"/>
          <a:lstStyle/>
          <a:p>
            <a:pPr algn="ctr" defTabSz="914085"/>
            <a:endParaRPr lang="en-US" sz="1813">
              <a:solidFill>
                <a:schemeClr val="bg1"/>
              </a:solidFill>
            </a:endParaRPr>
          </a:p>
        </p:txBody>
      </p:sp>
      <p:grpSp>
        <p:nvGrpSpPr>
          <p:cNvPr id="208" name="Group 207"/>
          <p:cNvGrpSpPr/>
          <p:nvPr/>
        </p:nvGrpSpPr>
        <p:grpSpPr>
          <a:xfrm>
            <a:off x="284748" y="2271820"/>
            <a:ext cx="2569474" cy="159856"/>
            <a:chOff x="387276" y="2823541"/>
            <a:chExt cx="3494663" cy="217415"/>
          </a:xfrm>
        </p:grpSpPr>
        <p:cxnSp>
          <p:nvCxnSpPr>
            <p:cNvPr id="106" name="Straight Arrow Connector 105"/>
            <p:cNvCxnSpPr/>
            <p:nvPr/>
          </p:nvCxnSpPr>
          <p:spPr>
            <a:xfrm>
              <a:off x="387276" y="2989857"/>
              <a:ext cx="3440521" cy="2"/>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109" name="Text Placeholder 6"/>
            <p:cNvSpPr txBox="1">
              <a:spLocks/>
            </p:cNvSpPr>
            <p:nvPr/>
          </p:nvSpPr>
          <p:spPr bwMode="auto">
            <a:xfrm>
              <a:off x="2156501" y="2823541"/>
              <a:ext cx="1725438" cy="21741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047" eaLnBrk="0" fontAlgn="base" hangingPunct="0">
                <a:spcBef>
                  <a:spcPct val="20000"/>
                </a:spcBef>
                <a:spcAft>
                  <a:spcPct val="0"/>
                </a:spcAft>
                <a:buClr>
                  <a:srgbClr val="000000"/>
                </a:buClr>
              </a:pPr>
              <a:r>
                <a:rPr lang="en-US" sz="735" i="1" dirty="0">
                  <a:solidFill>
                    <a:schemeClr val="bg1"/>
                  </a:solidFill>
                </a:rPr>
                <a:t>Capacity Needed (Max + 20%)</a:t>
              </a:r>
              <a:endParaRPr lang="en-US" sz="735" i="1" dirty="0">
                <a:solidFill>
                  <a:schemeClr val="bg1"/>
                </a:solidFill>
              </a:endParaRPr>
            </a:p>
          </p:txBody>
        </p:sp>
      </p:grpSp>
      <p:sp>
        <p:nvSpPr>
          <p:cNvPr id="168" name="Freeform 167"/>
          <p:cNvSpPr/>
          <p:nvPr/>
        </p:nvSpPr>
        <p:spPr bwMode="auto">
          <a:xfrm>
            <a:off x="293595" y="2411716"/>
            <a:ext cx="2432486" cy="803047"/>
          </a:xfrm>
          <a:custGeom>
            <a:avLst/>
            <a:gdLst>
              <a:gd name="connsiteX0" fmla="*/ 38100 w 3308350"/>
              <a:gd name="connsiteY0" fmla="*/ 215900 h 1092200"/>
              <a:gd name="connsiteX1" fmla="*/ 31750 w 3308350"/>
              <a:gd name="connsiteY1" fmla="*/ 317500 h 1092200"/>
              <a:gd name="connsiteX2" fmla="*/ 19050 w 3308350"/>
              <a:gd name="connsiteY2" fmla="*/ 368300 h 1092200"/>
              <a:gd name="connsiteX3" fmla="*/ 12700 w 3308350"/>
              <a:gd name="connsiteY3" fmla="*/ 431800 h 1092200"/>
              <a:gd name="connsiteX4" fmla="*/ 6350 w 3308350"/>
              <a:gd name="connsiteY4" fmla="*/ 482600 h 1092200"/>
              <a:gd name="connsiteX5" fmla="*/ 0 w 3308350"/>
              <a:gd name="connsiteY5" fmla="*/ 812800 h 1092200"/>
              <a:gd name="connsiteX6" fmla="*/ 12700 w 3308350"/>
              <a:gd name="connsiteY6" fmla="*/ 850900 h 1092200"/>
              <a:gd name="connsiteX7" fmla="*/ 25400 w 3308350"/>
              <a:gd name="connsiteY7" fmla="*/ 825500 h 1092200"/>
              <a:gd name="connsiteX8" fmla="*/ 38100 w 3308350"/>
              <a:gd name="connsiteY8" fmla="*/ 806450 h 1092200"/>
              <a:gd name="connsiteX9" fmla="*/ 57150 w 3308350"/>
              <a:gd name="connsiteY9" fmla="*/ 742950 h 1092200"/>
              <a:gd name="connsiteX10" fmla="*/ 76200 w 3308350"/>
              <a:gd name="connsiteY10" fmla="*/ 730250 h 1092200"/>
              <a:gd name="connsiteX11" fmla="*/ 88900 w 3308350"/>
              <a:gd name="connsiteY11" fmla="*/ 704850 h 1092200"/>
              <a:gd name="connsiteX12" fmla="*/ 127000 w 3308350"/>
              <a:gd name="connsiteY12" fmla="*/ 679450 h 1092200"/>
              <a:gd name="connsiteX13" fmla="*/ 139700 w 3308350"/>
              <a:gd name="connsiteY13" fmla="*/ 654050 h 1092200"/>
              <a:gd name="connsiteX14" fmla="*/ 165100 w 3308350"/>
              <a:gd name="connsiteY14" fmla="*/ 647700 h 1092200"/>
              <a:gd name="connsiteX15" fmla="*/ 184150 w 3308350"/>
              <a:gd name="connsiteY15" fmla="*/ 635000 h 1092200"/>
              <a:gd name="connsiteX16" fmla="*/ 228600 w 3308350"/>
              <a:gd name="connsiteY16" fmla="*/ 641350 h 1092200"/>
              <a:gd name="connsiteX17" fmla="*/ 266700 w 3308350"/>
              <a:gd name="connsiteY17" fmla="*/ 666750 h 1092200"/>
              <a:gd name="connsiteX18" fmla="*/ 311150 w 3308350"/>
              <a:gd name="connsiteY18" fmla="*/ 717550 h 1092200"/>
              <a:gd name="connsiteX19" fmla="*/ 330200 w 3308350"/>
              <a:gd name="connsiteY19" fmla="*/ 774700 h 1092200"/>
              <a:gd name="connsiteX20" fmla="*/ 336550 w 3308350"/>
              <a:gd name="connsiteY20" fmla="*/ 793750 h 1092200"/>
              <a:gd name="connsiteX21" fmla="*/ 342900 w 3308350"/>
              <a:gd name="connsiteY21" fmla="*/ 812800 h 1092200"/>
              <a:gd name="connsiteX22" fmla="*/ 361950 w 3308350"/>
              <a:gd name="connsiteY22" fmla="*/ 895350 h 1092200"/>
              <a:gd name="connsiteX23" fmla="*/ 368300 w 3308350"/>
              <a:gd name="connsiteY23" fmla="*/ 914400 h 1092200"/>
              <a:gd name="connsiteX24" fmla="*/ 374650 w 3308350"/>
              <a:gd name="connsiteY24" fmla="*/ 946150 h 1092200"/>
              <a:gd name="connsiteX25" fmla="*/ 387350 w 3308350"/>
              <a:gd name="connsiteY25" fmla="*/ 965200 h 1092200"/>
              <a:gd name="connsiteX26" fmla="*/ 393700 w 3308350"/>
              <a:gd name="connsiteY26" fmla="*/ 984250 h 1092200"/>
              <a:gd name="connsiteX27" fmla="*/ 412750 w 3308350"/>
              <a:gd name="connsiteY27" fmla="*/ 971550 h 1092200"/>
              <a:gd name="connsiteX28" fmla="*/ 419100 w 3308350"/>
              <a:gd name="connsiteY28" fmla="*/ 927100 h 1092200"/>
              <a:gd name="connsiteX29" fmla="*/ 425450 w 3308350"/>
              <a:gd name="connsiteY29" fmla="*/ 895350 h 1092200"/>
              <a:gd name="connsiteX30" fmla="*/ 438150 w 3308350"/>
              <a:gd name="connsiteY30" fmla="*/ 857250 h 1092200"/>
              <a:gd name="connsiteX31" fmla="*/ 450850 w 3308350"/>
              <a:gd name="connsiteY31" fmla="*/ 774700 h 1092200"/>
              <a:gd name="connsiteX32" fmla="*/ 469900 w 3308350"/>
              <a:gd name="connsiteY32" fmla="*/ 685800 h 1092200"/>
              <a:gd name="connsiteX33" fmla="*/ 482600 w 3308350"/>
              <a:gd name="connsiteY33" fmla="*/ 647700 h 1092200"/>
              <a:gd name="connsiteX34" fmla="*/ 488950 w 3308350"/>
              <a:gd name="connsiteY34" fmla="*/ 628650 h 1092200"/>
              <a:gd name="connsiteX35" fmla="*/ 501650 w 3308350"/>
              <a:gd name="connsiteY35" fmla="*/ 558800 h 1092200"/>
              <a:gd name="connsiteX36" fmla="*/ 514350 w 3308350"/>
              <a:gd name="connsiteY36" fmla="*/ 520700 h 1092200"/>
              <a:gd name="connsiteX37" fmla="*/ 520700 w 3308350"/>
              <a:gd name="connsiteY37" fmla="*/ 501650 h 1092200"/>
              <a:gd name="connsiteX38" fmla="*/ 527050 w 3308350"/>
              <a:gd name="connsiteY38" fmla="*/ 482600 h 1092200"/>
              <a:gd name="connsiteX39" fmla="*/ 546100 w 3308350"/>
              <a:gd name="connsiteY39" fmla="*/ 457200 h 1092200"/>
              <a:gd name="connsiteX40" fmla="*/ 590550 w 3308350"/>
              <a:gd name="connsiteY40" fmla="*/ 400050 h 1092200"/>
              <a:gd name="connsiteX41" fmla="*/ 628650 w 3308350"/>
              <a:gd name="connsiteY41" fmla="*/ 374650 h 1092200"/>
              <a:gd name="connsiteX42" fmla="*/ 685800 w 3308350"/>
              <a:gd name="connsiteY42" fmla="*/ 381000 h 1092200"/>
              <a:gd name="connsiteX43" fmla="*/ 704850 w 3308350"/>
              <a:gd name="connsiteY43" fmla="*/ 400050 h 1092200"/>
              <a:gd name="connsiteX44" fmla="*/ 717550 w 3308350"/>
              <a:gd name="connsiteY44" fmla="*/ 419100 h 1092200"/>
              <a:gd name="connsiteX45" fmla="*/ 730250 w 3308350"/>
              <a:gd name="connsiteY45" fmla="*/ 463550 h 1092200"/>
              <a:gd name="connsiteX46" fmla="*/ 742950 w 3308350"/>
              <a:gd name="connsiteY46" fmla="*/ 501650 h 1092200"/>
              <a:gd name="connsiteX47" fmla="*/ 762000 w 3308350"/>
              <a:gd name="connsiteY47" fmla="*/ 539750 h 1092200"/>
              <a:gd name="connsiteX48" fmla="*/ 768350 w 3308350"/>
              <a:gd name="connsiteY48" fmla="*/ 558800 h 1092200"/>
              <a:gd name="connsiteX49" fmla="*/ 793750 w 3308350"/>
              <a:gd name="connsiteY49" fmla="*/ 596900 h 1092200"/>
              <a:gd name="connsiteX50" fmla="*/ 806450 w 3308350"/>
              <a:gd name="connsiteY50" fmla="*/ 615950 h 1092200"/>
              <a:gd name="connsiteX51" fmla="*/ 819150 w 3308350"/>
              <a:gd name="connsiteY51" fmla="*/ 666750 h 1092200"/>
              <a:gd name="connsiteX52" fmla="*/ 831850 w 3308350"/>
              <a:gd name="connsiteY52" fmla="*/ 704850 h 1092200"/>
              <a:gd name="connsiteX53" fmla="*/ 838200 w 3308350"/>
              <a:gd name="connsiteY53" fmla="*/ 723900 h 1092200"/>
              <a:gd name="connsiteX54" fmla="*/ 857250 w 3308350"/>
              <a:gd name="connsiteY54" fmla="*/ 762000 h 1092200"/>
              <a:gd name="connsiteX55" fmla="*/ 863600 w 3308350"/>
              <a:gd name="connsiteY55" fmla="*/ 806450 h 1092200"/>
              <a:gd name="connsiteX56" fmla="*/ 882650 w 3308350"/>
              <a:gd name="connsiteY56" fmla="*/ 825500 h 1092200"/>
              <a:gd name="connsiteX57" fmla="*/ 895350 w 3308350"/>
              <a:gd name="connsiteY57" fmla="*/ 882650 h 1092200"/>
              <a:gd name="connsiteX58" fmla="*/ 901700 w 3308350"/>
              <a:gd name="connsiteY58" fmla="*/ 901700 h 1092200"/>
              <a:gd name="connsiteX59" fmla="*/ 914400 w 3308350"/>
              <a:gd name="connsiteY59" fmla="*/ 920750 h 1092200"/>
              <a:gd name="connsiteX60" fmla="*/ 920750 w 3308350"/>
              <a:gd name="connsiteY60" fmla="*/ 946150 h 1092200"/>
              <a:gd name="connsiteX61" fmla="*/ 933450 w 3308350"/>
              <a:gd name="connsiteY61" fmla="*/ 984250 h 1092200"/>
              <a:gd name="connsiteX62" fmla="*/ 958850 w 3308350"/>
              <a:gd name="connsiteY62" fmla="*/ 946150 h 1092200"/>
              <a:gd name="connsiteX63" fmla="*/ 971550 w 3308350"/>
              <a:gd name="connsiteY63" fmla="*/ 908050 h 1092200"/>
              <a:gd name="connsiteX64" fmla="*/ 984250 w 3308350"/>
              <a:gd name="connsiteY64" fmla="*/ 850900 h 1092200"/>
              <a:gd name="connsiteX65" fmla="*/ 990600 w 3308350"/>
              <a:gd name="connsiteY65" fmla="*/ 831850 h 1092200"/>
              <a:gd name="connsiteX66" fmla="*/ 1009650 w 3308350"/>
              <a:gd name="connsiteY66" fmla="*/ 781050 h 1092200"/>
              <a:gd name="connsiteX67" fmla="*/ 1022350 w 3308350"/>
              <a:gd name="connsiteY67" fmla="*/ 742950 h 1092200"/>
              <a:gd name="connsiteX68" fmla="*/ 1028700 w 3308350"/>
              <a:gd name="connsiteY68" fmla="*/ 698500 h 1092200"/>
              <a:gd name="connsiteX69" fmla="*/ 1035050 w 3308350"/>
              <a:gd name="connsiteY69" fmla="*/ 647700 h 1092200"/>
              <a:gd name="connsiteX70" fmla="*/ 1041400 w 3308350"/>
              <a:gd name="connsiteY70" fmla="*/ 628650 h 1092200"/>
              <a:gd name="connsiteX71" fmla="*/ 1054100 w 3308350"/>
              <a:gd name="connsiteY71" fmla="*/ 571500 h 1092200"/>
              <a:gd name="connsiteX72" fmla="*/ 1060450 w 3308350"/>
              <a:gd name="connsiteY72" fmla="*/ 520700 h 1092200"/>
              <a:gd name="connsiteX73" fmla="*/ 1073150 w 3308350"/>
              <a:gd name="connsiteY73" fmla="*/ 482600 h 1092200"/>
              <a:gd name="connsiteX74" fmla="*/ 1079500 w 3308350"/>
              <a:gd name="connsiteY74" fmla="*/ 463550 h 1092200"/>
              <a:gd name="connsiteX75" fmla="*/ 1092200 w 3308350"/>
              <a:gd name="connsiteY75" fmla="*/ 438150 h 1092200"/>
              <a:gd name="connsiteX76" fmla="*/ 1104900 w 3308350"/>
              <a:gd name="connsiteY76" fmla="*/ 393700 h 1092200"/>
              <a:gd name="connsiteX77" fmla="*/ 1117600 w 3308350"/>
              <a:gd name="connsiteY77" fmla="*/ 374650 h 1092200"/>
              <a:gd name="connsiteX78" fmla="*/ 1130300 w 3308350"/>
              <a:gd name="connsiteY78" fmla="*/ 336550 h 1092200"/>
              <a:gd name="connsiteX79" fmla="*/ 1136650 w 3308350"/>
              <a:gd name="connsiteY79" fmla="*/ 317500 h 1092200"/>
              <a:gd name="connsiteX80" fmla="*/ 1155700 w 3308350"/>
              <a:gd name="connsiteY80" fmla="*/ 311150 h 1092200"/>
              <a:gd name="connsiteX81" fmla="*/ 1193800 w 3308350"/>
              <a:gd name="connsiteY81" fmla="*/ 285750 h 1092200"/>
              <a:gd name="connsiteX82" fmla="*/ 1238250 w 3308350"/>
              <a:gd name="connsiteY82" fmla="*/ 266700 h 1092200"/>
              <a:gd name="connsiteX83" fmla="*/ 1257300 w 3308350"/>
              <a:gd name="connsiteY83" fmla="*/ 273050 h 1092200"/>
              <a:gd name="connsiteX84" fmla="*/ 1282700 w 3308350"/>
              <a:gd name="connsiteY84" fmla="*/ 330200 h 1092200"/>
              <a:gd name="connsiteX85" fmla="*/ 1301750 w 3308350"/>
              <a:gd name="connsiteY85" fmla="*/ 368300 h 1092200"/>
              <a:gd name="connsiteX86" fmla="*/ 1314450 w 3308350"/>
              <a:gd name="connsiteY86" fmla="*/ 387350 h 1092200"/>
              <a:gd name="connsiteX87" fmla="*/ 1320800 w 3308350"/>
              <a:gd name="connsiteY87" fmla="*/ 406400 h 1092200"/>
              <a:gd name="connsiteX88" fmla="*/ 1346200 w 3308350"/>
              <a:gd name="connsiteY88" fmla="*/ 444500 h 1092200"/>
              <a:gd name="connsiteX89" fmla="*/ 1358900 w 3308350"/>
              <a:gd name="connsiteY89" fmla="*/ 463550 h 1092200"/>
              <a:gd name="connsiteX90" fmla="*/ 1377950 w 3308350"/>
              <a:gd name="connsiteY90" fmla="*/ 520700 h 1092200"/>
              <a:gd name="connsiteX91" fmla="*/ 1384300 w 3308350"/>
              <a:gd name="connsiteY91" fmla="*/ 539750 h 1092200"/>
              <a:gd name="connsiteX92" fmla="*/ 1390650 w 3308350"/>
              <a:gd name="connsiteY92" fmla="*/ 565150 h 1092200"/>
              <a:gd name="connsiteX93" fmla="*/ 1397000 w 3308350"/>
              <a:gd name="connsiteY93" fmla="*/ 622300 h 1092200"/>
              <a:gd name="connsiteX94" fmla="*/ 1397000 w 3308350"/>
              <a:gd name="connsiteY94" fmla="*/ 749300 h 1092200"/>
              <a:gd name="connsiteX95" fmla="*/ 1403350 w 3308350"/>
              <a:gd name="connsiteY95" fmla="*/ 768350 h 1092200"/>
              <a:gd name="connsiteX96" fmla="*/ 1409700 w 3308350"/>
              <a:gd name="connsiteY96" fmla="*/ 800100 h 1092200"/>
              <a:gd name="connsiteX97" fmla="*/ 1422400 w 3308350"/>
              <a:gd name="connsiteY97" fmla="*/ 850900 h 1092200"/>
              <a:gd name="connsiteX98" fmla="*/ 1441450 w 3308350"/>
              <a:gd name="connsiteY98" fmla="*/ 812800 h 1092200"/>
              <a:gd name="connsiteX99" fmla="*/ 1447800 w 3308350"/>
              <a:gd name="connsiteY99" fmla="*/ 793750 h 1092200"/>
              <a:gd name="connsiteX100" fmla="*/ 1460500 w 3308350"/>
              <a:gd name="connsiteY100" fmla="*/ 768350 h 1092200"/>
              <a:gd name="connsiteX101" fmla="*/ 1473200 w 3308350"/>
              <a:gd name="connsiteY101" fmla="*/ 730250 h 1092200"/>
              <a:gd name="connsiteX102" fmla="*/ 1479550 w 3308350"/>
              <a:gd name="connsiteY102" fmla="*/ 711200 h 1092200"/>
              <a:gd name="connsiteX103" fmla="*/ 1492250 w 3308350"/>
              <a:gd name="connsiteY103" fmla="*/ 628650 h 1092200"/>
              <a:gd name="connsiteX104" fmla="*/ 1504950 w 3308350"/>
              <a:gd name="connsiteY104" fmla="*/ 609600 h 1092200"/>
              <a:gd name="connsiteX105" fmla="*/ 1511300 w 3308350"/>
              <a:gd name="connsiteY105" fmla="*/ 584200 h 1092200"/>
              <a:gd name="connsiteX106" fmla="*/ 1517650 w 3308350"/>
              <a:gd name="connsiteY106" fmla="*/ 565150 h 1092200"/>
              <a:gd name="connsiteX107" fmla="*/ 1524000 w 3308350"/>
              <a:gd name="connsiteY107" fmla="*/ 520700 h 1092200"/>
              <a:gd name="connsiteX108" fmla="*/ 1530350 w 3308350"/>
              <a:gd name="connsiteY108" fmla="*/ 501650 h 1092200"/>
              <a:gd name="connsiteX109" fmla="*/ 1536700 w 3308350"/>
              <a:gd name="connsiteY109" fmla="*/ 463550 h 1092200"/>
              <a:gd name="connsiteX110" fmla="*/ 1549400 w 3308350"/>
              <a:gd name="connsiteY110" fmla="*/ 425450 h 1092200"/>
              <a:gd name="connsiteX111" fmla="*/ 1555750 w 3308350"/>
              <a:gd name="connsiteY111" fmla="*/ 406400 h 1092200"/>
              <a:gd name="connsiteX112" fmla="*/ 1568450 w 3308350"/>
              <a:gd name="connsiteY112" fmla="*/ 349250 h 1092200"/>
              <a:gd name="connsiteX113" fmla="*/ 1574800 w 3308350"/>
              <a:gd name="connsiteY113" fmla="*/ 330200 h 1092200"/>
              <a:gd name="connsiteX114" fmla="*/ 1600200 w 3308350"/>
              <a:gd name="connsiteY114" fmla="*/ 285750 h 1092200"/>
              <a:gd name="connsiteX115" fmla="*/ 1619250 w 3308350"/>
              <a:gd name="connsiteY115" fmla="*/ 247650 h 1092200"/>
              <a:gd name="connsiteX116" fmla="*/ 1663700 w 3308350"/>
              <a:gd name="connsiteY116" fmla="*/ 222250 h 1092200"/>
              <a:gd name="connsiteX117" fmla="*/ 1714500 w 3308350"/>
              <a:gd name="connsiteY117" fmla="*/ 234950 h 1092200"/>
              <a:gd name="connsiteX118" fmla="*/ 1752600 w 3308350"/>
              <a:gd name="connsiteY118" fmla="*/ 247650 h 1092200"/>
              <a:gd name="connsiteX119" fmla="*/ 1771650 w 3308350"/>
              <a:gd name="connsiteY119" fmla="*/ 266700 h 1092200"/>
              <a:gd name="connsiteX120" fmla="*/ 1778000 w 3308350"/>
              <a:gd name="connsiteY120" fmla="*/ 285750 h 1092200"/>
              <a:gd name="connsiteX121" fmla="*/ 1790700 w 3308350"/>
              <a:gd name="connsiteY121" fmla="*/ 304800 h 1092200"/>
              <a:gd name="connsiteX122" fmla="*/ 1803400 w 3308350"/>
              <a:gd name="connsiteY122" fmla="*/ 393700 h 1092200"/>
              <a:gd name="connsiteX123" fmla="*/ 1822450 w 3308350"/>
              <a:gd name="connsiteY123" fmla="*/ 450850 h 1092200"/>
              <a:gd name="connsiteX124" fmla="*/ 1828800 w 3308350"/>
              <a:gd name="connsiteY124" fmla="*/ 469900 h 1092200"/>
              <a:gd name="connsiteX125" fmla="*/ 1835150 w 3308350"/>
              <a:gd name="connsiteY125" fmla="*/ 495300 h 1092200"/>
              <a:gd name="connsiteX126" fmla="*/ 1841500 w 3308350"/>
              <a:gd name="connsiteY126" fmla="*/ 514350 h 1092200"/>
              <a:gd name="connsiteX127" fmla="*/ 1847850 w 3308350"/>
              <a:gd name="connsiteY127" fmla="*/ 546100 h 1092200"/>
              <a:gd name="connsiteX128" fmla="*/ 1860550 w 3308350"/>
              <a:gd name="connsiteY128" fmla="*/ 571500 h 1092200"/>
              <a:gd name="connsiteX129" fmla="*/ 1873250 w 3308350"/>
              <a:gd name="connsiteY129" fmla="*/ 635000 h 1092200"/>
              <a:gd name="connsiteX130" fmla="*/ 1898650 w 3308350"/>
              <a:gd name="connsiteY130" fmla="*/ 679450 h 1092200"/>
              <a:gd name="connsiteX131" fmla="*/ 1905000 w 3308350"/>
              <a:gd name="connsiteY131" fmla="*/ 711200 h 1092200"/>
              <a:gd name="connsiteX132" fmla="*/ 1917700 w 3308350"/>
              <a:gd name="connsiteY132" fmla="*/ 844550 h 1092200"/>
              <a:gd name="connsiteX133" fmla="*/ 1943100 w 3308350"/>
              <a:gd name="connsiteY133" fmla="*/ 882650 h 1092200"/>
              <a:gd name="connsiteX134" fmla="*/ 1949450 w 3308350"/>
              <a:gd name="connsiteY134" fmla="*/ 857250 h 1092200"/>
              <a:gd name="connsiteX135" fmla="*/ 1968500 w 3308350"/>
              <a:gd name="connsiteY135" fmla="*/ 819150 h 1092200"/>
              <a:gd name="connsiteX136" fmla="*/ 1987550 w 3308350"/>
              <a:gd name="connsiteY136" fmla="*/ 749300 h 1092200"/>
              <a:gd name="connsiteX137" fmla="*/ 1993900 w 3308350"/>
              <a:gd name="connsiteY137" fmla="*/ 730250 h 1092200"/>
              <a:gd name="connsiteX138" fmla="*/ 2006600 w 3308350"/>
              <a:gd name="connsiteY138" fmla="*/ 711200 h 1092200"/>
              <a:gd name="connsiteX139" fmla="*/ 2019300 w 3308350"/>
              <a:gd name="connsiteY139" fmla="*/ 673100 h 1092200"/>
              <a:gd name="connsiteX140" fmla="*/ 2032000 w 3308350"/>
              <a:gd name="connsiteY140" fmla="*/ 647700 h 1092200"/>
              <a:gd name="connsiteX141" fmla="*/ 2044700 w 3308350"/>
              <a:gd name="connsiteY141" fmla="*/ 577850 h 1092200"/>
              <a:gd name="connsiteX142" fmla="*/ 2070100 w 3308350"/>
              <a:gd name="connsiteY142" fmla="*/ 539750 h 1092200"/>
              <a:gd name="connsiteX143" fmla="*/ 2082800 w 3308350"/>
              <a:gd name="connsiteY143" fmla="*/ 520700 h 1092200"/>
              <a:gd name="connsiteX144" fmla="*/ 2101850 w 3308350"/>
              <a:gd name="connsiteY144" fmla="*/ 501650 h 1092200"/>
              <a:gd name="connsiteX145" fmla="*/ 2120900 w 3308350"/>
              <a:gd name="connsiteY145" fmla="*/ 463550 h 1092200"/>
              <a:gd name="connsiteX146" fmla="*/ 2146300 w 3308350"/>
              <a:gd name="connsiteY146" fmla="*/ 457200 h 1092200"/>
              <a:gd name="connsiteX147" fmla="*/ 2203450 w 3308350"/>
              <a:gd name="connsiteY147" fmla="*/ 463550 h 1092200"/>
              <a:gd name="connsiteX148" fmla="*/ 2235200 w 3308350"/>
              <a:gd name="connsiteY148" fmla="*/ 501650 h 1092200"/>
              <a:gd name="connsiteX149" fmla="*/ 2266950 w 3308350"/>
              <a:gd name="connsiteY149" fmla="*/ 539750 h 1092200"/>
              <a:gd name="connsiteX150" fmla="*/ 2279650 w 3308350"/>
              <a:gd name="connsiteY150" fmla="*/ 577850 h 1092200"/>
              <a:gd name="connsiteX151" fmla="*/ 2292350 w 3308350"/>
              <a:gd name="connsiteY151" fmla="*/ 596900 h 1092200"/>
              <a:gd name="connsiteX152" fmla="*/ 2305050 w 3308350"/>
              <a:gd name="connsiteY152" fmla="*/ 635000 h 1092200"/>
              <a:gd name="connsiteX153" fmla="*/ 2336800 w 3308350"/>
              <a:gd name="connsiteY153" fmla="*/ 673100 h 1092200"/>
              <a:gd name="connsiteX154" fmla="*/ 2355850 w 3308350"/>
              <a:gd name="connsiteY154" fmla="*/ 711200 h 1092200"/>
              <a:gd name="connsiteX155" fmla="*/ 2362200 w 3308350"/>
              <a:gd name="connsiteY155" fmla="*/ 730250 h 1092200"/>
              <a:gd name="connsiteX156" fmla="*/ 2387600 w 3308350"/>
              <a:gd name="connsiteY156" fmla="*/ 768350 h 1092200"/>
              <a:gd name="connsiteX157" fmla="*/ 2406650 w 3308350"/>
              <a:gd name="connsiteY157" fmla="*/ 812800 h 1092200"/>
              <a:gd name="connsiteX158" fmla="*/ 2419350 w 3308350"/>
              <a:gd name="connsiteY158" fmla="*/ 831850 h 1092200"/>
              <a:gd name="connsiteX159" fmla="*/ 2425700 w 3308350"/>
              <a:gd name="connsiteY159" fmla="*/ 850900 h 1092200"/>
              <a:gd name="connsiteX160" fmla="*/ 2444750 w 3308350"/>
              <a:gd name="connsiteY160" fmla="*/ 857250 h 1092200"/>
              <a:gd name="connsiteX161" fmla="*/ 2463800 w 3308350"/>
              <a:gd name="connsiteY161" fmla="*/ 850900 h 1092200"/>
              <a:gd name="connsiteX162" fmla="*/ 2476500 w 3308350"/>
              <a:gd name="connsiteY162" fmla="*/ 812800 h 1092200"/>
              <a:gd name="connsiteX163" fmla="*/ 2489200 w 3308350"/>
              <a:gd name="connsiteY163" fmla="*/ 774700 h 1092200"/>
              <a:gd name="connsiteX164" fmla="*/ 2508250 w 3308350"/>
              <a:gd name="connsiteY164" fmla="*/ 736600 h 1092200"/>
              <a:gd name="connsiteX165" fmla="*/ 2520950 w 3308350"/>
              <a:gd name="connsiteY165" fmla="*/ 698500 h 1092200"/>
              <a:gd name="connsiteX166" fmla="*/ 2533650 w 3308350"/>
              <a:gd name="connsiteY166" fmla="*/ 647700 h 1092200"/>
              <a:gd name="connsiteX167" fmla="*/ 2540000 w 3308350"/>
              <a:gd name="connsiteY167" fmla="*/ 628650 h 1092200"/>
              <a:gd name="connsiteX168" fmla="*/ 2552700 w 3308350"/>
              <a:gd name="connsiteY168" fmla="*/ 609600 h 1092200"/>
              <a:gd name="connsiteX169" fmla="*/ 2571750 w 3308350"/>
              <a:gd name="connsiteY169" fmla="*/ 596900 h 1092200"/>
              <a:gd name="connsiteX170" fmla="*/ 2578100 w 3308350"/>
              <a:gd name="connsiteY170" fmla="*/ 577850 h 1092200"/>
              <a:gd name="connsiteX171" fmla="*/ 2597150 w 3308350"/>
              <a:gd name="connsiteY171" fmla="*/ 571500 h 1092200"/>
              <a:gd name="connsiteX172" fmla="*/ 2654300 w 3308350"/>
              <a:gd name="connsiteY172" fmla="*/ 552450 h 1092200"/>
              <a:gd name="connsiteX173" fmla="*/ 2686050 w 3308350"/>
              <a:gd name="connsiteY173" fmla="*/ 558800 h 1092200"/>
              <a:gd name="connsiteX174" fmla="*/ 2692400 w 3308350"/>
              <a:gd name="connsiteY174" fmla="*/ 577850 h 1092200"/>
              <a:gd name="connsiteX175" fmla="*/ 2711450 w 3308350"/>
              <a:gd name="connsiteY175" fmla="*/ 590550 h 1092200"/>
              <a:gd name="connsiteX176" fmla="*/ 2724150 w 3308350"/>
              <a:gd name="connsiteY176" fmla="*/ 666750 h 1092200"/>
              <a:gd name="connsiteX177" fmla="*/ 2736850 w 3308350"/>
              <a:gd name="connsiteY177" fmla="*/ 704850 h 1092200"/>
              <a:gd name="connsiteX178" fmla="*/ 2755900 w 3308350"/>
              <a:gd name="connsiteY178" fmla="*/ 774700 h 1092200"/>
              <a:gd name="connsiteX179" fmla="*/ 2781300 w 3308350"/>
              <a:gd name="connsiteY179" fmla="*/ 825500 h 1092200"/>
              <a:gd name="connsiteX180" fmla="*/ 2794000 w 3308350"/>
              <a:gd name="connsiteY180" fmla="*/ 850900 h 1092200"/>
              <a:gd name="connsiteX181" fmla="*/ 2806700 w 3308350"/>
              <a:gd name="connsiteY181" fmla="*/ 901700 h 1092200"/>
              <a:gd name="connsiteX182" fmla="*/ 2825750 w 3308350"/>
              <a:gd name="connsiteY182" fmla="*/ 920750 h 1092200"/>
              <a:gd name="connsiteX183" fmla="*/ 2838450 w 3308350"/>
              <a:gd name="connsiteY183" fmla="*/ 996950 h 1092200"/>
              <a:gd name="connsiteX184" fmla="*/ 2844800 w 3308350"/>
              <a:gd name="connsiteY184" fmla="*/ 1028700 h 1092200"/>
              <a:gd name="connsiteX185" fmla="*/ 2863850 w 3308350"/>
              <a:gd name="connsiteY185" fmla="*/ 1035050 h 1092200"/>
              <a:gd name="connsiteX186" fmla="*/ 2851150 w 3308350"/>
              <a:gd name="connsiteY186" fmla="*/ 1066800 h 1092200"/>
              <a:gd name="connsiteX187" fmla="*/ 2882900 w 3308350"/>
              <a:gd name="connsiteY187" fmla="*/ 1092200 h 1092200"/>
              <a:gd name="connsiteX188" fmla="*/ 2908300 w 3308350"/>
              <a:gd name="connsiteY188" fmla="*/ 1079500 h 1092200"/>
              <a:gd name="connsiteX189" fmla="*/ 2914650 w 3308350"/>
              <a:gd name="connsiteY189" fmla="*/ 1054100 h 1092200"/>
              <a:gd name="connsiteX190" fmla="*/ 2927350 w 3308350"/>
              <a:gd name="connsiteY190" fmla="*/ 1016000 h 1092200"/>
              <a:gd name="connsiteX191" fmla="*/ 2952750 w 3308350"/>
              <a:gd name="connsiteY191" fmla="*/ 971550 h 1092200"/>
              <a:gd name="connsiteX192" fmla="*/ 2952750 w 3308350"/>
              <a:gd name="connsiteY192" fmla="*/ 914400 h 1092200"/>
              <a:gd name="connsiteX193" fmla="*/ 2965450 w 3308350"/>
              <a:gd name="connsiteY193" fmla="*/ 895350 h 1092200"/>
              <a:gd name="connsiteX194" fmla="*/ 2971800 w 3308350"/>
              <a:gd name="connsiteY194" fmla="*/ 876300 h 1092200"/>
              <a:gd name="connsiteX195" fmla="*/ 3003550 w 3308350"/>
              <a:gd name="connsiteY195" fmla="*/ 838200 h 1092200"/>
              <a:gd name="connsiteX196" fmla="*/ 3028950 w 3308350"/>
              <a:gd name="connsiteY196" fmla="*/ 793750 h 1092200"/>
              <a:gd name="connsiteX197" fmla="*/ 3048000 w 3308350"/>
              <a:gd name="connsiteY197" fmla="*/ 781050 h 1092200"/>
              <a:gd name="connsiteX198" fmla="*/ 3060700 w 3308350"/>
              <a:gd name="connsiteY198" fmla="*/ 762000 h 1092200"/>
              <a:gd name="connsiteX199" fmla="*/ 3124200 w 3308350"/>
              <a:gd name="connsiteY199" fmla="*/ 736600 h 1092200"/>
              <a:gd name="connsiteX200" fmla="*/ 3162300 w 3308350"/>
              <a:gd name="connsiteY200" fmla="*/ 723900 h 1092200"/>
              <a:gd name="connsiteX201" fmla="*/ 3213100 w 3308350"/>
              <a:gd name="connsiteY201" fmla="*/ 742950 h 1092200"/>
              <a:gd name="connsiteX202" fmla="*/ 3219450 w 3308350"/>
              <a:gd name="connsiteY202" fmla="*/ 762000 h 1092200"/>
              <a:gd name="connsiteX203" fmla="*/ 3244850 w 3308350"/>
              <a:gd name="connsiteY203" fmla="*/ 755650 h 1092200"/>
              <a:gd name="connsiteX204" fmla="*/ 3257550 w 3308350"/>
              <a:gd name="connsiteY204" fmla="*/ 717550 h 1092200"/>
              <a:gd name="connsiteX205" fmla="*/ 3263900 w 3308350"/>
              <a:gd name="connsiteY205" fmla="*/ 679450 h 1092200"/>
              <a:gd name="connsiteX206" fmla="*/ 3276600 w 3308350"/>
              <a:gd name="connsiteY206" fmla="*/ 596900 h 1092200"/>
              <a:gd name="connsiteX207" fmla="*/ 3295650 w 3308350"/>
              <a:gd name="connsiteY207" fmla="*/ 260350 h 1092200"/>
              <a:gd name="connsiteX208" fmla="*/ 3302000 w 3308350"/>
              <a:gd name="connsiteY208" fmla="*/ 190500 h 1092200"/>
              <a:gd name="connsiteX209" fmla="*/ 3308350 w 3308350"/>
              <a:gd name="connsiteY209" fmla="*/ 158750 h 1092200"/>
              <a:gd name="connsiteX210" fmla="*/ 3302000 w 3308350"/>
              <a:gd name="connsiteY210" fmla="*/ 107950 h 1092200"/>
              <a:gd name="connsiteX211" fmla="*/ 3295650 w 3308350"/>
              <a:gd name="connsiteY211" fmla="*/ 25400 h 1092200"/>
              <a:gd name="connsiteX212" fmla="*/ 3257550 w 3308350"/>
              <a:gd name="connsiteY212" fmla="*/ 12700 h 1092200"/>
              <a:gd name="connsiteX213" fmla="*/ 3048000 w 3308350"/>
              <a:gd name="connsiteY213" fmla="*/ 0 h 1092200"/>
              <a:gd name="connsiteX214" fmla="*/ 2933700 w 3308350"/>
              <a:gd name="connsiteY214" fmla="*/ 6350 h 1092200"/>
              <a:gd name="connsiteX215" fmla="*/ 2908300 w 3308350"/>
              <a:gd name="connsiteY215" fmla="*/ 12700 h 1092200"/>
              <a:gd name="connsiteX216" fmla="*/ 2832100 w 3308350"/>
              <a:gd name="connsiteY216" fmla="*/ 19050 h 1092200"/>
              <a:gd name="connsiteX217" fmla="*/ 2813050 w 3308350"/>
              <a:gd name="connsiteY217" fmla="*/ 25400 h 1092200"/>
              <a:gd name="connsiteX218" fmla="*/ 2711450 w 3308350"/>
              <a:gd name="connsiteY218" fmla="*/ 38100 h 1092200"/>
              <a:gd name="connsiteX219" fmla="*/ 2559050 w 3308350"/>
              <a:gd name="connsiteY219" fmla="*/ 31750 h 1092200"/>
              <a:gd name="connsiteX220" fmla="*/ 2508250 w 3308350"/>
              <a:gd name="connsiteY220" fmla="*/ 25400 h 1092200"/>
              <a:gd name="connsiteX221" fmla="*/ 2406650 w 3308350"/>
              <a:gd name="connsiteY221" fmla="*/ 19050 h 1092200"/>
              <a:gd name="connsiteX222" fmla="*/ 2336800 w 3308350"/>
              <a:gd name="connsiteY222" fmla="*/ 12700 h 1092200"/>
              <a:gd name="connsiteX223" fmla="*/ 1955800 w 3308350"/>
              <a:gd name="connsiteY223" fmla="*/ 19050 h 1092200"/>
              <a:gd name="connsiteX224" fmla="*/ 1930400 w 3308350"/>
              <a:gd name="connsiteY224" fmla="*/ 25400 h 1092200"/>
              <a:gd name="connsiteX225" fmla="*/ 1873250 w 3308350"/>
              <a:gd name="connsiteY225" fmla="*/ 31750 h 1092200"/>
              <a:gd name="connsiteX226" fmla="*/ 1822450 w 3308350"/>
              <a:gd name="connsiteY226" fmla="*/ 44450 h 1092200"/>
              <a:gd name="connsiteX227" fmla="*/ 1682750 w 3308350"/>
              <a:gd name="connsiteY227" fmla="*/ 38100 h 1092200"/>
              <a:gd name="connsiteX228" fmla="*/ 1625600 w 3308350"/>
              <a:gd name="connsiteY228" fmla="*/ 25400 h 1092200"/>
              <a:gd name="connsiteX229" fmla="*/ 1549400 w 3308350"/>
              <a:gd name="connsiteY229" fmla="*/ 19050 h 1092200"/>
              <a:gd name="connsiteX230" fmla="*/ 1377950 w 3308350"/>
              <a:gd name="connsiteY230" fmla="*/ 25400 h 1092200"/>
              <a:gd name="connsiteX231" fmla="*/ 1276350 w 3308350"/>
              <a:gd name="connsiteY231" fmla="*/ 38100 h 1092200"/>
              <a:gd name="connsiteX232" fmla="*/ 1250950 w 3308350"/>
              <a:gd name="connsiteY232" fmla="*/ 44450 h 1092200"/>
              <a:gd name="connsiteX233" fmla="*/ 1079500 w 3308350"/>
              <a:gd name="connsiteY233" fmla="*/ 50800 h 1092200"/>
              <a:gd name="connsiteX234" fmla="*/ 958850 w 3308350"/>
              <a:gd name="connsiteY234" fmla="*/ 44450 h 1092200"/>
              <a:gd name="connsiteX235" fmla="*/ 857250 w 3308350"/>
              <a:gd name="connsiteY235" fmla="*/ 31750 h 1092200"/>
              <a:gd name="connsiteX236" fmla="*/ 793750 w 3308350"/>
              <a:gd name="connsiteY236" fmla="*/ 25400 h 1092200"/>
              <a:gd name="connsiteX237" fmla="*/ 628650 w 3308350"/>
              <a:gd name="connsiteY237" fmla="*/ 31750 h 1092200"/>
              <a:gd name="connsiteX238" fmla="*/ 133350 w 3308350"/>
              <a:gd name="connsiteY238" fmla="*/ 19050 h 1092200"/>
              <a:gd name="connsiteX239" fmla="*/ 50800 w 3308350"/>
              <a:gd name="connsiteY239" fmla="*/ 25400 h 1092200"/>
              <a:gd name="connsiteX240" fmla="*/ 31750 w 3308350"/>
              <a:gd name="connsiteY240" fmla="*/ 31750 h 1092200"/>
              <a:gd name="connsiteX241" fmla="*/ 25400 w 3308350"/>
              <a:gd name="connsiteY241" fmla="*/ 50800 h 1092200"/>
              <a:gd name="connsiteX242" fmla="*/ 12700 w 3308350"/>
              <a:gd name="connsiteY242" fmla="*/ 76200 h 1092200"/>
              <a:gd name="connsiteX243" fmla="*/ 31750 w 3308350"/>
              <a:gd name="connsiteY243" fmla="*/ 120650 h 1092200"/>
              <a:gd name="connsiteX244" fmla="*/ 38100 w 3308350"/>
              <a:gd name="connsiteY244" fmla="*/ 139700 h 1092200"/>
              <a:gd name="connsiteX245" fmla="*/ 38100 w 3308350"/>
              <a:gd name="connsiteY245" fmla="*/ 21590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3308350" h="1092200">
                <a:moveTo>
                  <a:pt x="38100" y="215900"/>
                </a:moveTo>
                <a:cubicBezTo>
                  <a:pt x="37042" y="245533"/>
                  <a:pt x="35959" y="283829"/>
                  <a:pt x="31750" y="317500"/>
                </a:cubicBezTo>
                <a:cubicBezTo>
                  <a:pt x="29585" y="334820"/>
                  <a:pt x="19050" y="368300"/>
                  <a:pt x="19050" y="368300"/>
                </a:cubicBezTo>
                <a:cubicBezTo>
                  <a:pt x="16933" y="389467"/>
                  <a:pt x="15049" y="410658"/>
                  <a:pt x="12700" y="431800"/>
                </a:cubicBezTo>
                <a:cubicBezTo>
                  <a:pt x="10815" y="448761"/>
                  <a:pt x="6919" y="465544"/>
                  <a:pt x="6350" y="482600"/>
                </a:cubicBezTo>
                <a:cubicBezTo>
                  <a:pt x="2682" y="592626"/>
                  <a:pt x="2117" y="702733"/>
                  <a:pt x="0" y="812800"/>
                </a:cubicBezTo>
                <a:cubicBezTo>
                  <a:pt x="4233" y="825500"/>
                  <a:pt x="726" y="844913"/>
                  <a:pt x="12700" y="850900"/>
                </a:cubicBezTo>
                <a:cubicBezTo>
                  <a:pt x="21167" y="855133"/>
                  <a:pt x="20704" y="833719"/>
                  <a:pt x="25400" y="825500"/>
                </a:cubicBezTo>
                <a:cubicBezTo>
                  <a:pt x="29186" y="818874"/>
                  <a:pt x="33867" y="812800"/>
                  <a:pt x="38100" y="806450"/>
                </a:cubicBezTo>
                <a:cubicBezTo>
                  <a:pt x="40642" y="796283"/>
                  <a:pt x="52512" y="746042"/>
                  <a:pt x="57150" y="742950"/>
                </a:cubicBezTo>
                <a:lnTo>
                  <a:pt x="76200" y="730250"/>
                </a:lnTo>
                <a:cubicBezTo>
                  <a:pt x="80433" y="721783"/>
                  <a:pt x="82207" y="711543"/>
                  <a:pt x="88900" y="704850"/>
                </a:cubicBezTo>
                <a:cubicBezTo>
                  <a:pt x="99693" y="694057"/>
                  <a:pt x="127000" y="679450"/>
                  <a:pt x="127000" y="679450"/>
                </a:cubicBezTo>
                <a:cubicBezTo>
                  <a:pt x="131233" y="670983"/>
                  <a:pt x="132428" y="660110"/>
                  <a:pt x="139700" y="654050"/>
                </a:cubicBezTo>
                <a:cubicBezTo>
                  <a:pt x="146404" y="648463"/>
                  <a:pt x="157078" y="651138"/>
                  <a:pt x="165100" y="647700"/>
                </a:cubicBezTo>
                <a:cubicBezTo>
                  <a:pt x="172115" y="644694"/>
                  <a:pt x="177800" y="639233"/>
                  <a:pt x="184150" y="635000"/>
                </a:cubicBezTo>
                <a:cubicBezTo>
                  <a:pt x="198967" y="637117"/>
                  <a:pt x="214631" y="635977"/>
                  <a:pt x="228600" y="641350"/>
                </a:cubicBezTo>
                <a:cubicBezTo>
                  <a:pt x="242846" y="646829"/>
                  <a:pt x="266700" y="666750"/>
                  <a:pt x="266700" y="666750"/>
                </a:cubicBezTo>
                <a:cubicBezTo>
                  <a:pt x="296333" y="711200"/>
                  <a:pt x="279400" y="696383"/>
                  <a:pt x="311150" y="717550"/>
                </a:cubicBezTo>
                <a:lnTo>
                  <a:pt x="330200" y="774700"/>
                </a:lnTo>
                <a:lnTo>
                  <a:pt x="336550" y="793750"/>
                </a:lnTo>
                <a:cubicBezTo>
                  <a:pt x="338667" y="800100"/>
                  <a:pt x="341448" y="806266"/>
                  <a:pt x="342900" y="812800"/>
                </a:cubicBezTo>
                <a:cubicBezTo>
                  <a:pt x="345102" y="822709"/>
                  <a:pt x="356408" y="875955"/>
                  <a:pt x="361950" y="895350"/>
                </a:cubicBezTo>
                <a:cubicBezTo>
                  <a:pt x="363789" y="901786"/>
                  <a:pt x="366677" y="907906"/>
                  <a:pt x="368300" y="914400"/>
                </a:cubicBezTo>
                <a:cubicBezTo>
                  <a:pt x="370918" y="924871"/>
                  <a:pt x="370860" y="936044"/>
                  <a:pt x="374650" y="946150"/>
                </a:cubicBezTo>
                <a:cubicBezTo>
                  <a:pt x="377330" y="953296"/>
                  <a:pt x="383937" y="958374"/>
                  <a:pt x="387350" y="965200"/>
                </a:cubicBezTo>
                <a:cubicBezTo>
                  <a:pt x="390343" y="971187"/>
                  <a:pt x="391583" y="977900"/>
                  <a:pt x="393700" y="984250"/>
                </a:cubicBezTo>
                <a:cubicBezTo>
                  <a:pt x="400050" y="980017"/>
                  <a:pt x="409650" y="978524"/>
                  <a:pt x="412750" y="971550"/>
                </a:cubicBezTo>
                <a:cubicBezTo>
                  <a:pt x="418829" y="957873"/>
                  <a:pt x="416639" y="941863"/>
                  <a:pt x="419100" y="927100"/>
                </a:cubicBezTo>
                <a:cubicBezTo>
                  <a:pt x="420874" y="916454"/>
                  <a:pt x="422610" y="905763"/>
                  <a:pt x="425450" y="895350"/>
                </a:cubicBezTo>
                <a:cubicBezTo>
                  <a:pt x="428972" y="882435"/>
                  <a:pt x="438150" y="857250"/>
                  <a:pt x="438150" y="857250"/>
                </a:cubicBezTo>
                <a:cubicBezTo>
                  <a:pt x="449180" y="757979"/>
                  <a:pt x="438159" y="833924"/>
                  <a:pt x="450850" y="774700"/>
                </a:cubicBezTo>
                <a:cubicBezTo>
                  <a:pt x="454537" y="757494"/>
                  <a:pt x="462651" y="709964"/>
                  <a:pt x="469900" y="685800"/>
                </a:cubicBezTo>
                <a:cubicBezTo>
                  <a:pt x="473747" y="672978"/>
                  <a:pt x="478367" y="660400"/>
                  <a:pt x="482600" y="647700"/>
                </a:cubicBezTo>
                <a:cubicBezTo>
                  <a:pt x="484717" y="641350"/>
                  <a:pt x="487850" y="635252"/>
                  <a:pt x="488950" y="628650"/>
                </a:cubicBezTo>
                <a:cubicBezTo>
                  <a:pt x="491024" y="616203"/>
                  <a:pt x="497846" y="572746"/>
                  <a:pt x="501650" y="558800"/>
                </a:cubicBezTo>
                <a:cubicBezTo>
                  <a:pt x="505172" y="545885"/>
                  <a:pt x="510117" y="533400"/>
                  <a:pt x="514350" y="520700"/>
                </a:cubicBezTo>
                <a:lnTo>
                  <a:pt x="520700" y="501650"/>
                </a:lnTo>
                <a:cubicBezTo>
                  <a:pt x="522817" y="495300"/>
                  <a:pt x="523034" y="487955"/>
                  <a:pt x="527050" y="482600"/>
                </a:cubicBezTo>
                <a:cubicBezTo>
                  <a:pt x="533400" y="474133"/>
                  <a:pt x="540031" y="465870"/>
                  <a:pt x="546100" y="457200"/>
                </a:cubicBezTo>
                <a:cubicBezTo>
                  <a:pt x="562496" y="433777"/>
                  <a:pt x="568935" y="416861"/>
                  <a:pt x="590550" y="400050"/>
                </a:cubicBezTo>
                <a:cubicBezTo>
                  <a:pt x="602598" y="390679"/>
                  <a:pt x="628650" y="374650"/>
                  <a:pt x="628650" y="374650"/>
                </a:cubicBezTo>
                <a:cubicBezTo>
                  <a:pt x="647700" y="376767"/>
                  <a:pt x="667616" y="374939"/>
                  <a:pt x="685800" y="381000"/>
                </a:cubicBezTo>
                <a:cubicBezTo>
                  <a:pt x="694319" y="383840"/>
                  <a:pt x="699101" y="393151"/>
                  <a:pt x="704850" y="400050"/>
                </a:cubicBezTo>
                <a:cubicBezTo>
                  <a:pt x="709736" y="405913"/>
                  <a:pt x="714137" y="412274"/>
                  <a:pt x="717550" y="419100"/>
                </a:cubicBezTo>
                <a:cubicBezTo>
                  <a:pt x="722885" y="429770"/>
                  <a:pt x="727198" y="453377"/>
                  <a:pt x="730250" y="463550"/>
                </a:cubicBezTo>
                <a:cubicBezTo>
                  <a:pt x="734097" y="476372"/>
                  <a:pt x="738717" y="488950"/>
                  <a:pt x="742950" y="501650"/>
                </a:cubicBezTo>
                <a:cubicBezTo>
                  <a:pt x="758911" y="549533"/>
                  <a:pt x="737381" y="490511"/>
                  <a:pt x="762000" y="539750"/>
                </a:cubicBezTo>
                <a:cubicBezTo>
                  <a:pt x="764993" y="545737"/>
                  <a:pt x="765099" y="552949"/>
                  <a:pt x="768350" y="558800"/>
                </a:cubicBezTo>
                <a:cubicBezTo>
                  <a:pt x="775763" y="572143"/>
                  <a:pt x="785283" y="584200"/>
                  <a:pt x="793750" y="596900"/>
                </a:cubicBezTo>
                <a:cubicBezTo>
                  <a:pt x="797983" y="603250"/>
                  <a:pt x="804037" y="608710"/>
                  <a:pt x="806450" y="615950"/>
                </a:cubicBezTo>
                <a:cubicBezTo>
                  <a:pt x="825717" y="673752"/>
                  <a:pt x="796162" y="582460"/>
                  <a:pt x="819150" y="666750"/>
                </a:cubicBezTo>
                <a:cubicBezTo>
                  <a:pt x="822672" y="679665"/>
                  <a:pt x="827617" y="692150"/>
                  <a:pt x="831850" y="704850"/>
                </a:cubicBezTo>
                <a:cubicBezTo>
                  <a:pt x="833967" y="711200"/>
                  <a:pt x="834487" y="718331"/>
                  <a:pt x="838200" y="723900"/>
                </a:cubicBezTo>
                <a:cubicBezTo>
                  <a:pt x="854613" y="748519"/>
                  <a:pt x="848487" y="735710"/>
                  <a:pt x="857250" y="762000"/>
                </a:cubicBezTo>
                <a:cubicBezTo>
                  <a:pt x="859367" y="776817"/>
                  <a:pt x="858041" y="792553"/>
                  <a:pt x="863600" y="806450"/>
                </a:cubicBezTo>
                <a:cubicBezTo>
                  <a:pt x="866935" y="814788"/>
                  <a:pt x="879196" y="817211"/>
                  <a:pt x="882650" y="825500"/>
                </a:cubicBezTo>
                <a:cubicBezTo>
                  <a:pt x="890156" y="843514"/>
                  <a:pt x="890617" y="863718"/>
                  <a:pt x="895350" y="882650"/>
                </a:cubicBezTo>
                <a:cubicBezTo>
                  <a:pt x="896973" y="889144"/>
                  <a:pt x="898707" y="895713"/>
                  <a:pt x="901700" y="901700"/>
                </a:cubicBezTo>
                <a:cubicBezTo>
                  <a:pt x="905113" y="908526"/>
                  <a:pt x="910167" y="914400"/>
                  <a:pt x="914400" y="920750"/>
                </a:cubicBezTo>
                <a:cubicBezTo>
                  <a:pt x="916517" y="929217"/>
                  <a:pt x="918242" y="937791"/>
                  <a:pt x="920750" y="946150"/>
                </a:cubicBezTo>
                <a:cubicBezTo>
                  <a:pt x="924597" y="958972"/>
                  <a:pt x="933450" y="984250"/>
                  <a:pt x="933450" y="984250"/>
                </a:cubicBezTo>
                <a:cubicBezTo>
                  <a:pt x="964640" y="973853"/>
                  <a:pt x="948122" y="985485"/>
                  <a:pt x="958850" y="946150"/>
                </a:cubicBezTo>
                <a:cubicBezTo>
                  <a:pt x="962372" y="933235"/>
                  <a:pt x="968925" y="921177"/>
                  <a:pt x="971550" y="908050"/>
                </a:cubicBezTo>
                <a:cubicBezTo>
                  <a:pt x="975915" y="886226"/>
                  <a:pt x="978272" y="871825"/>
                  <a:pt x="984250" y="850900"/>
                </a:cubicBezTo>
                <a:cubicBezTo>
                  <a:pt x="986089" y="844464"/>
                  <a:pt x="987963" y="838002"/>
                  <a:pt x="990600" y="831850"/>
                </a:cubicBezTo>
                <a:cubicBezTo>
                  <a:pt x="1018989" y="765609"/>
                  <a:pt x="990138" y="846090"/>
                  <a:pt x="1009650" y="781050"/>
                </a:cubicBezTo>
                <a:cubicBezTo>
                  <a:pt x="1013497" y="768228"/>
                  <a:pt x="1022350" y="742950"/>
                  <a:pt x="1022350" y="742950"/>
                </a:cubicBezTo>
                <a:cubicBezTo>
                  <a:pt x="1024467" y="728133"/>
                  <a:pt x="1026722" y="713336"/>
                  <a:pt x="1028700" y="698500"/>
                </a:cubicBezTo>
                <a:cubicBezTo>
                  <a:pt x="1030955" y="681585"/>
                  <a:pt x="1031997" y="664490"/>
                  <a:pt x="1035050" y="647700"/>
                </a:cubicBezTo>
                <a:cubicBezTo>
                  <a:pt x="1036247" y="641114"/>
                  <a:pt x="1039948" y="635184"/>
                  <a:pt x="1041400" y="628650"/>
                </a:cubicBezTo>
                <a:cubicBezTo>
                  <a:pt x="1056301" y="561596"/>
                  <a:pt x="1039805" y="614384"/>
                  <a:pt x="1054100" y="571500"/>
                </a:cubicBezTo>
                <a:cubicBezTo>
                  <a:pt x="1056217" y="554567"/>
                  <a:pt x="1056874" y="537386"/>
                  <a:pt x="1060450" y="520700"/>
                </a:cubicBezTo>
                <a:cubicBezTo>
                  <a:pt x="1063255" y="507610"/>
                  <a:pt x="1068917" y="495300"/>
                  <a:pt x="1073150" y="482600"/>
                </a:cubicBezTo>
                <a:cubicBezTo>
                  <a:pt x="1075267" y="476250"/>
                  <a:pt x="1076507" y="469537"/>
                  <a:pt x="1079500" y="463550"/>
                </a:cubicBezTo>
                <a:cubicBezTo>
                  <a:pt x="1083733" y="455083"/>
                  <a:pt x="1088876" y="447013"/>
                  <a:pt x="1092200" y="438150"/>
                </a:cubicBezTo>
                <a:cubicBezTo>
                  <a:pt x="1098304" y="421874"/>
                  <a:pt x="1097224" y="409052"/>
                  <a:pt x="1104900" y="393700"/>
                </a:cubicBezTo>
                <a:cubicBezTo>
                  <a:pt x="1108313" y="386874"/>
                  <a:pt x="1114500" y="381624"/>
                  <a:pt x="1117600" y="374650"/>
                </a:cubicBezTo>
                <a:cubicBezTo>
                  <a:pt x="1123037" y="362417"/>
                  <a:pt x="1126067" y="349250"/>
                  <a:pt x="1130300" y="336550"/>
                </a:cubicBezTo>
                <a:cubicBezTo>
                  <a:pt x="1132417" y="330200"/>
                  <a:pt x="1130300" y="319617"/>
                  <a:pt x="1136650" y="317500"/>
                </a:cubicBezTo>
                <a:cubicBezTo>
                  <a:pt x="1143000" y="315383"/>
                  <a:pt x="1149849" y="314401"/>
                  <a:pt x="1155700" y="311150"/>
                </a:cubicBezTo>
                <a:cubicBezTo>
                  <a:pt x="1169043" y="303737"/>
                  <a:pt x="1179320" y="290577"/>
                  <a:pt x="1193800" y="285750"/>
                </a:cubicBezTo>
                <a:cubicBezTo>
                  <a:pt x="1221830" y="276407"/>
                  <a:pt x="1206863" y="282393"/>
                  <a:pt x="1238250" y="266700"/>
                </a:cubicBezTo>
                <a:cubicBezTo>
                  <a:pt x="1244600" y="268817"/>
                  <a:pt x="1252073" y="268869"/>
                  <a:pt x="1257300" y="273050"/>
                </a:cubicBezTo>
                <a:cubicBezTo>
                  <a:pt x="1275763" y="287820"/>
                  <a:pt x="1270504" y="311906"/>
                  <a:pt x="1282700" y="330200"/>
                </a:cubicBezTo>
                <a:cubicBezTo>
                  <a:pt x="1319096" y="384795"/>
                  <a:pt x="1275460" y="315720"/>
                  <a:pt x="1301750" y="368300"/>
                </a:cubicBezTo>
                <a:cubicBezTo>
                  <a:pt x="1305163" y="375126"/>
                  <a:pt x="1311037" y="380524"/>
                  <a:pt x="1314450" y="387350"/>
                </a:cubicBezTo>
                <a:cubicBezTo>
                  <a:pt x="1317443" y="393337"/>
                  <a:pt x="1317549" y="400549"/>
                  <a:pt x="1320800" y="406400"/>
                </a:cubicBezTo>
                <a:cubicBezTo>
                  <a:pt x="1328213" y="419743"/>
                  <a:pt x="1337733" y="431800"/>
                  <a:pt x="1346200" y="444500"/>
                </a:cubicBezTo>
                <a:cubicBezTo>
                  <a:pt x="1350433" y="450850"/>
                  <a:pt x="1356487" y="456310"/>
                  <a:pt x="1358900" y="463550"/>
                </a:cubicBezTo>
                <a:lnTo>
                  <a:pt x="1377950" y="520700"/>
                </a:lnTo>
                <a:cubicBezTo>
                  <a:pt x="1380067" y="527050"/>
                  <a:pt x="1382677" y="533256"/>
                  <a:pt x="1384300" y="539750"/>
                </a:cubicBezTo>
                <a:lnTo>
                  <a:pt x="1390650" y="565150"/>
                </a:lnTo>
                <a:cubicBezTo>
                  <a:pt x="1392767" y="584200"/>
                  <a:pt x="1397000" y="603133"/>
                  <a:pt x="1397000" y="622300"/>
                </a:cubicBezTo>
                <a:cubicBezTo>
                  <a:pt x="1397000" y="746325"/>
                  <a:pt x="1375027" y="584501"/>
                  <a:pt x="1397000" y="749300"/>
                </a:cubicBezTo>
                <a:cubicBezTo>
                  <a:pt x="1397885" y="755935"/>
                  <a:pt x="1401727" y="761856"/>
                  <a:pt x="1403350" y="768350"/>
                </a:cubicBezTo>
                <a:cubicBezTo>
                  <a:pt x="1405968" y="778821"/>
                  <a:pt x="1407082" y="789629"/>
                  <a:pt x="1409700" y="800100"/>
                </a:cubicBezTo>
                <a:cubicBezTo>
                  <a:pt x="1429226" y="878204"/>
                  <a:pt x="1398995" y="733874"/>
                  <a:pt x="1422400" y="850900"/>
                </a:cubicBezTo>
                <a:cubicBezTo>
                  <a:pt x="1438361" y="803017"/>
                  <a:pt x="1416831" y="862039"/>
                  <a:pt x="1441450" y="812800"/>
                </a:cubicBezTo>
                <a:cubicBezTo>
                  <a:pt x="1444443" y="806813"/>
                  <a:pt x="1445163" y="799902"/>
                  <a:pt x="1447800" y="793750"/>
                </a:cubicBezTo>
                <a:cubicBezTo>
                  <a:pt x="1451529" y="785049"/>
                  <a:pt x="1456984" y="777139"/>
                  <a:pt x="1460500" y="768350"/>
                </a:cubicBezTo>
                <a:cubicBezTo>
                  <a:pt x="1465472" y="755921"/>
                  <a:pt x="1468967" y="742950"/>
                  <a:pt x="1473200" y="730250"/>
                </a:cubicBezTo>
                <a:lnTo>
                  <a:pt x="1479550" y="711200"/>
                </a:lnTo>
                <a:cubicBezTo>
                  <a:pt x="1480825" y="699727"/>
                  <a:pt x="1484001" y="647898"/>
                  <a:pt x="1492250" y="628650"/>
                </a:cubicBezTo>
                <a:cubicBezTo>
                  <a:pt x="1495256" y="621635"/>
                  <a:pt x="1500717" y="615950"/>
                  <a:pt x="1504950" y="609600"/>
                </a:cubicBezTo>
                <a:cubicBezTo>
                  <a:pt x="1507067" y="601133"/>
                  <a:pt x="1508902" y="592591"/>
                  <a:pt x="1511300" y="584200"/>
                </a:cubicBezTo>
                <a:cubicBezTo>
                  <a:pt x="1513139" y="577764"/>
                  <a:pt x="1516337" y="571714"/>
                  <a:pt x="1517650" y="565150"/>
                </a:cubicBezTo>
                <a:cubicBezTo>
                  <a:pt x="1520585" y="550474"/>
                  <a:pt x="1521065" y="535376"/>
                  <a:pt x="1524000" y="520700"/>
                </a:cubicBezTo>
                <a:cubicBezTo>
                  <a:pt x="1525313" y="514136"/>
                  <a:pt x="1528898" y="508184"/>
                  <a:pt x="1530350" y="501650"/>
                </a:cubicBezTo>
                <a:cubicBezTo>
                  <a:pt x="1533143" y="489081"/>
                  <a:pt x="1533577" y="476041"/>
                  <a:pt x="1536700" y="463550"/>
                </a:cubicBezTo>
                <a:cubicBezTo>
                  <a:pt x="1539947" y="450563"/>
                  <a:pt x="1545167" y="438150"/>
                  <a:pt x="1549400" y="425450"/>
                </a:cubicBezTo>
                <a:cubicBezTo>
                  <a:pt x="1551517" y="419100"/>
                  <a:pt x="1554437" y="412964"/>
                  <a:pt x="1555750" y="406400"/>
                </a:cubicBezTo>
                <a:cubicBezTo>
                  <a:pt x="1560115" y="384576"/>
                  <a:pt x="1562472" y="370175"/>
                  <a:pt x="1568450" y="349250"/>
                </a:cubicBezTo>
                <a:cubicBezTo>
                  <a:pt x="1570289" y="342814"/>
                  <a:pt x="1571807" y="336187"/>
                  <a:pt x="1574800" y="330200"/>
                </a:cubicBezTo>
                <a:cubicBezTo>
                  <a:pt x="1606686" y="266427"/>
                  <a:pt x="1566802" y="363678"/>
                  <a:pt x="1600200" y="285750"/>
                </a:cubicBezTo>
                <a:cubicBezTo>
                  <a:pt x="1607947" y="267674"/>
                  <a:pt x="1603996" y="262904"/>
                  <a:pt x="1619250" y="247650"/>
                </a:cubicBezTo>
                <a:cubicBezTo>
                  <a:pt x="1628225" y="238675"/>
                  <a:pt x="1653739" y="227230"/>
                  <a:pt x="1663700" y="222250"/>
                </a:cubicBezTo>
                <a:cubicBezTo>
                  <a:pt x="1680633" y="226483"/>
                  <a:pt x="1697941" y="229430"/>
                  <a:pt x="1714500" y="234950"/>
                </a:cubicBezTo>
                <a:lnTo>
                  <a:pt x="1752600" y="247650"/>
                </a:lnTo>
                <a:cubicBezTo>
                  <a:pt x="1758950" y="254000"/>
                  <a:pt x="1766669" y="259228"/>
                  <a:pt x="1771650" y="266700"/>
                </a:cubicBezTo>
                <a:cubicBezTo>
                  <a:pt x="1775363" y="272269"/>
                  <a:pt x="1775007" y="279763"/>
                  <a:pt x="1778000" y="285750"/>
                </a:cubicBezTo>
                <a:cubicBezTo>
                  <a:pt x="1781413" y="292576"/>
                  <a:pt x="1786467" y="298450"/>
                  <a:pt x="1790700" y="304800"/>
                </a:cubicBezTo>
                <a:cubicBezTo>
                  <a:pt x="1792580" y="319836"/>
                  <a:pt x="1798822" y="375389"/>
                  <a:pt x="1803400" y="393700"/>
                </a:cubicBezTo>
                <a:lnTo>
                  <a:pt x="1822450" y="450850"/>
                </a:lnTo>
                <a:cubicBezTo>
                  <a:pt x="1824567" y="457200"/>
                  <a:pt x="1827177" y="463406"/>
                  <a:pt x="1828800" y="469900"/>
                </a:cubicBezTo>
                <a:cubicBezTo>
                  <a:pt x="1830917" y="478367"/>
                  <a:pt x="1832752" y="486909"/>
                  <a:pt x="1835150" y="495300"/>
                </a:cubicBezTo>
                <a:cubicBezTo>
                  <a:pt x="1836989" y="501736"/>
                  <a:pt x="1839877" y="507856"/>
                  <a:pt x="1841500" y="514350"/>
                </a:cubicBezTo>
                <a:cubicBezTo>
                  <a:pt x="1844118" y="524821"/>
                  <a:pt x="1844437" y="535861"/>
                  <a:pt x="1847850" y="546100"/>
                </a:cubicBezTo>
                <a:cubicBezTo>
                  <a:pt x="1850843" y="555080"/>
                  <a:pt x="1856317" y="563033"/>
                  <a:pt x="1860550" y="571500"/>
                </a:cubicBezTo>
                <a:cubicBezTo>
                  <a:pt x="1862745" y="584669"/>
                  <a:pt x="1867566" y="619844"/>
                  <a:pt x="1873250" y="635000"/>
                </a:cubicBezTo>
                <a:cubicBezTo>
                  <a:pt x="1880156" y="653415"/>
                  <a:pt x="1888122" y="663659"/>
                  <a:pt x="1898650" y="679450"/>
                </a:cubicBezTo>
                <a:cubicBezTo>
                  <a:pt x="1900767" y="690033"/>
                  <a:pt x="1903763" y="700478"/>
                  <a:pt x="1905000" y="711200"/>
                </a:cubicBezTo>
                <a:cubicBezTo>
                  <a:pt x="1910118" y="755557"/>
                  <a:pt x="1906871" y="801232"/>
                  <a:pt x="1917700" y="844550"/>
                </a:cubicBezTo>
                <a:cubicBezTo>
                  <a:pt x="1925901" y="877354"/>
                  <a:pt x="1916788" y="865109"/>
                  <a:pt x="1943100" y="882650"/>
                </a:cubicBezTo>
                <a:cubicBezTo>
                  <a:pt x="1945217" y="874183"/>
                  <a:pt x="1946012" y="865272"/>
                  <a:pt x="1949450" y="857250"/>
                </a:cubicBezTo>
                <a:cubicBezTo>
                  <a:pt x="1968074" y="813793"/>
                  <a:pt x="1957797" y="861961"/>
                  <a:pt x="1968500" y="819150"/>
                </a:cubicBezTo>
                <a:cubicBezTo>
                  <a:pt x="1986451" y="747347"/>
                  <a:pt x="1960304" y="831037"/>
                  <a:pt x="1987550" y="749300"/>
                </a:cubicBezTo>
                <a:cubicBezTo>
                  <a:pt x="1989667" y="742950"/>
                  <a:pt x="1990187" y="735819"/>
                  <a:pt x="1993900" y="730250"/>
                </a:cubicBezTo>
                <a:cubicBezTo>
                  <a:pt x="1998133" y="723900"/>
                  <a:pt x="2003500" y="718174"/>
                  <a:pt x="2006600" y="711200"/>
                </a:cubicBezTo>
                <a:cubicBezTo>
                  <a:pt x="2012037" y="698967"/>
                  <a:pt x="2013313" y="685074"/>
                  <a:pt x="2019300" y="673100"/>
                </a:cubicBezTo>
                <a:lnTo>
                  <a:pt x="2032000" y="647700"/>
                </a:lnTo>
                <a:cubicBezTo>
                  <a:pt x="2033384" y="636629"/>
                  <a:pt x="2035227" y="594901"/>
                  <a:pt x="2044700" y="577850"/>
                </a:cubicBezTo>
                <a:cubicBezTo>
                  <a:pt x="2052113" y="564507"/>
                  <a:pt x="2061633" y="552450"/>
                  <a:pt x="2070100" y="539750"/>
                </a:cubicBezTo>
                <a:cubicBezTo>
                  <a:pt x="2074333" y="533400"/>
                  <a:pt x="2077404" y="526096"/>
                  <a:pt x="2082800" y="520700"/>
                </a:cubicBezTo>
                <a:lnTo>
                  <a:pt x="2101850" y="501650"/>
                </a:lnTo>
                <a:cubicBezTo>
                  <a:pt x="2105472" y="490783"/>
                  <a:pt x="2110349" y="470584"/>
                  <a:pt x="2120900" y="463550"/>
                </a:cubicBezTo>
                <a:cubicBezTo>
                  <a:pt x="2128162" y="458709"/>
                  <a:pt x="2137833" y="459317"/>
                  <a:pt x="2146300" y="457200"/>
                </a:cubicBezTo>
                <a:cubicBezTo>
                  <a:pt x="2165350" y="459317"/>
                  <a:pt x="2185266" y="457489"/>
                  <a:pt x="2203450" y="463550"/>
                </a:cubicBezTo>
                <a:cubicBezTo>
                  <a:pt x="2216293" y="467831"/>
                  <a:pt x="2227379" y="492265"/>
                  <a:pt x="2235200" y="501650"/>
                </a:cubicBezTo>
                <a:cubicBezTo>
                  <a:pt x="2249442" y="518740"/>
                  <a:pt x="2257941" y="519480"/>
                  <a:pt x="2266950" y="539750"/>
                </a:cubicBezTo>
                <a:cubicBezTo>
                  <a:pt x="2272387" y="551983"/>
                  <a:pt x="2272224" y="566711"/>
                  <a:pt x="2279650" y="577850"/>
                </a:cubicBezTo>
                <a:cubicBezTo>
                  <a:pt x="2283883" y="584200"/>
                  <a:pt x="2289250" y="589926"/>
                  <a:pt x="2292350" y="596900"/>
                </a:cubicBezTo>
                <a:cubicBezTo>
                  <a:pt x="2297787" y="609133"/>
                  <a:pt x="2297624" y="623861"/>
                  <a:pt x="2305050" y="635000"/>
                </a:cubicBezTo>
                <a:cubicBezTo>
                  <a:pt x="2322731" y="661522"/>
                  <a:pt x="2312354" y="648654"/>
                  <a:pt x="2336800" y="673100"/>
                </a:cubicBezTo>
                <a:cubicBezTo>
                  <a:pt x="2352761" y="720983"/>
                  <a:pt x="2331231" y="661961"/>
                  <a:pt x="2355850" y="711200"/>
                </a:cubicBezTo>
                <a:cubicBezTo>
                  <a:pt x="2358843" y="717187"/>
                  <a:pt x="2358949" y="724399"/>
                  <a:pt x="2362200" y="730250"/>
                </a:cubicBezTo>
                <a:cubicBezTo>
                  <a:pt x="2369613" y="743593"/>
                  <a:pt x="2382773" y="753870"/>
                  <a:pt x="2387600" y="768350"/>
                </a:cubicBezTo>
                <a:cubicBezTo>
                  <a:pt x="2394724" y="789722"/>
                  <a:pt x="2394095" y="790829"/>
                  <a:pt x="2406650" y="812800"/>
                </a:cubicBezTo>
                <a:cubicBezTo>
                  <a:pt x="2410436" y="819426"/>
                  <a:pt x="2415937" y="825024"/>
                  <a:pt x="2419350" y="831850"/>
                </a:cubicBezTo>
                <a:cubicBezTo>
                  <a:pt x="2422343" y="837837"/>
                  <a:pt x="2420967" y="846167"/>
                  <a:pt x="2425700" y="850900"/>
                </a:cubicBezTo>
                <a:cubicBezTo>
                  <a:pt x="2430433" y="855633"/>
                  <a:pt x="2438400" y="855133"/>
                  <a:pt x="2444750" y="857250"/>
                </a:cubicBezTo>
                <a:cubicBezTo>
                  <a:pt x="2451100" y="855133"/>
                  <a:pt x="2459909" y="856347"/>
                  <a:pt x="2463800" y="850900"/>
                </a:cubicBezTo>
                <a:cubicBezTo>
                  <a:pt x="2471581" y="840007"/>
                  <a:pt x="2472267" y="825500"/>
                  <a:pt x="2476500" y="812800"/>
                </a:cubicBezTo>
                <a:lnTo>
                  <a:pt x="2489200" y="774700"/>
                </a:lnTo>
                <a:cubicBezTo>
                  <a:pt x="2512358" y="705225"/>
                  <a:pt x="2475424" y="810458"/>
                  <a:pt x="2508250" y="736600"/>
                </a:cubicBezTo>
                <a:cubicBezTo>
                  <a:pt x="2513687" y="724367"/>
                  <a:pt x="2517703" y="711487"/>
                  <a:pt x="2520950" y="698500"/>
                </a:cubicBezTo>
                <a:cubicBezTo>
                  <a:pt x="2525183" y="681567"/>
                  <a:pt x="2528130" y="664259"/>
                  <a:pt x="2533650" y="647700"/>
                </a:cubicBezTo>
                <a:cubicBezTo>
                  <a:pt x="2535767" y="641350"/>
                  <a:pt x="2537007" y="634637"/>
                  <a:pt x="2540000" y="628650"/>
                </a:cubicBezTo>
                <a:cubicBezTo>
                  <a:pt x="2543413" y="621824"/>
                  <a:pt x="2547304" y="614996"/>
                  <a:pt x="2552700" y="609600"/>
                </a:cubicBezTo>
                <a:cubicBezTo>
                  <a:pt x="2558096" y="604204"/>
                  <a:pt x="2565400" y="601133"/>
                  <a:pt x="2571750" y="596900"/>
                </a:cubicBezTo>
                <a:cubicBezTo>
                  <a:pt x="2573867" y="590550"/>
                  <a:pt x="2573367" y="582583"/>
                  <a:pt x="2578100" y="577850"/>
                </a:cubicBezTo>
                <a:cubicBezTo>
                  <a:pt x="2582833" y="573117"/>
                  <a:pt x="2590998" y="574137"/>
                  <a:pt x="2597150" y="571500"/>
                </a:cubicBezTo>
                <a:cubicBezTo>
                  <a:pt x="2643158" y="551782"/>
                  <a:pt x="2600778" y="563154"/>
                  <a:pt x="2654300" y="552450"/>
                </a:cubicBezTo>
                <a:cubicBezTo>
                  <a:pt x="2664883" y="554567"/>
                  <a:pt x="2677070" y="552813"/>
                  <a:pt x="2686050" y="558800"/>
                </a:cubicBezTo>
                <a:cubicBezTo>
                  <a:pt x="2691619" y="562513"/>
                  <a:pt x="2688219" y="572623"/>
                  <a:pt x="2692400" y="577850"/>
                </a:cubicBezTo>
                <a:cubicBezTo>
                  <a:pt x="2697168" y="583809"/>
                  <a:pt x="2705100" y="586317"/>
                  <a:pt x="2711450" y="590550"/>
                </a:cubicBezTo>
                <a:cubicBezTo>
                  <a:pt x="2714176" y="609631"/>
                  <a:pt x="2718579" y="646322"/>
                  <a:pt x="2724150" y="666750"/>
                </a:cubicBezTo>
                <a:cubicBezTo>
                  <a:pt x="2727672" y="679665"/>
                  <a:pt x="2733603" y="691863"/>
                  <a:pt x="2736850" y="704850"/>
                </a:cubicBezTo>
                <a:cubicBezTo>
                  <a:pt x="2737417" y="707118"/>
                  <a:pt x="2749306" y="760193"/>
                  <a:pt x="2755900" y="774700"/>
                </a:cubicBezTo>
                <a:cubicBezTo>
                  <a:pt x="2763734" y="791935"/>
                  <a:pt x="2772833" y="808567"/>
                  <a:pt x="2781300" y="825500"/>
                </a:cubicBezTo>
                <a:lnTo>
                  <a:pt x="2794000" y="850900"/>
                </a:lnTo>
                <a:cubicBezTo>
                  <a:pt x="2794916" y="855480"/>
                  <a:pt x="2801121" y="893332"/>
                  <a:pt x="2806700" y="901700"/>
                </a:cubicBezTo>
                <a:cubicBezTo>
                  <a:pt x="2811681" y="909172"/>
                  <a:pt x="2819400" y="914400"/>
                  <a:pt x="2825750" y="920750"/>
                </a:cubicBezTo>
                <a:cubicBezTo>
                  <a:pt x="2838520" y="971828"/>
                  <a:pt x="2826558" y="919652"/>
                  <a:pt x="2838450" y="996950"/>
                </a:cubicBezTo>
                <a:cubicBezTo>
                  <a:pt x="2840091" y="1007617"/>
                  <a:pt x="2838813" y="1019720"/>
                  <a:pt x="2844800" y="1028700"/>
                </a:cubicBezTo>
                <a:cubicBezTo>
                  <a:pt x="2848513" y="1034269"/>
                  <a:pt x="2857500" y="1032933"/>
                  <a:pt x="2863850" y="1035050"/>
                </a:cubicBezTo>
                <a:cubicBezTo>
                  <a:pt x="2884309" y="1096428"/>
                  <a:pt x="2862434" y="1010381"/>
                  <a:pt x="2851150" y="1066800"/>
                </a:cubicBezTo>
                <a:cubicBezTo>
                  <a:pt x="2847560" y="1084752"/>
                  <a:pt x="2874154" y="1089285"/>
                  <a:pt x="2882900" y="1092200"/>
                </a:cubicBezTo>
                <a:cubicBezTo>
                  <a:pt x="2891367" y="1087967"/>
                  <a:pt x="2902240" y="1086772"/>
                  <a:pt x="2908300" y="1079500"/>
                </a:cubicBezTo>
                <a:cubicBezTo>
                  <a:pt x="2913887" y="1072796"/>
                  <a:pt x="2912142" y="1062459"/>
                  <a:pt x="2914650" y="1054100"/>
                </a:cubicBezTo>
                <a:cubicBezTo>
                  <a:pt x="2918497" y="1041278"/>
                  <a:pt x="2919924" y="1027139"/>
                  <a:pt x="2927350" y="1016000"/>
                </a:cubicBezTo>
                <a:cubicBezTo>
                  <a:pt x="2945301" y="989074"/>
                  <a:pt x="2936637" y="1003776"/>
                  <a:pt x="2952750" y="971550"/>
                </a:cubicBezTo>
                <a:cubicBezTo>
                  <a:pt x="2944265" y="946095"/>
                  <a:pt x="2941574" y="947927"/>
                  <a:pt x="2952750" y="914400"/>
                </a:cubicBezTo>
                <a:cubicBezTo>
                  <a:pt x="2955163" y="907160"/>
                  <a:pt x="2962037" y="902176"/>
                  <a:pt x="2965450" y="895350"/>
                </a:cubicBezTo>
                <a:cubicBezTo>
                  <a:pt x="2968443" y="889363"/>
                  <a:pt x="2968087" y="881869"/>
                  <a:pt x="2971800" y="876300"/>
                </a:cubicBezTo>
                <a:cubicBezTo>
                  <a:pt x="3024334" y="797499"/>
                  <a:pt x="2961999" y="910914"/>
                  <a:pt x="3003550" y="838200"/>
                </a:cubicBezTo>
                <a:cubicBezTo>
                  <a:pt x="3010191" y="826579"/>
                  <a:pt x="3018636" y="804064"/>
                  <a:pt x="3028950" y="793750"/>
                </a:cubicBezTo>
                <a:cubicBezTo>
                  <a:pt x="3034346" y="788354"/>
                  <a:pt x="3041650" y="785283"/>
                  <a:pt x="3048000" y="781050"/>
                </a:cubicBezTo>
                <a:cubicBezTo>
                  <a:pt x="3052233" y="774700"/>
                  <a:pt x="3055304" y="767396"/>
                  <a:pt x="3060700" y="762000"/>
                </a:cubicBezTo>
                <a:cubicBezTo>
                  <a:pt x="3077882" y="744818"/>
                  <a:pt x="3102363" y="743151"/>
                  <a:pt x="3124200" y="736600"/>
                </a:cubicBezTo>
                <a:cubicBezTo>
                  <a:pt x="3137022" y="732753"/>
                  <a:pt x="3162300" y="723900"/>
                  <a:pt x="3162300" y="723900"/>
                </a:cubicBezTo>
                <a:cubicBezTo>
                  <a:pt x="3179511" y="727342"/>
                  <a:pt x="3200642" y="727378"/>
                  <a:pt x="3213100" y="742950"/>
                </a:cubicBezTo>
                <a:cubicBezTo>
                  <a:pt x="3217281" y="748177"/>
                  <a:pt x="3217333" y="755650"/>
                  <a:pt x="3219450" y="762000"/>
                </a:cubicBezTo>
                <a:cubicBezTo>
                  <a:pt x="3227917" y="759883"/>
                  <a:pt x="3239170" y="762276"/>
                  <a:pt x="3244850" y="755650"/>
                </a:cubicBezTo>
                <a:cubicBezTo>
                  <a:pt x="3253562" y="745486"/>
                  <a:pt x="3255349" y="730755"/>
                  <a:pt x="3257550" y="717550"/>
                </a:cubicBezTo>
                <a:cubicBezTo>
                  <a:pt x="3259667" y="704850"/>
                  <a:pt x="3262303" y="692226"/>
                  <a:pt x="3263900" y="679450"/>
                </a:cubicBezTo>
                <a:cubicBezTo>
                  <a:pt x="3273722" y="600870"/>
                  <a:pt x="3262640" y="638780"/>
                  <a:pt x="3276600" y="596900"/>
                </a:cubicBezTo>
                <a:cubicBezTo>
                  <a:pt x="3289749" y="281316"/>
                  <a:pt x="3269357" y="391813"/>
                  <a:pt x="3295650" y="260350"/>
                </a:cubicBezTo>
                <a:cubicBezTo>
                  <a:pt x="3297767" y="237067"/>
                  <a:pt x="3299100" y="213699"/>
                  <a:pt x="3302000" y="190500"/>
                </a:cubicBezTo>
                <a:cubicBezTo>
                  <a:pt x="3303339" y="179790"/>
                  <a:pt x="3308350" y="169543"/>
                  <a:pt x="3308350" y="158750"/>
                </a:cubicBezTo>
                <a:cubicBezTo>
                  <a:pt x="3308350" y="141685"/>
                  <a:pt x="3303618" y="124938"/>
                  <a:pt x="3302000" y="107950"/>
                </a:cubicBezTo>
                <a:cubicBezTo>
                  <a:pt x="3299383" y="80476"/>
                  <a:pt x="3307321" y="50409"/>
                  <a:pt x="3295650" y="25400"/>
                </a:cubicBezTo>
                <a:cubicBezTo>
                  <a:pt x="3289989" y="13269"/>
                  <a:pt x="3270907" y="13590"/>
                  <a:pt x="3257550" y="12700"/>
                </a:cubicBezTo>
                <a:cubicBezTo>
                  <a:pt x="3124226" y="3812"/>
                  <a:pt x="3194071" y="8115"/>
                  <a:pt x="3048000" y="0"/>
                </a:cubicBezTo>
                <a:cubicBezTo>
                  <a:pt x="3009900" y="2117"/>
                  <a:pt x="2971702" y="2895"/>
                  <a:pt x="2933700" y="6350"/>
                </a:cubicBezTo>
                <a:cubicBezTo>
                  <a:pt x="2925009" y="7140"/>
                  <a:pt x="2916960" y="11618"/>
                  <a:pt x="2908300" y="12700"/>
                </a:cubicBezTo>
                <a:cubicBezTo>
                  <a:pt x="2883009" y="15861"/>
                  <a:pt x="2857500" y="16933"/>
                  <a:pt x="2832100" y="19050"/>
                </a:cubicBezTo>
                <a:cubicBezTo>
                  <a:pt x="2825750" y="21167"/>
                  <a:pt x="2819614" y="24087"/>
                  <a:pt x="2813050" y="25400"/>
                </a:cubicBezTo>
                <a:cubicBezTo>
                  <a:pt x="2790398" y="29930"/>
                  <a:pt x="2731261" y="35899"/>
                  <a:pt x="2711450" y="38100"/>
                </a:cubicBezTo>
                <a:cubicBezTo>
                  <a:pt x="2660650" y="35983"/>
                  <a:pt x="2609795" y="34922"/>
                  <a:pt x="2559050" y="31750"/>
                </a:cubicBezTo>
                <a:cubicBezTo>
                  <a:pt x="2542018" y="30686"/>
                  <a:pt x="2525256" y="26817"/>
                  <a:pt x="2508250" y="25400"/>
                </a:cubicBezTo>
                <a:cubicBezTo>
                  <a:pt x="2474434" y="22582"/>
                  <a:pt x="2440490" y="21557"/>
                  <a:pt x="2406650" y="19050"/>
                </a:cubicBezTo>
                <a:cubicBezTo>
                  <a:pt x="2383335" y="17323"/>
                  <a:pt x="2360083" y="14817"/>
                  <a:pt x="2336800" y="12700"/>
                </a:cubicBezTo>
                <a:lnTo>
                  <a:pt x="1955800" y="19050"/>
                </a:lnTo>
                <a:cubicBezTo>
                  <a:pt x="1947077" y="19323"/>
                  <a:pt x="1939026" y="24073"/>
                  <a:pt x="1930400" y="25400"/>
                </a:cubicBezTo>
                <a:cubicBezTo>
                  <a:pt x="1911456" y="28315"/>
                  <a:pt x="1892225" y="29039"/>
                  <a:pt x="1873250" y="31750"/>
                </a:cubicBezTo>
                <a:cubicBezTo>
                  <a:pt x="1846431" y="35581"/>
                  <a:pt x="1844611" y="37063"/>
                  <a:pt x="1822450" y="44450"/>
                </a:cubicBezTo>
                <a:cubicBezTo>
                  <a:pt x="1775883" y="42333"/>
                  <a:pt x="1729148" y="42590"/>
                  <a:pt x="1682750" y="38100"/>
                </a:cubicBezTo>
                <a:cubicBezTo>
                  <a:pt x="1663326" y="36220"/>
                  <a:pt x="1644919" y="28160"/>
                  <a:pt x="1625600" y="25400"/>
                </a:cubicBezTo>
                <a:cubicBezTo>
                  <a:pt x="1600368" y="21795"/>
                  <a:pt x="1574800" y="21167"/>
                  <a:pt x="1549400" y="19050"/>
                </a:cubicBezTo>
                <a:lnTo>
                  <a:pt x="1377950" y="25400"/>
                </a:lnTo>
                <a:cubicBezTo>
                  <a:pt x="1362679" y="26248"/>
                  <a:pt x="1295457" y="34626"/>
                  <a:pt x="1276350" y="38100"/>
                </a:cubicBezTo>
                <a:cubicBezTo>
                  <a:pt x="1267764" y="39661"/>
                  <a:pt x="1259659" y="43888"/>
                  <a:pt x="1250950" y="44450"/>
                </a:cubicBezTo>
                <a:cubicBezTo>
                  <a:pt x="1193879" y="48132"/>
                  <a:pt x="1136650" y="48683"/>
                  <a:pt x="1079500" y="50800"/>
                </a:cubicBezTo>
                <a:cubicBezTo>
                  <a:pt x="1039283" y="48683"/>
                  <a:pt x="998975" y="47889"/>
                  <a:pt x="958850" y="44450"/>
                </a:cubicBezTo>
                <a:cubicBezTo>
                  <a:pt x="924844" y="41535"/>
                  <a:pt x="891211" y="35146"/>
                  <a:pt x="857250" y="31750"/>
                </a:cubicBezTo>
                <a:lnTo>
                  <a:pt x="793750" y="25400"/>
                </a:lnTo>
                <a:cubicBezTo>
                  <a:pt x="738717" y="27517"/>
                  <a:pt x="683724" y="31750"/>
                  <a:pt x="628650" y="31750"/>
                </a:cubicBezTo>
                <a:cubicBezTo>
                  <a:pt x="533819" y="31750"/>
                  <a:pt x="246847" y="22489"/>
                  <a:pt x="133350" y="19050"/>
                </a:cubicBezTo>
                <a:cubicBezTo>
                  <a:pt x="105833" y="21167"/>
                  <a:pt x="78185" y="21977"/>
                  <a:pt x="50800" y="25400"/>
                </a:cubicBezTo>
                <a:cubicBezTo>
                  <a:pt x="44158" y="26230"/>
                  <a:pt x="36483" y="27017"/>
                  <a:pt x="31750" y="31750"/>
                </a:cubicBezTo>
                <a:cubicBezTo>
                  <a:pt x="27017" y="36483"/>
                  <a:pt x="28037" y="44648"/>
                  <a:pt x="25400" y="50800"/>
                </a:cubicBezTo>
                <a:cubicBezTo>
                  <a:pt x="21671" y="59501"/>
                  <a:pt x="16933" y="67733"/>
                  <a:pt x="12700" y="76200"/>
                </a:cubicBezTo>
                <a:cubicBezTo>
                  <a:pt x="27592" y="120876"/>
                  <a:pt x="8210" y="65723"/>
                  <a:pt x="31750" y="120650"/>
                </a:cubicBezTo>
                <a:cubicBezTo>
                  <a:pt x="34387" y="126802"/>
                  <a:pt x="35983" y="133350"/>
                  <a:pt x="38100" y="139700"/>
                </a:cubicBezTo>
                <a:cubicBezTo>
                  <a:pt x="31609" y="237062"/>
                  <a:pt x="39158" y="186267"/>
                  <a:pt x="38100" y="215900"/>
                </a:cubicBezTo>
                <a:close/>
              </a:path>
            </a:pathLst>
          </a:custGeom>
          <a:pattFill prst="wdUpDiag">
            <a:fgClr>
              <a:schemeClr val="tx2">
                <a:lumMod val="60000"/>
                <a:lumOff val="40000"/>
              </a:schemeClr>
            </a:fgClr>
            <a:bgClr>
              <a:schemeClr val="tx2">
                <a:lumMod val="50000"/>
              </a:schemeClr>
            </a:bgClr>
          </a:patt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endParaRPr lang="en-US" sz="1324"/>
          </a:p>
        </p:txBody>
      </p:sp>
      <p:grpSp>
        <p:nvGrpSpPr>
          <p:cNvPr id="170" name="Group 169"/>
          <p:cNvGrpSpPr/>
          <p:nvPr/>
        </p:nvGrpSpPr>
        <p:grpSpPr>
          <a:xfrm>
            <a:off x="4330964" y="2271820"/>
            <a:ext cx="4727631" cy="1442792"/>
            <a:chOff x="8257345" y="1102314"/>
            <a:chExt cx="4063917" cy="1240238"/>
          </a:xfrm>
        </p:grpSpPr>
        <p:cxnSp>
          <p:nvCxnSpPr>
            <p:cNvPr id="171" name="Straight Arrow Connector 170"/>
            <p:cNvCxnSpPr/>
            <p:nvPr/>
          </p:nvCxnSpPr>
          <p:spPr bwMode="auto">
            <a:xfrm flipV="1">
              <a:off x="8272892" y="1102314"/>
              <a:ext cx="0" cy="1070698"/>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72" name="Straight Arrow Connector 171"/>
            <p:cNvCxnSpPr/>
            <p:nvPr/>
          </p:nvCxnSpPr>
          <p:spPr bwMode="auto">
            <a:xfrm>
              <a:off x="8257345" y="2160215"/>
              <a:ext cx="3948331" cy="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173" name="TextBox 172"/>
            <p:cNvSpPr txBox="1"/>
            <p:nvPr/>
          </p:nvSpPr>
          <p:spPr>
            <a:xfrm>
              <a:off x="8440223" y="2152954"/>
              <a:ext cx="3881039" cy="189598"/>
            </a:xfrm>
            <a:prstGeom prst="rect">
              <a:avLst/>
            </a:prstGeom>
            <a:noFill/>
            <a:ln>
              <a:noFill/>
            </a:ln>
          </p:spPr>
          <p:txBody>
            <a:bodyPr wrap="square" lIns="0" tIns="28570" rIns="0" bIns="28570" rtlCol="0">
              <a:spAutoFit/>
            </a:bodyPr>
            <a:lstStyle/>
            <a:p>
              <a:pPr defTabSz="914085">
                <a:lnSpc>
                  <a:spcPct val="90000"/>
                </a:lnSpc>
                <a:spcBef>
                  <a:spcPct val="20000"/>
                </a:spcBef>
              </a:pPr>
              <a:r>
                <a:rPr lang="en-US" sz="1176" dirty="0">
                  <a:solidFill>
                    <a:schemeClr val="bg1"/>
                  </a:solidFill>
                  <a:ea typeface="Segoe UI" pitchFamily="34" charset="0"/>
                  <a:cs typeface="Segoe UI" pitchFamily="34" charset="0"/>
                </a:rPr>
                <a:t>J       F       M       A       M       J       </a:t>
              </a:r>
              <a:r>
                <a:rPr lang="en-US" sz="1176" dirty="0" err="1">
                  <a:solidFill>
                    <a:schemeClr val="bg1"/>
                  </a:solidFill>
                  <a:ea typeface="Segoe UI" pitchFamily="34" charset="0"/>
                  <a:cs typeface="Segoe UI" pitchFamily="34" charset="0"/>
                </a:rPr>
                <a:t>J</a:t>
              </a:r>
              <a:r>
                <a:rPr lang="en-US" sz="1176" dirty="0">
                  <a:solidFill>
                    <a:schemeClr val="bg1"/>
                  </a:solidFill>
                  <a:ea typeface="Segoe UI" pitchFamily="34" charset="0"/>
                  <a:cs typeface="Segoe UI" pitchFamily="34" charset="0"/>
                </a:rPr>
                <a:t>       A       S       O      N       D</a:t>
              </a:r>
              <a:endParaRPr lang="en-US" sz="1176" dirty="0">
                <a:solidFill>
                  <a:schemeClr val="bg1"/>
                </a:solidFill>
                <a:ea typeface="Segoe UI" pitchFamily="34" charset="0"/>
                <a:cs typeface="Segoe UI" pitchFamily="34" charset="0"/>
              </a:endParaRPr>
            </a:p>
          </p:txBody>
        </p:sp>
      </p:grpSp>
      <p:grpSp>
        <p:nvGrpSpPr>
          <p:cNvPr id="209" name="Group 208"/>
          <p:cNvGrpSpPr/>
          <p:nvPr/>
        </p:nvGrpSpPr>
        <p:grpSpPr>
          <a:xfrm>
            <a:off x="4374186" y="2271820"/>
            <a:ext cx="4475531" cy="159856"/>
            <a:chOff x="5949196" y="2823541"/>
            <a:chExt cx="6087033" cy="217415"/>
          </a:xfrm>
        </p:grpSpPr>
        <p:cxnSp>
          <p:nvCxnSpPr>
            <p:cNvPr id="175" name="Straight Arrow Connector 174"/>
            <p:cNvCxnSpPr/>
            <p:nvPr/>
          </p:nvCxnSpPr>
          <p:spPr>
            <a:xfrm>
              <a:off x="5949196" y="2989857"/>
              <a:ext cx="6087033" cy="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176" name="Text Placeholder 6"/>
            <p:cNvSpPr txBox="1">
              <a:spLocks/>
            </p:cNvSpPr>
            <p:nvPr/>
          </p:nvSpPr>
          <p:spPr bwMode="auto">
            <a:xfrm>
              <a:off x="10241553" y="2823541"/>
              <a:ext cx="1725438" cy="21741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047" eaLnBrk="0" fontAlgn="base" hangingPunct="0">
                <a:spcBef>
                  <a:spcPct val="20000"/>
                </a:spcBef>
                <a:spcAft>
                  <a:spcPct val="0"/>
                </a:spcAft>
                <a:buClr>
                  <a:srgbClr val="000000"/>
                </a:buClr>
              </a:pPr>
              <a:r>
                <a:rPr lang="en-US" sz="735" i="1" dirty="0">
                  <a:solidFill>
                    <a:schemeClr val="bg1"/>
                  </a:solidFill>
                </a:rPr>
                <a:t>Capacity Needed (Max + 20%)</a:t>
              </a:r>
              <a:endParaRPr lang="en-US" sz="735" i="1" dirty="0">
                <a:solidFill>
                  <a:schemeClr val="bg1"/>
                </a:solidFill>
              </a:endParaRPr>
            </a:p>
          </p:txBody>
        </p:sp>
      </p:grpSp>
      <p:sp>
        <p:nvSpPr>
          <p:cNvPr id="179" name="Freeform 178"/>
          <p:cNvSpPr/>
          <p:nvPr/>
        </p:nvSpPr>
        <p:spPr bwMode="auto">
          <a:xfrm>
            <a:off x="4414160" y="2520394"/>
            <a:ext cx="4435557" cy="900235"/>
          </a:xfrm>
          <a:custGeom>
            <a:avLst/>
            <a:gdLst>
              <a:gd name="connsiteX0" fmla="*/ 0 w 6032665"/>
              <a:gd name="connsiteY0" fmla="*/ 1164670 h 1224382"/>
              <a:gd name="connsiteX1" fmla="*/ 201880 w 6032665"/>
              <a:gd name="connsiteY1" fmla="*/ 939039 h 1224382"/>
              <a:gd name="connsiteX2" fmla="*/ 391886 w 6032665"/>
              <a:gd name="connsiteY2" fmla="*/ 1105294 h 1224382"/>
              <a:gd name="connsiteX3" fmla="*/ 641267 w 6032665"/>
              <a:gd name="connsiteY3" fmla="*/ 1010291 h 1224382"/>
              <a:gd name="connsiteX4" fmla="*/ 890649 w 6032665"/>
              <a:gd name="connsiteY4" fmla="*/ 1164670 h 1224382"/>
              <a:gd name="connsiteX5" fmla="*/ 1175657 w 6032665"/>
              <a:gd name="connsiteY5" fmla="*/ 962790 h 1224382"/>
              <a:gd name="connsiteX6" fmla="*/ 1413163 w 6032665"/>
              <a:gd name="connsiteY6" fmla="*/ 1117169 h 1224382"/>
              <a:gd name="connsiteX7" fmla="*/ 1721922 w 6032665"/>
              <a:gd name="connsiteY7" fmla="*/ 962790 h 1224382"/>
              <a:gd name="connsiteX8" fmla="*/ 1983179 w 6032665"/>
              <a:gd name="connsiteY8" fmla="*/ 1129044 h 1224382"/>
              <a:gd name="connsiteX9" fmla="*/ 2280062 w 6032665"/>
              <a:gd name="connsiteY9" fmla="*/ 950915 h 1224382"/>
              <a:gd name="connsiteX10" fmla="*/ 2541319 w 6032665"/>
              <a:gd name="connsiteY10" fmla="*/ 1164670 h 1224382"/>
              <a:gd name="connsiteX11" fmla="*/ 2826327 w 6032665"/>
              <a:gd name="connsiteY11" fmla="*/ 1045917 h 1224382"/>
              <a:gd name="connsiteX12" fmla="*/ 3016332 w 6032665"/>
              <a:gd name="connsiteY12" fmla="*/ 1224047 h 1224382"/>
              <a:gd name="connsiteX13" fmla="*/ 3265714 w 6032665"/>
              <a:gd name="connsiteY13" fmla="*/ 1093418 h 1224382"/>
              <a:gd name="connsiteX14" fmla="*/ 3491345 w 6032665"/>
              <a:gd name="connsiteY14" fmla="*/ 1200296 h 1224382"/>
              <a:gd name="connsiteX15" fmla="*/ 3728852 w 6032665"/>
              <a:gd name="connsiteY15" fmla="*/ 1010291 h 1224382"/>
              <a:gd name="connsiteX16" fmla="*/ 4001984 w 6032665"/>
              <a:gd name="connsiteY16" fmla="*/ 1140920 h 1224382"/>
              <a:gd name="connsiteX17" fmla="*/ 4275117 w 6032665"/>
              <a:gd name="connsiteY17" fmla="*/ 891538 h 1224382"/>
              <a:gd name="connsiteX18" fmla="*/ 4476997 w 6032665"/>
              <a:gd name="connsiteY18" fmla="*/ 1045917 h 1224382"/>
              <a:gd name="connsiteX19" fmla="*/ 4738254 w 6032665"/>
              <a:gd name="connsiteY19" fmla="*/ 808411 h 1224382"/>
              <a:gd name="connsiteX20" fmla="*/ 4999511 w 6032665"/>
              <a:gd name="connsiteY20" fmla="*/ 1010291 h 1224382"/>
              <a:gd name="connsiteX21" fmla="*/ 5284519 w 6032665"/>
              <a:gd name="connsiteY21" fmla="*/ 760909 h 1224382"/>
              <a:gd name="connsiteX22" fmla="*/ 5415148 w 6032665"/>
              <a:gd name="connsiteY22" fmla="*/ 820286 h 1224382"/>
              <a:gd name="connsiteX23" fmla="*/ 5783283 w 6032665"/>
              <a:gd name="connsiteY23" fmla="*/ 889 h 1224382"/>
              <a:gd name="connsiteX24" fmla="*/ 5961413 w 6032665"/>
              <a:gd name="connsiteY24" fmla="*/ 998416 h 1224382"/>
              <a:gd name="connsiteX25" fmla="*/ 6032665 w 6032665"/>
              <a:gd name="connsiteY25" fmla="*/ 1081543 h 122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32665" h="1224382">
                <a:moveTo>
                  <a:pt x="0" y="1164670"/>
                </a:moveTo>
                <a:cubicBezTo>
                  <a:pt x="68283" y="1056802"/>
                  <a:pt x="136566" y="948935"/>
                  <a:pt x="201880" y="939039"/>
                </a:cubicBezTo>
                <a:cubicBezTo>
                  <a:pt x="267194" y="929143"/>
                  <a:pt x="318655" y="1093419"/>
                  <a:pt x="391886" y="1105294"/>
                </a:cubicBezTo>
                <a:cubicBezTo>
                  <a:pt x="465117" y="1117169"/>
                  <a:pt x="558140" y="1000395"/>
                  <a:pt x="641267" y="1010291"/>
                </a:cubicBezTo>
                <a:cubicBezTo>
                  <a:pt x="724394" y="1020187"/>
                  <a:pt x="801584" y="1172587"/>
                  <a:pt x="890649" y="1164670"/>
                </a:cubicBezTo>
                <a:cubicBezTo>
                  <a:pt x="979714" y="1156753"/>
                  <a:pt x="1088571" y="970707"/>
                  <a:pt x="1175657" y="962790"/>
                </a:cubicBezTo>
                <a:cubicBezTo>
                  <a:pt x="1262743" y="954873"/>
                  <a:pt x="1322119" y="1117169"/>
                  <a:pt x="1413163" y="1117169"/>
                </a:cubicBezTo>
                <a:cubicBezTo>
                  <a:pt x="1504207" y="1117169"/>
                  <a:pt x="1626919" y="960811"/>
                  <a:pt x="1721922" y="962790"/>
                </a:cubicBezTo>
                <a:cubicBezTo>
                  <a:pt x="1816925" y="964769"/>
                  <a:pt x="1890156" y="1131023"/>
                  <a:pt x="1983179" y="1129044"/>
                </a:cubicBezTo>
                <a:cubicBezTo>
                  <a:pt x="2076202" y="1127065"/>
                  <a:pt x="2187039" y="944977"/>
                  <a:pt x="2280062" y="950915"/>
                </a:cubicBezTo>
                <a:cubicBezTo>
                  <a:pt x="2373085" y="956853"/>
                  <a:pt x="2450275" y="1148836"/>
                  <a:pt x="2541319" y="1164670"/>
                </a:cubicBezTo>
                <a:cubicBezTo>
                  <a:pt x="2632363" y="1180504"/>
                  <a:pt x="2747158" y="1036021"/>
                  <a:pt x="2826327" y="1045917"/>
                </a:cubicBezTo>
                <a:cubicBezTo>
                  <a:pt x="2905496" y="1055813"/>
                  <a:pt x="2943101" y="1216130"/>
                  <a:pt x="3016332" y="1224047"/>
                </a:cubicBezTo>
                <a:cubicBezTo>
                  <a:pt x="3089563" y="1231964"/>
                  <a:pt x="3186545" y="1097376"/>
                  <a:pt x="3265714" y="1093418"/>
                </a:cubicBezTo>
                <a:cubicBezTo>
                  <a:pt x="3344883" y="1089459"/>
                  <a:pt x="3414155" y="1214151"/>
                  <a:pt x="3491345" y="1200296"/>
                </a:cubicBezTo>
                <a:cubicBezTo>
                  <a:pt x="3568535" y="1186441"/>
                  <a:pt x="3643746" y="1020187"/>
                  <a:pt x="3728852" y="1010291"/>
                </a:cubicBezTo>
                <a:cubicBezTo>
                  <a:pt x="3813958" y="1000395"/>
                  <a:pt x="3910940" y="1160712"/>
                  <a:pt x="4001984" y="1140920"/>
                </a:cubicBezTo>
                <a:cubicBezTo>
                  <a:pt x="4093028" y="1121128"/>
                  <a:pt x="4195948" y="907372"/>
                  <a:pt x="4275117" y="891538"/>
                </a:cubicBezTo>
                <a:cubicBezTo>
                  <a:pt x="4354286" y="875704"/>
                  <a:pt x="4399807" y="1059772"/>
                  <a:pt x="4476997" y="1045917"/>
                </a:cubicBezTo>
                <a:cubicBezTo>
                  <a:pt x="4554187" y="1032062"/>
                  <a:pt x="4651168" y="814349"/>
                  <a:pt x="4738254" y="808411"/>
                </a:cubicBezTo>
                <a:cubicBezTo>
                  <a:pt x="4825340" y="802473"/>
                  <a:pt x="4908467" y="1018208"/>
                  <a:pt x="4999511" y="1010291"/>
                </a:cubicBezTo>
                <a:cubicBezTo>
                  <a:pt x="5090555" y="1002374"/>
                  <a:pt x="5215246" y="792576"/>
                  <a:pt x="5284519" y="760909"/>
                </a:cubicBezTo>
                <a:cubicBezTo>
                  <a:pt x="5353792" y="729242"/>
                  <a:pt x="5332021" y="946956"/>
                  <a:pt x="5415148" y="820286"/>
                </a:cubicBezTo>
                <a:cubicBezTo>
                  <a:pt x="5498275" y="693616"/>
                  <a:pt x="5692239" y="-28799"/>
                  <a:pt x="5783283" y="889"/>
                </a:cubicBezTo>
                <a:cubicBezTo>
                  <a:pt x="5874327" y="30577"/>
                  <a:pt x="5919849" y="818307"/>
                  <a:pt x="5961413" y="998416"/>
                </a:cubicBezTo>
                <a:cubicBezTo>
                  <a:pt x="6002977" y="1178525"/>
                  <a:pt x="6016831" y="1063730"/>
                  <a:pt x="6032665" y="1081543"/>
                </a:cubicBezTo>
              </a:path>
            </a:pathLst>
          </a:custGeom>
          <a:noFill/>
          <a:ln w="28575">
            <a:solidFill>
              <a:srgbClr val="505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4"/>
          </a:p>
        </p:txBody>
      </p:sp>
      <p:sp>
        <p:nvSpPr>
          <p:cNvPr id="189" name="Freeform 188"/>
          <p:cNvSpPr/>
          <p:nvPr/>
        </p:nvSpPr>
        <p:spPr bwMode="auto">
          <a:xfrm>
            <a:off x="4385088" y="2424469"/>
            <a:ext cx="4220856" cy="921053"/>
          </a:xfrm>
          <a:custGeom>
            <a:avLst/>
            <a:gdLst>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38344 w 5662788"/>
              <a:gd name="connsiteY185" fmla="*/ 869182 h 1240971"/>
              <a:gd name="connsiteX186" fmla="*/ 4903659 w 5662788"/>
              <a:gd name="connsiteY186" fmla="*/ 874206 h 1240971"/>
              <a:gd name="connsiteX187" fmla="*/ 5009166 w 5662788"/>
              <a:gd name="connsiteY187" fmla="*/ 889279 h 1240971"/>
              <a:gd name="connsiteX188" fmla="*/ 5019215 w 5662788"/>
              <a:gd name="connsiteY188" fmla="*/ 904352 h 1240971"/>
              <a:gd name="connsiteX189" fmla="*/ 5034287 w 5662788"/>
              <a:gd name="connsiteY189" fmla="*/ 949569 h 1240971"/>
              <a:gd name="connsiteX190" fmla="*/ 5049360 w 5662788"/>
              <a:gd name="connsiteY190" fmla="*/ 954593 h 1240971"/>
              <a:gd name="connsiteX191" fmla="*/ 5089553 w 5662788"/>
              <a:gd name="connsiteY191" fmla="*/ 924448 h 1240971"/>
              <a:gd name="connsiteX192" fmla="*/ 5119698 w 5662788"/>
              <a:gd name="connsiteY192" fmla="*/ 909376 h 1240971"/>
              <a:gd name="connsiteX193" fmla="*/ 5149843 w 5662788"/>
              <a:gd name="connsiteY193" fmla="*/ 884255 h 1240971"/>
              <a:gd name="connsiteX194" fmla="*/ 5174964 w 5662788"/>
              <a:gd name="connsiteY194" fmla="*/ 874206 h 1240971"/>
              <a:gd name="connsiteX195" fmla="*/ 5200085 w 5662788"/>
              <a:gd name="connsiteY195" fmla="*/ 849086 h 1240971"/>
              <a:gd name="connsiteX196" fmla="*/ 5240278 w 5662788"/>
              <a:gd name="connsiteY196" fmla="*/ 823965 h 1240971"/>
              <a:gd name="connsiteX197" fmla="*/ 5265399 w 5662788"/>
              <a:gd name="connsiteY197" fmla="*/ 803868 h 1240971"/>
              <a:gd name="connsiteX198" fmla="*/ 5275448 w 5662788"/>
              <a:gd name="connsiteY198" fmla="*/ 793820 h 1240971"/>
              <a:gd name="connsiteX199" fmla="*/ 5290520 w 5662788"/>
              <a:gd name="connsiteY199" fmla="*/ 783771 h 1240971"/>
              <a:gd name="connsiteX200" fmla="*/ 5310617 w 5662788"/>
              <a:gd name="connsiteY200" fmla="*/ 768699 h 1240971"/>
              <a:gd name="connsiteX201" fmla="*/ 5340762 w 5662788"/>
              <a:gd name="connsiteY201" fmla="*/ 758650 h 1240971"/>
              <a:gd name="connsiteX202" fmla="*/ 5355835 w 5662788"/>
              <a:gd name="connsiteY202" fmla="*/ 763675 h 1240971"/>
              <a:gd name="connsiteX203" fmla="*/ 5385980 w 5662788"/>
              <a:gd name="connsiteY203" fmla="*/ 783771 h 1240971"/>
              <a:gd name="connsiteX204" fmla="*/ 5431197 w 5662788"/>
              <a:gd name="connsiteY204" fmla="*/ 768699 h 1240971"/>
              <a:gd name="connsiteX205" fmla="*/ 5441246 w 5662788"/>
              <a:gd name="connsiteY205" fmla="*/ 753626 h 1240971"/>
              <a:gd name="connsiteX206" fmla="*/ 5456318 w 5662788"/>
              <a:gd name="connsiteY206" fmla="*/ 708409 h 1240971"/>
              <a:gd name="connsiteX207" fmla="*/ 5466366 w 5662788"/>
              <a:gd name="connsiteY207" fmla="*/ 683288 h 1240971"/>
              <a:gd name="connsiteX208" fmla="*/ 5476415 w 5662788"/>
              <a:gd name="connsiteY208" fmla="*/ 643094 h 1240971"/>
              <a:gd name="connsiteX209" fmla="*/ 5491487 w 5662788"/>
              <a:gd name="connsiteY209" fmla="*/ 617973 h 1240971"/>
              <a:gd name="connsiteX210" fmla="*/ 5506560 w 5662788"/>
              <a:gd name="connsiteY210" fmla="*/ 572756 h 1240971"/>
              <a:gd name="connsiteX211" fmla="*/ 5526656 w 5662788"/>
              <a:gd name="connsiteY211" fmla="*/ 522514 h 1240971"/>
              <a:gd name="connsiteX212" fmla="*/ 5546753 w 5662788"/>
              <a:gd name="connsiteY212" fmla="*/ 467248 h 1240971"/>
              <a:gd name="connsiteX213" fmla="*/ 5556802 w 5662788"/>
              <a:gd name="connsiteY213" fmla="*/ 411982 h 1240971"/>
              <a:gd name="connsiteX214" fmla="*/ 5566850 w 5662788"/>
              <a:gd name="connsiteY214" fmla="*/ 381837 h 1240971"/>
              <a:gd name="connsiteX215" fmla="*/ 5576898 w 5662788"/>
              <a:gd name="connsiteY215" fmla="*/ 356716 h 1240971"/>
              <a:gd name="connsiteX216" fmla="*/ 5596995 w 5662788"/>
              <a:gd name="connsiteY216" fmla="*/ 316523 h 1240971"/>
              <a:gd name="connsiteX217" fmla="*/ 5617092 w 5662788"/>
              <a:gd name="connsiteY217" fmla="*/ 246184 h 1240971"/>
              <a:gd name="connsiteX218" fmla="*/ 5622116 w 5662788"/>
              <a:gd name="connsiteY218" fmla="*/ 226088 h 1240971"/>
              <a:gd name="connsiteX219" fmla="*/ 5632164 w 5662788"/>
              <a:gd name="connsiteY219" fmla="*/ 216039 h 1240971"/>
              <a:gd name="connsiteX220" fmla="*/ 5637188 w 5662788"/>
              <a:gd name="connsiteY220" fmla="*/ 200967 h 1240971"/>
              <a:gd name="connsiteX221" fmla="*/ 5642213 w 5662788"/>
              <a:gd name="connsiteY221" fmla="*/ 180870 h 1240971"/>
              <a:gd name="connsiteX222" fmla="*/ 5652261 w 5662788"/>
              <a:gd name="connsiteY222" fmla="*/ 165798 h 1240971"/>
              <a:gd name="connsiteX223" fmla="*/ 5662309 w 5662788"/>
              <a:gd name="connsiteY223" fmla="*/ 115556 h 1240971"/>
              <a:gd name="connsiteX224" fmla="*/ 5657285 w 5662788"/>
              <a:gd name="connsiteY224" fmla="*/ 80387 h 1240971"/>
              <a:gd name="connsiteX225" fmla="*/ 5627140 w 5662788"/>
              <a:gd name="connsiteY225" fmla="*/ 75363 h 1240971"/>
              <a:gd name="connsiteX226" fmla="*/ 5586947 w 5662788"/>
              <a:gd name="connsiteY226" fmla="*/ 65314 h 1240971"/>
              <a:gd name="connsiteX227" fmla="*/ 5406076 w 5662788"/>
              <a:gd name="connsiteY227" fmla="*/ 70338 h 1240971"/>
              <a:gd name="connsiteX228" fmla="*/ 5345786 w 5662788"/>
              <a:gd name="connsiteY228" fmla="*/ 75363 h 1240971"/>
              <a:gd name="connsiteX229" fmla="*/ 5330714 w 5662788"/>
              <a:gd name="connsiteY229" fmla="*/ 80387 h 1240971"/>
              <a:gd name="connsiteX230" fmla="*/ 5255351 w 5662788"/>
              <a:gd name="connsiteY230" fmla="*/ 85411 h 1240971"/>
              <a:gd name="connsiteX231" fmla="*/ 5049360 w 5662788"/>
              <a:gd name="connsiteY231" fmla="*/ 80387 h 1240971"/>
              <a:gd name="connsiteX232" fmla="*/ 4989070 w 5662788"/>
              <a:gd name="connsiteY232" fmla="*/ 65314 h 1240971"/>
              <a:gd name="connsiteX233" fmla="*/ 4943852 w 5662788"/>
              <a:gd name="connsiteY233" fmla="*/ 60290 h 1240971"/>
              <a:gd name="connsiteX234" fmla="*/ 4823272 w 5662788"/>
              <a:gd name="connsiteY234" fmla="*/ 50242 h 1240971"/>
              <a:gd name="connsiteX235" fmla="*/ 4677571 w 5662788"/>
              <a:gd name="connsiteY235" fmla="*/ 55266 h 1240971"/>
              <a:gd name="connsiteX236" fmla="*/ 4647426 w 5662788"/>
              <a:gd name="connsiteY236" fmla="*/ 60290 h 1240971"/>
              <a:gd name="connsiteX237" fmla="*/ 4577087 w 5662788"/>
              <a:gd name="connsiteY237" fmla="*/ 65314 h 1240971"/>
              <a:gd name="connsiteX238" fmla="*/ 4486652 w 5662788"/>
              <a:gd name="connsiteY238" fmla="*/ 75363 h 1240971"/>
              <a:gd name="connsiteX239" fmla="*/ 4139984 w 5662788"/>
              <a:gd name="connsiteY239" fmla="*/ 60290 h 1240971"/>
              <a:gd name="connsiteX240" fmla="*/ 3918920 w 5662788"/>
              <a:gd name="connsiteY240" fmla="*/ 50242 h 1240971"/>
              <a:gd name="connsiteX241" fmla="*/ 3873703 w 5662788"/>
              <a:gd name="connsiteY241" fmla="*/ 45217 h 1240971"/>
              <a:gd name="connsiteX242" fmla="*/ 3687808 w 5662788"/>
              <a:gd name="connsiteY242" fmla="*/ 40193 h 1240971"/>
              <a:gd name="connsiteX243" fmla="*/ 3662687 w 5662788"/>
              <a:gd name="connsiteY243" fmla="*/ 35169 h 1240971"/>
              <a:gd name="connsiteX244" fmla="*/ 3627518 w 5662788"/>
              <a:gd name="connsiteY244" fmla="*/ 25121 h 1240971"/>
              <a:gd name="connsiteX245" fmla="*/ 3547131 w 5662788"/>
              <a:gd name="connsiteY245" fmla="*/ 20097 h 1240971"/>
              <a:gd name="connsiteX246" fmla="*/ 3310995 w 5662788"/>
              <a:gd name="connsiteY246" fmla="*/ 25121 h 1240971"/>
              <a:gd name="connsiteX247" fmla="*/ 3265777 w 5662788"/>
              <a:gd name="connsiteY247" fmla="*/ 30145 h 1240971"/>
              <a:gd name="connsiteX248" fmla="*/ 3175342 w 5662788"/>
              <a:gd name="connsiteY248" fmla="*/ 35169 h 1240971"/>
              <a:gd name="connsiteX249" fmla="*/ 2582489 w 5662788"/>
              <a:gd name="connsiteY249" fmla="*/ 45217 h 1240971"/>
              <a:gd name="connsiteX250" fmla="*/ 2255918 w 5662788"/>
              <a:gd name="connsiteY250" fmla="*/ 40193 h 1240971"/>
              <a:gd name="connsiteX251" fmla="*/ 1974564 w 5662788"/>
              <a:gd name="connsiteY251" fmla="*/ 30145 h 1240971"/>
              <a:gd name="connsiteX252" fmla="*/ 1944419 w 5662788"/>
              <a:gd name="connsiteY252" fmla="*/ 25121 h 1240971"/>
              <a:gd name="connsiteX253" fmla="*/ 1848960 w 5662788"/>
              <a:gd name="connsiteY253" fmla="*/ 20097 h 1240971"/>
              <a:gd name="connsiteX254" fmla="*/ 1768573 w 5662788"/>
              <a:gd name="connsiteY254" fmla="*/ 10048 h 1240971"/>
              <a:gd name="connsiteX255" fmla="*/ 1502292 w 5662788"/>
              <a:gd name="connsiteY255" fmla="*/ 20097 h 1240971"/>
              <a:gd name="connsiteX256" fmla="*/ 1467122 w 5662788"/>
              <a:gd name="connsiteY256" fmla="*/ 25121 h 1240971"/>
              <a:gd name="connsiteX257" fmla="*/ 1426929 w 5662788"/>
              <a:gd name="connsiteY257" fmla="*/ 30145 h 1240971"/>
              <a:gd name="connsiteX258" fmla="*/ 1341518 w 5662788"/>
              <a:gd name="connsiteY258" fmla="*/ 45217 h 1240971"/>
              <a:gd name="connsiteX259" fmla="*/ 1095333 w 5662788"/>
              <a:gd name="connsiteY259" fmla="*/ 35169 h 1240971"/>
              <a:gd name="connsiteX260" fmla="*/ 979777 w 5662788"/>
              <a:gd name="connsiteY260" fmla="*/ 20097 h 1240971"/>
              <a:gd name="connsiteX261" fmla="*/ 939584 w 5662788"/>
              <a:gd name="connsiteY261" fmla="*/ 10048 h 1240971"/>
              <a:gd name="connsiteX262" fmla="*/ 813980 w 5662788"/>
              <a:gd name="connsiteY262" fmla="*/ 0 h 1240971"/>
              <a:gd name="connsiteX263" fmla="*/ 743641 w 5662788"/>
              <a:gd name="connsiteY263" fmla="*/ 5024 h 1240971"/>
              <a:gd name="connsiteX264" fmla="*/ 582867 w 5662788"/>
              <a:gd name="connsiteY264" fmla="*/ 15072 h 1240971"/>
              <a:gd name="connsiteX265" fmla="*/ 432142 w 5662788"/>
              <a:gd name="connsiteY265" fmla="*/ 5024 h 1240971"/>
              <a:gd name="connsiteX266" fmla="*/ 412046 w 5662788"/>
              <a:gd name="connsiteY266" fmla="*/ 0 h 1240971"/>
              <a:gd name="connsiteX267" fmla="*/ 281417 w 5662788"/>
              <a:gd name="connsiteY267" fmla="*/ 10048 h 1240971"/>
              <a:gd name="connsiteX268" fmla="*/ 261320 w 5662788"/>
              <a:gd name="connsiteY268" fmla="*/ 15072 h 1240971"/>
              <a:gd name="connsiteX269" fmla="*/ 100547 w 5662788"/>
              <a:gd name="connsiteY269" fmla="*/ 20097 h 1240971"/>
              <a:gd name="connsiteX270" fmla="*/ 5087 w 5662788"/>
              <a:gd name="connsiteY270"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38344 w 5662788"/>
              <a:gd name="connsiteY185" fmla="*/ 869182 h 1240971"/>
              <a:gd name="connsiteX186" fmla="*/ 4903659 w 5662788"/>
              <a:gd name="connsiteY186" fmla="*/ 874206 h 1240971"/>
              <a:gd name="connsiteX187" fmla="*/ 4942491 w 5662788"/>
              <a:gd name="connsiteY187" fmla="*/ 924998 h 1240971"/>
              <a:gd name="connsiteX188" fmla="*/ 5019215 w 5662788"/>
              <a:gd name="connsiteY188" fmla="*/ 904352 h 1240971"/>
              <a:gd name="connsiteX189" fmla="*/ 5034287 w 5662788"/>
              <a:gd name="connsiteY189" fmla="*/ 949569 h 1240971"/>
              <a:gd name="connsiteX190" fmla="*/ 5049360 w 5662788"/>
              <a:gd name="connsiteY190" fmla="*/ 954593 h 1240971"/>
              <a:gd name="connsiteX191" fmla="*/ 5089553 w 5662788"/>
              <a:gd name="connsiteY191" fmla="*/ 924448 h 1240971"/>
              <a:gd name="connsiteX192" fmla="*/ 5119698 w 5662788"/>
              <a:gd name="connsiteY192" fmla="*/ 909376 h 1240971"/>
              <a:gd name="connsiteX193" fmla="*/ 5149843 w 5662788"/>
              <a:gd name="connsiteY193" fmla="*/ 884255 h 1240971"/>
              <a:gd name="connsiteX194" fmla="*/ 5174964 w 5662788"/>
              <a:gd name="connsiteY194" fmla="*/ 874206 h 1240971"/>
              <a:gd name="connsiteX195" fmla="*/ 5200085 w 5662788"/>
              <a:gd name="connsiteY195" fmla="*/ 849086 h 1240971"/>
              <a:gd name="connsiteX196" fmla="*/ 5240278 w 5662788"/>
              <a:gd name="connsiteY196" fmla="*/ 823965 h 1240971"/>
              <a:gd name="connsiteX197" fmla="*/ 5265399 w 5662788"/>
              <a:gd name="connsiteY197" fmla="*/ 803868 h 1240971"/>
              <a:gd name="connsiteX198" fmla="*/ 5275448 w 5662788"/>
              <a:gd name="connsiteY198" fmla="*/ 793820 h 1240971"/>
              <a:gd name="connsiteX199" fmla="*/ 5290520 w 5662788"/>
              <a:gd name="connsiteY199" fmla="*/ 783771 h 1240971"/>
              <a:gd name="connsiteX200" fmla="*/ 5310617 w 5662788"/>
              <a:gd name="connsiteY200" fmla="*/ 768699 h 1240971"/>
              <a:gd name="connsiteX201" fmla="*/ 5340762 w 5662788"/>
              <a:gd name="connsiteY201" fmla="*/ 758650 h 1240971"/>
              <a:gd name="connsiteX202" fmla="*/ 5355835 w 5662788"/>
              <a:gd name="connsiteY202" fmla="*/ 763675 h 1240971"/>
              <a:gd name="connsiteX203" fmla="*/ 5385980 w 5662788"/>
              <a:gd name="connsiteY203" fmla="*/ 783771 h 1240971"/>
              <a:gd name="connsiteX204" fmla="*/ 5431197 w 5662788"/>
              <a:gd name="connsiteY204" fmla="*/ 768699 h 1240971"/>
              <a:gd name="connsiteX205" fmla="*/ 5441246 w 5662788"/>
              <a:gd name="connsiteY205" fmla="*/ 753626 h 1240971"/>
              <a:gd name="connsiteX206" fmla="*/ 5456318 w 5662788"/>
              <a:gd name="connsiteY206" fmla="*/ 708409 h 1240971"/>
              <a:gd name="connsiteX207" fmla="*/ 5466366 w 5662788"/>
              <a:gd name="connsiteY207" fmla="*/ 683288 h 1240971"/>
              <a:gd name="connsiteX208" fmla="*/ 5476415 w 5662788"/>
              <a:gd name="connsiteY208" fmla="*/ 643094 h 1240971"/>
              <a:gd name="connsiteX209" fmla="*/ 5491487 w 5662788"/>
              <a:gd name="connsiteY209" fmla="*/ 617973 h 1240971"/>
              <a:gd name="connsiteX210" fmla="*/ 5506560 w 5662788"/>
              <a:gd name="connsiteY210" fmla="*/ 572756 h 1240971"/>
              <a:gd name="connsiteX211" fmla="*/ 5526656 w 5662788"/>
              <a:gd name="connsiteY211" fmla="*/ 522514 h 1240971"/>
              <a:gd name="connsiteX212" fmla="*/ 5546753 w 5662788"/>
              <a:gd name="connsiteY212" fmla="*/ 467248 h 1240971"/>
              <a:gd name="connsiteX213" fmla="*/ 5556802 w 5662788"/>
              <a:gd name="connsiteY213" fmla="*/ 411982 h 1240971"/>
              <a:gd name="connsiteX214" fmla="*/ 5566850 w 5662788"/>
              <a:gd name="connsiteY214" fmla="*/ 381837 h 1240971"/>
              <a:gd name="connsiteX215" fmla="*/ 5576898 w 5662788"/>
              <a:gd name="connsiteY215" fmla="*/ 356716 h 1240971"/>
              <a:gd name="connsiteX216" fmla="*/ 5596995 w 5662788"/>
              <a:gd name="connsiteY216" fmla="*/ 316523 h 1240971"/>
              <a:gd name="connsiteX217" fmla="*/ 5617092 w 5662788"/>
              <a:gd name="connsiteY217" fmla="*/ 246184 h 1240971"/>
              <a:gd name="connsiteX218" fmla="*/ 5622116 w 5662788"/>
              <a:gd name="connsiteY218" fmla="*/ 226088 h 1240971"/>
              <a:gd name="connsiteX219" fmla="*/ 5632164 w 5662788"/>
              <a:gd name="connsiteY219" fmla="*/ 216039 h 1240971"/>
              <a:gd name="connsiteX220" fmla="*/ 5637188 w 5662788"/>
              <a:gd name="connsiteY220" fmla="*/ 200967 h 1240971"/>
              <a:gd name="connsiteX221" fmla="*/ 5642213 w 5662788"/>
              <a:gd name="connsiteY221" fmla="*/ 180870 h 1240971"/>
              <a:gd name="connsiteX222" fmla="*/ 5652261 w 5662788"/>
              <a:gd name="connsiteY222" fmla="*/ 165798 h 1240971"/>
              <a:gd name="connsiteX223" fmla="*/ 5662309 w 5662788"/>
              <a:gd name="connsiteY223" fmla="*/ 115556 h 1240971"/>
              <a:gd name="connsiteX224" fmla="*/ 5657285 w 5662788"/>
              <a:gd name="connsiteY224" fmla="*/ 80387 h 1240971"/>
              <a:gd name="connsiteX225" fmla="*/ 5627140 w 5662788"/>
              <a:gd name="connsiteY225" fmla="*/ 75363 h 1240971"/>
              <a:gd name="connsiteX226" fmla="*/ 5586947 w 5662788"/>
              <a:gd name="connsiteY226" fmla="*/ 65314 h 1240971"/>
              <a:gd name="connsiteX227" fmla="*/ 5406076 w 5662788"/>
              <a:gd name="connsiteY227" fmla="*/ 70338 h 1240971"/>
              <a:gd name="connsiteX228" fmla="*/ 5345786 w 5662788"/>
              <a:gd name="connsiteY228" fmla="*/ 75363 h 1240971"/>
              <a:gd name="connsiteX229" fmla="*/ 5330714 w 5662788"/>
              <a:gd name="connsiteY229" fmla="*/ 80387 h 1240971"/>
              <a:gd name="connsiteX230" fmla="*/ 5255351 w 5662788"/>
              <a:gd name="connsiteY230" fmla="*/ 85411 h 1240971"/>
              <a:gd name="connsiteX231" fmla="*/ 5049360 w 5662788"/>
              <a:gd name="connsiteY231" fmla="*/ 80387 h 1240971"/>
              <a:gd name="connsiteX232" fmla="*/ 4989070 w 5662788"/>
              <a:gd name="connsiteY232" fmla="*/ 65314 h 1240971"/>
              <a:gd name="connsiteX233" fmla="*/ 4943852 w 5662788"/>
              <a:gd name="connsiteY233" fmla="*/ 60290 h 1240971"/>
              <a:gd name="connsiteX234" fmla="*/ 4823272 w 5662788"/>
              <a:gd name="connsiteY234" fmla="*/ 50242 h 1240971"/>
              <a:gd name="connsiteX235" fmla="*/ 4677571 w 5662788"/>
              <a:gd name="connsiteY235" fmla="*/ 55266 h 1240971"/>
              <a:gd name="connsiteX236" fmla="*/ 4647426 w 5662788"/>
              <a:gd name="connsiteY236" fmla="*/ 60290 h 1240971"/>
              <a:gd name="connsiteX237" fmla="*/ 4577087 w 5662788"/>
              <a:gd name="connsiteY237" fmla="*/ 65314 h 1240971"/>
              <a:gd name="connsiteX238" fmla="*/ 4486652 w 5662788"/>
              <a:gd name="connsiteY238" fmla="*/ 75363 h 1240971"/>
              <a:gd name="connsiteX239" fmla="*/ 4139984 w 5662788"/>
              <a:gd name="connsiteY239" fmla="*/ 60290 h 1240971"/>
              <a:gd name="connsiteX240" fmla="*/ 3918920 w 5662788"/>
              <a:gd name="connsiteY240" fmla="*/ 50242 h 1240971"/>
              <a:gd name="connsiteX241" fmla="*/ 3873703 w 5662788"/>
              <a:gd name="connsiteY241" fmla="*/ 45217 h 1240971"/>
              <a:gd name="connsiteX242" fmla="*/ 3687808 w 5662788"/>
              <a:gd name="connsiteY242" fmla="*/ 40193 h 1240971"/>
              <a:gd name="connsiteX243" fmla="*/ 3662687 w 5662788"/>
              <a:gd name="connsiteY243" fmla="*/ 35169 h 1240971"/>
              <a:gd name="connsiteX244" fmla="*/ 3627518 w 5662788"/>
              <a:gd name="connsiteY244" fmla="*/ 25121 h 1240971"/>
              <a:gd name="connsiteX245" fmla="*/ 3547131 w 5662788"/>
              <a:gd name="connsiteY245" fmla="*/ 20097 h 1240971"/>
              <a:gd name="connsiteX246" fmla="*/ 3310995 w 5662788"/>
              <a:gd name="connsiteY246" fmla="*/ 25121 h 1240971"/>
              <a:gd name="connsiteX247" fmla="*/ 3265777 w 5662788"/>
              <a:gd name="connsiteY247" fmla="*/ 30145 h 1240971"/>
              <a:gd name="connsiteX248" fmla="*/ 3175342 w 5662788"/>
              <a:gd name="connsiteY248" fmla="*/ 35169 h 1240971"/>
              <a:gd name="connsiteX249" fmla="*/ 2582489 w 5662788"/>
              <a:gd name="connsiteY249" fmla="*/ 45217 h 1240971"/>
              <a:gd name="connsiteX250" fmla="*/ 2255918 w 5662788"/>
              <a:gd name="connsiteY250" fmla="*/ 40193 h 1240971"/>
              <a:gd name="connsiteX251" fmla="*/ 1974564 w 5662788"/>
              <a:gd name="connsiteY251" fmla="*/ 30145 h 1240971"/>
              <a:gd name="connsiteX252" fmla="*/ 1944419 w 5662788"/>
              <a:gd name="connsiteY252" fmla="*/ 25121 h 1240971"/>
              <a:gd name="connsiteX253" fmla="*/ 1848960 w 5662788"/>
              <a:gd name="connsiteY253" fmla="*/ 20097 h 1240971"/>
              <a:gd name="connsiteX254" fmla="*/ 1768573 w 5662788"/>
              <a:gd name="connsiteY254" fmla="*/ 10048 h 1240971"/>
              <a:gd name="connsiteX255" fmla="*/ 1502292 w 5662788"/>
              <a:gd name="connsiteY255" fmla="*/ 20097 h 1240971"/>
              <a:gd name="connsiteX256" fmla="*/ 1467122 w 5662788"/>
              <a:gd name="connsiteY256" fmla="*/ 25121 h 1240971"/>
              <a:gd name="connsiteX257" fmla="*/ 1426929 w 5662788"/>
              <a:gd name="connsiteY257" fmla="*/ 30145 h 1240971"/>
              <a:gd name="connsiteX258" fmla="*/ 1341518 w 5662788"/>
              <a:gd name="connsiteY258" fmla="*/ 45217 h 1240971"/>
              <a:gd name="connsiteX259" fmla="*/ 1095333 w 5662788"/>
              <a:gd name="connsiteY259" fmla="*/ 35169 h 1240971"/>
              <a:gd name="connsiteX260" fmla="*/ 979777 w 5662788"/>
              <a:gd name="connsiteY260" fmla="*/ 20097 h 1240971"/>
              <a:gd name="connsiteX261" fmla="*/ 939584 w 5662788"/>
              <a:gd name="connsiteY261" fmla="*/ 10048 h 1240971"/>
              <a:gd name="connsiteX262" fmla="*/ 813980 w 5662788"/>
              <a:gd name="connsiteY262" fmla="*/ 0 h 1240971"/>
              <a:gd name="connsiteX263" fmla="*/ 743641 w 5662788"/>
              <a:gd name="connsiteY263" fmla="*/ 5024 h 1240971"/>
              <a:gd name="connsiteX264" fmla="*/ 582867 w 5662788"/>
              <a:gd name="connsiteY264" fmla="*/ 15072 h 1240971"/>
              <a:gd name="connsiteX265" fmla="*/ 432142 w 5662788"/>
              <a:gd name="connsiteY265" fmla="*/ 5024 h 1240971"/>
              <a:gd name="connsiteX266" fmla="*/ 412046 w 5662788"/>
              <a:gd name="connsiteY266" fmla="*/ 0 h 1240971"/>
              <a:gd name="connsiteX267" fmla="*/ 281417 w 5662788"/>
              <a:gd name="connsiteY267" fmla="*/ 10048 h 1240971"/>
              <a:gd name="connsiteX268" fmla="*/ 261320 w 5662788"/>
              <a:gd name="connsiteY268" fmla="*/ 15072 h 1240971"/>
              <a:gd name="connsiteX269" fmla="*/ 100547 w 5662788"/>
              <a:gd name="connsiteY269" fmla="*/ 20097 h 1240971"/>
              <a:gd name="connsiteX270" fmla="*/ 5087 w 5662788"/>
              <a:gd name="connsiteY270"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38344 w 5662788"/>
              <a:gd name="connsiteY185" fmla="*/ 869182 h 1240971"/>
              <a:gd name="connsiteX186" fmla="*/ 4877465 w 5662788"/>
              <a:gd name="connsiteY186" fmla="*/ 895638 h 1240971"/>
              <a:gd name="connsiteX187" fmla="*/ 4942491 w 5662788"/>
              <a:gd name="connsiteY187" fmla="*/ 924998 h 1240971"/>
              <a:gd name="connsiteX188" fmla="*/ 5019215 w 5662788"/>
              <a:gd name="connsiteY188" fmla="*/ 904352 h 1240971"/>
              <a:gd name="connsiteX189" fmla="*/ 5034287 w 5662788"/>
              <a:gd name="connsiteY189" fmla="*/ 949569 h 1240971"/>
              <a:gd name="connsiteX190" fmla="*/ 5049360 w 5662788"/>
              <a:gd name="connsiteY190" fmla="*/ 954593 h 1240971"/>
              <a:gd name="connsiteX191" fmla="*/ 5089553 w 5662788"/>
              <a:gd name="connsiteY191" fmla="*/ 924448 h 1240971"/>
              <a:gd name="connsiteX192" fmla="*/ 5119698 w 5662788"/>
              <a:gd name="connsiteY192" fmla="*/ 909376 h 1240971"/>
              <a:gd name="connsiteX193" fmla="*/ 5149843 w 5662788"/>
              <a:gd name="connsiteY193" fmla="*/ 884255 h 1240971"/>
              <a:gd name="connsiteX194" fmla="*/ 5174964 w 5662788"/>
              <a:gd name="connsiteY194" fmla="*/ 874206 h 1240971"/>
              <a:gd name="connsiteX195" fmla="*/ 5200085 w 5662788"/>
              <a:gd name="connsiteY195" fmla="*/ 849086 h 1240971"/>
              <a:gd name="connsiteX196" fmla="*/ 5240278 w 5662788"/>
              <a:gd name="connsiteY196" fmla="*/ 823965 h 1240971"/>
              <a:gd name="connsiteX197" fmla="*/ 5265399 w 5662788"/>
              <a:gd name="connsiteY197" fmla="*/ 803868 h 1240971"/>
              <a:gd name="connsiteX198" fmla="*/ 5275448 w 5662788"/>
              <a:gd name="connsiteY198" fmla="*/ 793820 h 1240971"/>
              <a:gd name="connsiteX199" fmla="*/ 5290520 w 5662788"/>
              <a:gd name="connsiteY199" fmla="*/ 783771 h 1240971"/>
              <a:gd name="connsiteX200" fmla="*/ 5310617 w 5662788"/>
              <a:gd name="connsiteY200" fmla="*/ 768699 h 1240971"/>
              <a:gd name="connsiteX201" fmla="*/ 5340762 w 5662788"/>
              <a:gd name="connsiteY201" fmla="*/ 758650 h 1240971"/>
              <a:gd name="connsiteX202" fmla="*/ 5355835 w 5662788"/>
              <a:gd name="connsiteY202" fmla="*/ 763675 h 1240971"/>
              <a:gd name="connsiteX203" fmla="*/ 5385980 w 5662788"/>
              <a:gd name="connsiteY203" fmla="*/ 783771 h 1240971"/>
              <a:gd name="connsiteX204" fmla="*/ 5431197 w 5662788"/>
              <a:gd name="connsiteY204" fmla="*/ 768699 h 1240971"/>
              <a:gd name="connsiteX205" fmla="*/ 5441246 w 5662788"/>
              <a:gd name="connsiteY205" fmla="*/ 753626 h 1240971"/>
              <a:gd name="connsiteX206" fmla="*/ 5456318 w 5662788"/>
              <a:gd name="connsiteY206" fmla="*/ 708409 h 1240971"/>
              <a:gd name="connsiteX207" fmla="*/ 5466366 w 5662788"/>
              <a:gd name="connsiteY207" fmla="*/ 683288 h 1240971"/>
              <a:gd name="connsiteX208" fmla="*/ 5476415 w 5662788"/>
              <a:gd name="connsiteY208" fmla="*/ 643094 h 1240971"/>
              <a:gd name="connsiteX209" fmla="*/ 5491487 w 5662788"/>
              <a:gd name="connsiteY209" fmla="*/ 617973 h 1240971"/>
              <a:gd name="connsiteX210" fmla="*/ 5506560 w 5662788"/>
              <a:gd name="connsiteY210" fmla="*/ 572756 h 1240971"/>
              <a:gd name="connsiteX211" fmla="*/ 5526656 w 5662788"/>
              <a:gd name="connsiteY211" fmla="*/ 522514 h 1240971"/>
              <a:gd name="connsiteX212" fmla="*/ 5546753 w 5662788"/>
              <a:gd name="connsiteY212" fmla="*/ 467248 h 1240971"/>
              <a:gd name="connsiteX213" fmla="*/ 5556802 w 5662788"/>
              <a:gd name="connsiteY213" fmla="*/ 411982 h 1240971"/>
              <a:gd name="connsiteX214" fmla="*/ 5566850 w 5662788"/>
              <a:gd name="connsiteY214" fmla="*/ 381837 h 1240971"/>
              <a:gd name="connsiteX215" fmla="*/ 5576898 w 5662788"/>
              <a:gd name="connsiteY215" fmla="*/ 356716 h 1240971"/>
              <a:gd name="connsiteX216" fmla="*/ 5596995 w 5662788"/>
              <a:gd name="connsiteY216" fmla="*/ 316523 h 1240971"/>
              <a:gd name="connsiteX217" fmla="*/ 5617092 w 5662788"/>
              <a:gd name="connsiteY217" fmla="*/ 246184 h 1240971"/>
              <a:gd name="connsiteX218" fmla="*/ 5622116 w 5662788"/>
              <a:gd name="connsiteY218" fmla="*/ 226088 h 1240971"/>
              <a:gd name="connsiteX219" fmla="*/ 5632164 w 5662788"/>
              <a:gd name="connsiteY219" fmla="*/ 216039 h 1240971"/>
              <a:gd name="connsiteX220" fmla="*/ 5637188 w 5662788"/>
              <a:gd name="connsiteY220" fmla="*/ 200967 h 1240971"/>
              <a:gd name="connsiteX221" fmla="*/ 5642213 w 5662788"/>
              <a:gd name="connsiteY221" fmla="*/ 180870 h 1240971"/>
              <a:gd name="connsiteX222" fmla="*/ 5652261 w 5662788"/>
              <a:gd name="connsiteY222" fmla="*/ 165798 h 1240971"/>
              <a:gd name="connsiteX223" fmla="*/ 5662309 w 5662788"/>
              <a:gd name="connsiteY223" fmla="*/ 115556 h 1240971"/>
              <a:gd name="connsiteX224" fmla="*/ 5657285 w 5662788"/>
              <a:gd name="connsiteY224" fmla="*/ 80387 h 1240971"/>
              <a:gd name="connsiteX225" fmla="*/ 5627140 w 5662788"/>
              <a:gd name="connsiteY225" fmla="*/ 75363 h 1240971"/>
              <a:gd name="connsiteX226" fmla="*/ 5586947 w 5662788"/>
              <a:gd name="connsiteY226" fmla="*/ 65314 h 1240971"/>
              <a:gd name="connsiteX227" fmla="*/ 5406076 w 5662788"/>
              <a:gd name="connsiteY227" fmla="*/ 70338 h 1240971"/>
              <a:gd name="connsiteX228" fmla="*/ 5345786 w 5662788"/>
              <a:gd name="connsiteY228" fmla="*/ 75363 h 1240971"/>
              <a:gd name="connsiteX229" fmla="*/ 5330714 w 5662788"/>
              <a:gd name="connsiteY229" fmla="*/ 80387 h 1240971"/>
              <a:gd name="connsiteX230" fmla="*/ 5255351 w 5662788"/>
              <a:gd name="connsiteY230" fmla="*/ 85411 h 1240971"/>
              <a:gd name="connsiteX231" fmla="*/ 5049360 w 5662788"/>
              <a:gd name="connsiteY231" fmla="*/ 80387 h 1240971"/>
              <a:gd name="connsiteX232" fmla="*/ 4989070 w 5662788"/>
              <a:gd name="connsiteY232" fmla="*/ 65314 h 1240971"/>
              <a:gd name="connsiteX233" fmla="*/ 4943852 w 5662788"/>
              <a:gd name="connsiteY233" fmla="*/ 60290 h 1240971"/>
              <a:gd name="connsiteX234" fmla="*/ 4823272 w 5662788"/>
              <a:gd name="connsiteY234" fmla="*/ 50242 h 1240971"/>
              <a:gd name="connsiteX235" fmla="*/ 4677571 w 5662788"/>
              <a:gd name="connsiteY235" fmla="*/ 55266 h 1240971"/>
              <a:gd name="connsiteX236" fmla="*/ 4647426 w 5662788"/>
              <a:gd name="connsiteY236" fmla="*/ 60290 h 1240971"/>
              <a:gd name="connsiteX237" fmla="*/ 4577087 w 5662788"/>
              <a:gd name="connsiteY237" fmla="*/ 65314 h 1240971"/>
              <a:gd name="connsiteX238" fmla="*/ 4486652 w 5662788"/>
              <a:gd name="connsiteY238" fmla="*/ 75363 h 1240971"/>
              <a:gd name="connsiteX239" fmla="*/ 4139984 w 5662788"/>
              <a:gd name="connsiteY239" fmla="*/ 60290 h 1240971"/>
              <a:gd name="connsiteX240" fmla="*/ 3918920 w 5662788"/>
              <a:gd name="connsiteY240" fmla="*/ 50242 h 1240971"/>
              <a:gd name="connsiteX241" fmla="*/ 3873703 w 5662788"/>
              <a:gd name="connsiteY241" fmla="*/ 45217 h 1240971"/>
              <a:gd name="connsiteX242" fmla="*/ 3687808 w 5662788"/>
              <a:gd name="connsiteY242" fmla="*/ 40193 h 1240971"/>
              <a:gd name="connsiteX243" fmla="*/ 3662687 w 5662788"/>
              <a:gd name="connsiteY243" fmla="*/ 35169 h 1240971"/>
              <a:gd name="connsiteX244" fmla="*/ 3627518 w 5662788"/>
              <a:gd name="connsiteY244" fmla="*/ 25121 h 1240971"/>
              <a:gd name="connsiteX245" fmla="*/ 3547131 w 5662788"/>
              <a:gd name="connsiteY245" fmla="*/ 20097 h 1240971"/>
              <a:gd name="connsiteX246" fmla="*/ 3310995 w 5662788"/>
              <a:gd name="connsiteY246" fmla="*/ 25121 h 1240971"/>
              <a:gd name="connsiteX247" fmla="*/ 3265777 w 5662788"/>
              <a:gd name="connsiteY247" fmla="*/ 30145 h 1240971"/>
              <a:gd name="connsiteX248" fmla="*/ 3175342 w 5662788"/>
              <a:gd name="connsiteY248" fmla="*/ 35169 h 1240971"/>
              <a:gd name="connsiteX249" fmla="*/ 2582489 w 5662788"/>
              <a:gd name="connsiteY249" fmla="*/ 45217 h 1240971"/>
              <a:gd name="connsiteX250" fmla="*/ 2255918 w 5662788"/>
              <a:gd name="connsiteY250" fmla="*/ 40193 h 1240971"/>
              <a:gd name="connsiteX251" fmla="*/ 1974564 w 5662788"/>
              <a:gd name="connsiteY251" fmla="*/ 30145 h 1240971"/>
              <a:gd name="connsiteX252" fmla="*/ 1944419 w 5662788"/>
              <a:gd name="connsiteY252" fmla="*/ 25121 h 1240971"/>
              <a:gd name="connsiteX253" fmla="*/ 1848960 w 5662788"/>
              <a:gd name="connsiteY253" fmla="*/ 20097 h 1240971"/>
              <a:gd name="connsiteX254" fmla="*/ 1768573 w 5662788"/>
              <a:gd name="connsiteY254" fmla="*/ 10048 h 1240971"/>
              <a:gd name="connsiteX255" fmla="*/ 1502292 w 5662788"/>
              <a:gd name="connsiteY255" fmla="*/ 20097 h 1240971"/>
              <a:gd name="connsiteX256" fmla="*/ 1467122 w 5662788"/>
              <a:gd name="connsiteY256" fmla="*/ 25121 h 1240971"/>
              <a:gd name="connsiteX257" fmla="*/ 1426929 w 5662788"/>
              <a:gd name="connsiteY257" fmla="*/ 30145 h 1240971"/>
              <a:gd name="connsiteX258" fmla="*/ 1341518 w 5662788"/>
              <a:gd name="connsiteY258" fmla="*/ 45217 h 1240971"/>
              <a:gd name="connsiteX259" fmla="*/ 1095333 w 5662788"/>
              <a:gd name="connsiteY259" fmla="*/ 35169 h 1240971"/>
              <a:gd name="connsiteX260" fmla="*/ 979777 w 5662788"/>
              <a:gd name="connsiteY260" fmla="*/ 20097 h 1240971"/>
              <a:gd name="connsiteX261" fmla="*/ 939584 w 5662788"/>
              <a:gd name="connsiteY261" fmla="*/ 10048 h 1240971"/>
              <a:gd name="connsiteX262" fmla="*/ 813980 w 5662788"/>
              <a:gd name="connsiteY262" fmla="*/ 0 h 1240971"/>
              <a:gd name="connsiteX263" fmla="*/ 743641 w 5662788"/>
              <a:gd name="connsiteY263" fmla="*/ 5024 h 1240971"/>
              <a:gd name="connsiteX264" fmla="*/ 582867 w 5662788"/>
              <a:gd name="connsiteY264" fmla="*/ 15072 h 1240971"/>
              <a:gd name="connsiteX265" fmla="*/ 432142 w 5662788"/>
              <a:gd name="connsiteY265" fmla="*/ 5024 h 1240971"/>
              <a:gd name="connsiteX266" fmla="*/ 412046 w 5662788"/>
              <a:gd name="connsiteY266" fmla="*/ 0 h 1240971"/>
              <a:gd name="connsiteX267" fmla="*/ 281417 w 5662788"/>
              <a:gd name="connsiteY267" fmla="*/ 10048 h 1240971"/>
              <a:gd name="connsiteX268" fmla="*/ 261320 w 5662788"/>
              <a:gd name="connsiteY268" fmla="*/ 15072 h 1240971"/>
              <a:gd name="connsiteX269" fmla="*/ 100547 w 5662788"/>
              <a:gd name="connsiteY269" fmla="*/ 20097 h 1240971"/>
              <a:gd name="connsiteX270" fmla="*/ 5087 w 5662788"/>
              <a:gd name="connsiteY270"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42491 w 5662788"/>
              <a:gd name="connsiteY187" fmla="*/ 924998 h 1240971"/>
              <a:gd name="connsiteX188" fmla="*/ 5019215 w 5662788"/>
              <a:gd name="connsiteY188" fmla="*/ 904352 h 1240971"/>
              <a:gd name="connsiteX189" fmla="*/ 5034287 w 5662788"/>
              <a:gd name="connsiteY189" fmla="*/ 949569 h 1240971"/>
              <a:gd name="connsiteX190" fmla="*/ 5049360 w 5662788"/>
              <a:gd name="connsiteY190" fmla="*/ 954593 h 1240971"/>
              <a:gd name="connsiteX191" fmla="*/ 5089553 w 5662788"/>
              <a:gd name="connsiteY191" fmla="*/ 924448 h 1240971"/>
              <a:gd name="connsiteX192" fmla="*/ 5119698 w 5662788"/>
              <a:gd name="connsiteY192" fmla="*/ 909376 h 1240971"/>
              <a:gd name="connsiteX193" fmla="*/ 5149843 w 5662788"/>
              <a:gd name="connsiteY193" fmla="*/ 884255 h 1240971"/>
              <a:gd name="connsiteX194" fmla="*/ 5174964 w 5662788"/>
              <a:gd name="connsiteY194" fmla="*/ 874206 h 1240971"/>
              <a:gd name="connsiteX195" fmla="*/ 5200085 w 5662788"/>
              <a:gd name="connsiteY195" fmla="*/ 849086 h 1240971"/>
              <a:gd name="connsiteX196" fmla="*/ 5240278 w 5662788"/>
              <a:gd name="connsiteY196" fmla="*/ 823965 h 1240971"/>
              <a:gd name="connsiteX197" fmla="*/ 5265399 w 5662788"/>
              <a:gd name="connsiteY197" fmla="*/ 803868 h 1240971"/>
              <a:gd name="connsiteX198" fmla="*/ 5275448 w 5662788"/>
              <a:gd name="connsiteY198" fmla="*/ 793820 h 1240971"/>
              <a:gd name="connsiteX199" fmla="*/ 5290520 w 5662788"/>
              <a:gd name="connsiteY199" fmla="*/ 783771 h 1240971"/>
              <a:gd name="connsiteX200" fmla="*/ 5310617 w 5662788"/>
              <a:gd name="connsiteY200" fmla="*/ 768699 h 1240971"/>
              <a:gd name="connsiteX201" fmla="*/ 5340762 w 5662788"/>
              <a:gd name="connsiteY201" fmla="*/ 758650 h 1240971"/>
              <a:gd name="connsiteX202" fmla="*/ 5355835 w 5662788"/>
              <a:gd name="connsiteY202" fmla="*/ 763675 h 1240971"/>
              <a:gd name="connsiteX203" fmla="*/ 5385980 w 5662788"/>
              <a:gd name="connsiteY203" fmla="*/ 783771 h 1240971"/>
              <a:gd name="connsiteX204" fmla="*/ 5431197 w 5662788"/>
              <a:gd name="connsiteY204" fmla="*/ 768699 h 1240971"/>
              <a:gd name="connsiteX205" fmla="*/ 5441246 w 5662788"/>
              <a:gd name="connsiteY205" fmla="*/ 753626 h 1240971"/>
              <a:gd name="connsiteX206" fmla="*/ 5456318 w 5662788"/>
              <a:gd name="connsiteY206" fmla="*/ 708409 h 1240971"/>
              <a:gd name="connsiteX207" fmla="*/ 5466366 w 5662788"/>
              <a:gd name="connsiteY207" fmla="*/ 683288 h 1240971"/>
              <a:gd name="connsiteX208" fmla="*/ 5476415 w 5662788"/>
              <a:gd name="connsiteY208" fmla="*/ 643094 h 1240971"/>
              <a:gd name="connsiteX209" fmla="*/ 5491487 w 5662788"/>
              <a:gd name="connsiteY209" fmla="*/ 617973 h 1240971"/>
              <a:gd name="connsiteX210" fmla="*/ 5506560 w 5662788"/>
              <a:gd name="connsiteY210" fmla="*/ 572756 h 1240971"/>
              <a:gd name="connsiteX211" fmla="*/ 5526656 w 5662788"/>
              <a:gd name="connsiteY211" fmla="*/ 522514 h 1240971"/>
              <a:gd name="connsiteX212" fmla="*/ 5546753 w 5662788"/>
              <a:gd name="connsiteY212" fmla="*/ 467248 h 1240971"/>
              <a:gd name="connsiteX213" fmla="*/ 5556802 w 5662788"/>
              <a:gd name="connsiteY213" fmla="*/ 411982 h 1240971"/>
              <a:gd name="connsiteX214" fmla="*/ 5566850 w 5662788"/>
              <a:gd name="connsiteY214" fmla="*/ 381837 h 1240971"/>
              <a:gd name="connsiteX215" fmla="*/ 5576898 w 5662788"/>
              <a:gd name="connsiteY215" fmla="*/ 356716 h 1240971"/>
              <a:gd name="connsiteX216" fmla="*/ 5596995 w 5662788"/>
              <a:gd name="connsiteY216" fmla="*/ 316523 h 1240971"/>
              <a:gd name="connsiteX217" fmla="*/ 5617092 w 5662788"/>
              <a:gd name="connsiteY217" fmla="*/ 246184 h 1240971"/>
              <a:gd name="connsiteX218" fmla="*/ 5622116 w 5662788"/>
              <a:gd name="connsiteY218" fmla="*/ 226088 h 1240971"/>
              <a:gd name="connsiteX219" fmla="*/ 5632164 w 5662788"/>
              <a:gd name="connsiteY219" fmla="*/ 216039 h 1240971"/>
              <a:gd name="connsiteX220" fmla="*/ 5637188 w 5662788"/>
              <a:gd name="connsiteY220" fmla="*/ 200967 h 1240971"/>
              <a:gd name="connsiteX221" fmla="*/ 5642213 w 5662788"/>
              <a:gd name="connsiteY221" fmla="*/ 180870 h 1240971"/>
              <a:gd name="connsiteX222" fmla="*/ 5652261 w 5662788"/>
              <a:gd name="connsiteY222" fmla="*/ 165798 h 1240971"/>
              <a:gd name="connsiteX223" fmla="*/ 5662309 w 5662788"/>
              <a:gd name="connsiteY223" fmla="*/ 115556 h 1240971"/>
              <a:gd name="connsiteX224" fmla="*/ 5657285 w 5662788"/>
              <a:gd name="connsiteY224" fmla="*/ 80387 h 1240971"/>
              <a:gd name="connsiteX225" fmla="*/ 5627140 w 5662788"/>
              <a:gd name="connsiteY225" fmla="*/ 75363 h 1240971"/>
              <a:gd name="connsiteX226" fmla="*/ 5586947 w 5662788"/>
              <a:gd name="connsiteY226" fmla="*/ 65314 h 1240971"/>
              <a:gd name="connsiteX227" fmla="*/ 5406076 w 5662788"/>
              <a:gd name="connsiteY227" fmla="*/ 70338 h 1240971"/>
              <a:gd name="connsiteX228" fmla="*/ 5345786 w 5662788"/>
              <a:gd name="connsiteY228" fmla="*/ 75363 h 1240971"/>
              <a:gd name="connsiteX229" fmla="*/ 5330714 w 5662788"/>
              <a:gd name="connsiteY229" fmla="*/ 80387 h 1240971"/>
              <a:gd name="connsiteX230" fmla="*/ 5255351 w 5662788"/>
              <a:gd name="connsiteY230" fmla="*/ 85411 h 1240971"/>
              <a:gd name="connsiteX231" fmla="*/ 5049360 w 5662788"/>
              <a:gd name="connsiteY231" fmla="*/ 80387 h 1240971"/>
              <a:gd name="connsiteX232" fmla="*/ 4989070 w 5662788"/>
              <a:gd name="connsiteY232" fmla="*/ 65314 h 1240971"/>
              <a:gd name="connsiteX233" fmla="*/ 4943852 w 5662788"/>
              <a:gd name="connsiteY233" fmla="*/ 60290 h 1240971"/>
              <a:gd name="connsiteX234" fmla="*/ 4823272 w 5662788"/>
              <a:gd name="connsiteY234" fmla="*/ 50242 h 1240971"/>
              <a:gd name="connsiteX235" fmla="*/ 4677571 w 5662788"/>
              <a:gd name="connsiteY235" fmla="*/ 55266 h 1240971"/>
              <a:gd name="connsiteX236" fmla="*/ 4647426 w 5662788"/>
              <a:gd name="connsiteY236" fmla="*/ 60290 h 1240971"/>
              <a:gd name="connsiteX237" fmla="*/ 4577087 w 5662788"/>
              <a:gd name="connsiteY237" fmla="*/ 65314 h 1240971"/>
              <a:gd name="connsiteX238" fmla="*/ 4486652 w 5662788"/>
              <a:gd name="connsiteY238" fmla="*/ 75363 h 1240971"/>
              <a:gd name="connsiteX239" fmla="*/ 4139984 w 5662788"/>
              <a:gd name="connsiteY239" fmla="*/ 60290 h 1240971"/>
              <a:gd name="connsiteX240" fmla="*/ 3918920 w 5662788"/>
              <a:gd name="connsiteY240" fmla="*/ 50242 h 1240971"/>
              <a:gd name="connsiteX241" fmla="*/ 3873703 w 5662788"/>
              <a:gd name="connsiteY241" fmla="*/ 45217 h 1240971"/>
              <a:gd name="connsiteX242" fmla="*/ 3687808 w 5662788"/>
              <a:gd name="connsiteY242" fmla="*/ 40193 h 1240971"/>
              <a:gd name="connsiteX243" fmla="*/ 3662687 w 5662788"/>
              <a:gd name="connsiteY243" fmla="*/ 35169 h 1240971"/>
              <a:gd name="connsiteX244" fmla="*/ 3627518 w 5662788"/>
              <a:gd name="connsiteY244" fmla="*/ 25121 h 1240971"/>
              <a:gd name="connsiteX245" fmla="*/ 3547131 w 5662788"/>
              <a:gd name="connsiteY245" fmla="*/ 20097 h 1240971"/>
              <a:gd name="connsiteX246" fmla="*/ 3310995 w 5662788"/>
              <a:gd name="connsiteY246" fmla="*/ 25121 h 1240971"/>
              <a:gd name="connsiteX247" fmla="*/ 3265777 w 5662788"/>
              <a:gd name="connsiteY247" fmla="*/ 30145 h 1240971"/>
              <a:gd name="connsiteX248" fmla="*/ 3175342 w 5662788"/>
              <a:gd name="connsiteY248" fmla="*/ 35169 h 1240971"/>
              <a:gd name="connsiteX249" fmla="*/ 2582489 w 5662788"/>
              <a:gd name="connsiteY249" fmla="*/ 45217 h 1240971"/>
              <a:gd name="connsiteX250" fmla="*/ 2255918 w 5662788"/>
              <a:gd name="connsiteY250" fmla="*/ 40193 h 1240971"/>
              <a:gd name="connsiteX251" fmla="*/ 1974564 w 5662788"/>
              <a:gd name="connsiteY251" fmla="*/ 30145 h 1240971"/>
              <a:gd name="connsiteX252" fmla="*/ 1944419 w 5662788"/>
              <a:gd name="connsiteY252" fmla="*/ 25121 h 1240971"/>
              <a:gd name="connsiteX253" fmla="*/ 1848960 w 5662788"/>
              <a:gd name="connsiteY253" fmla="*/ 20097 h 1240971"/>
              <a:gd name="connsiteX254" fmla="*/ 1768573 w 5662788"/>
              <a:gd name="connsiteY254" fmla="*/ 10048 h 1240971"/>
              <a:gd name="connsiteX255" fmla="*/ 1502292 w 5662788"/>
              <a:gd name="connsiteY255" fmla="*/ 20097 h 1240971"/>
              <a:gd name="connsiteX256" fmla="*/ 1467122 w 5662788"/>
              <a:gd name="connsiteY256" fmla="*/ 25121 h 1240971"/>
              <a:gd name="connsiteX257" fmla="*/ 1426929 w 5662788"/>
              <a:gd name="connsiteY257" fmla="*/ 30145 h 1240971"/>
              <a:gd name="connsiteX258" fmla="*/ 1341518 w 5662788"/>
              <a:gd name="connsiteY258" fmla="*/ 45217 h 1240971"/>
              <a:gd name="connsiteX259" fmla="*/ 1095333 w 5662788"/>
              <a:gd name="connsiteY259" fmla="*/ 35169 h 1240971"/>
              <a:gd name="connsiteX260" fmla="*/ 979777 w 5662788"/>
              <a:gd name="connsiteY260" fmla="*/ 20097 h 1240971"/>
              <a:gd name="connsiteX261" fmla="*/ 939584 w 5662788"/>
              <a:gd name="connsiteY261" fmla="*/ 10048 h 1240971"/>
              <a:gd name="connsiteX262" fmla="*/ 813980 w 5662788"/>
              <a:gd name="connsiteY262" fmla="*/ 0 h 1240971"/>
              <a:gd name="connsiteX263" fmla="*/ 743641 w 5662788"/>
              <a:gd name="connsiteY263" fmla="*/ 5024 h 1240971"/>
              <a:gd name="connsiteX264" fmla="*/ 582867 w 5662788"/>
              <a:gd name="connsiteY264" fmla="*/ 15072 h 1240971"/>
              <a:gd name="connsiteX265" fmla="*/ 432142 w 5662788"/>
              <a:gd name="connsiteY265" fmla="*/ 5024 h 1240971"/>
              <a:gd name="connsiteX266" fmla="*/ 412046 w 5662788"/>
              <a:gd name="connsiteY266" fmla="*/ 0 h 1240971"/>
              <a:gd name="connsiteX267" fmla="*/ 281417 w 5662788"/>
              <a:gd name="connsiteY267" fmla="*/ 10048 h 1240971"/>
              <a:gd name="connsiteX268" fmla="*/ 261320 w 5662788"/>
              <a:gd name="connsiteY268" fmla="*/ 15072 h 1240971"/>
              <a:gd name="connsiteX269" fmla="*/ 100547 w 5662788"/>
              <a:gd name="connsiteY269" fmla="*/ 20097 h 1240971"/>
              <a:gd name="connsiteX270" fmla="*/ 5087 w 5662788"/>
              <a:gd name="connsiteY270"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42491 w 5662788"/>
              <a:gd name="connsiteY187" fmla="*/ 924998 h 1240971"/>
              <a:gd name="connsiteX188" fmla="*/ 4995402 w 5662788"/>
              <a:gd name="connsiteY188" fmla="*/ 1006746 h 1240971"/>
              <a:gd name="connsiteX189" fmla="*/ 5034287 w 5662788"/>
              <a:gd name="connsiteY189" fmla="*/ 949569 h 1240971"/>
              <a:gd name="connsiteX190" fmla="*/ 5049360 w 5662788"/>
              <a:gd name="connsiteY190" fmla="*/ 954593 h 1240971"/>
              <a:gd name="connsiteX191" fmla="*/ 5089553 w 5662788"/>
              <a:gd name="connsiteY191" fmla="*/ 924448 h 1240971"/>
              <a:gd name="connsiteX192" fmla="*/ 5119698 w 5662788"/>
              <a:gd name="connsiteY192" fmla="*/ 909376 h 1240971"/>
              <a:gd name="connsiteX193" fmla="*/ 5149843 w 5662788"/>
              <a:gd name="connsiteY193" fmla="*/ 884255 h 1240971"/>
              <a:gd name="connsiteX194" fmla="*/ 5174964 w 5662788"/>
              <a:gd name="connsiteY194" fmla="*/ 874206 h 1240971"/>
              <a:gd name="connsiteX195" fmla="*/ 5200085 w 5662788"/>
              <a:gd name="connsiteY195" fmla="*/ 849086 h 1240971"/>
              <a:gd name="connsiteX196" fmla="*/ 5240278 w 5662788"/>
              <a:gd name="connsiteY196" fmla="*/ 823965 h 1240971"/>
              <a:gd name="connsiteX197" fmla="*/ 5265399 w 5662788"/>
              <a:gd name="connsiteY197" fmla="*/ 803868 h 1240971"/>
              <a:gd name="connsiteX198" fmla="*/ 5275448 w 5662788"/>
              <a:gd name="connsiteY198" fmla="*/ 793820 h 1240971"/>
              <a:gd name="connsiteX199" fmla="*/ 5290520 w 5662788"/>
              <a:gd name="connsiteY199" fmla="*/ 783771 h 1240971"/>
              <a:gd name="connsiteX200" fmla="*/ 5310617 w 5662788"/>
              <a:gd name="connsiteY200" fmla="*/ 768699 h 1240971"/>
              <a:gd name="connsiteX201" fmla="*/ 5340762 w 5662788"/>
              <a:gd name="connsiteY201" fmla="*/ 758650 h 1240971"/>
              <a:gd name="connsiteX202" fmla="*/ 5355835 w 5662788"/>
              <a:gd name="connsiteY202" fmla="*/ 763675 h 1240971"/>
              <a:gd name="connsiteX203" fmla="*/ 5385980 w 5662788"/>
              <a:gd name="connsiteY203" fmla="*/ 783771 h 1240971"/>
              <a:gd name="connsiteX204" fmla="*/ 5431197 w 5662788"/>
              <a:gd name="connsiteY204" fmla="*/ 768699 h 1240971"/>
              <a:gd name="connsiteX205" fmla="*/ 5441246 w 5662788"/>
              <a:gd name="connsiteY205" fmla="*/ 753626 h 1240971"/>
              <a:gd name="connsiteX206" fmla="*/ 5456318 w 5662788"/>
              <a:gd name="connsiteY206" fmla="*/ 708409 h 1240971"/>
              <a:gd name="connsiteX207" fmla="*/ 5466366 w 5662788"/>
              <a:gd name="connsiteY207" fmla="*/ 683288 h 1240971"/>
              <a:gd name="connsiteX208" fmla="*/ 5476415 w 5662788"/>
              <a:gd name="connsiteY208" fmla="*/ 643094 h 1240971"/>
              <a:gd name="connsiteX209" fmla="*/ 5491487 w 5662788"/>
              <a:gd name="connsiteY209" fmla="*/ 617973 h 1240971"/>
              <a:gd name="connsiteX210" fmla="*/ 5506560 w 5662788"/>
              <a:gd name="connsiteY210" fmla="*/ 572756 h 1240971"/>
              <a:gd name="connsiteX211" fmla="*/ 5526656 w 5662788"/>
              <a:gd name="connsiteY211" fmla="*/ 522514 h 1240971"/>
              <a:gd name="connsiteX212" fmla="*/ 5546753 w 5662788"/>
              <a:gd name="connsiteY212" fmla="*/ 467248 h 1240971"/>
              <a:gd name="connsiteX213" fmla="*/ 5556802 w 5662788"/>
              <a:gd name="connsiteY213" fmla="*/ 411982 h 1240971"/>
              <a:gd name="connsiteX214" fmla="*/ 5566850 w 5662788"/>
              <a:gd name="connsiteY214" fmla="*/ 381837 h 1240971"/>
              <a:gd name="connsiteX215" fmla="*/ 5576898 w 5662788"/>
              <a:gd name="connsiteY215" fmla="*/ 356716 h 1240971"/>
              <a:gd name="connsiteX216" fmla="*/ 5596995 w 5662788"/>
              <a:gd name="connsiteY216" fmla="*/ 316523 h 1240971"/>
              <a:gd name="connsiteX217" fmla="*/ 5617092 w 5662788"/>
              <a:gd name="connsiteY217" fmla="*/ 246184 h 1240971"/>
              <a:gd name="connsiteX218" fmla="*/ 5622116 w 5662788"/>
              <a:gd name="connsiteY218" fmla="*/ 226088 h 1240971"/>
              <a:gd name="connsiteX219" fmla="*/ 5632164 w 5662788"/>
              <a:gd name="connsiteY219" fmla="*/ 216039 h 1240971"/>
              <a:gd name="connsiteX220" fmla="*/ 5637188 w 5662788"/>
              <a:gd name="connsiteY220" fmla="*/ 200967 h 1240971"/>
              <a:gd name="connsiteX221" fmla="*/ 5642213 w 5662788"/>
              <a:gd name="connsiteY221" fmla="*/ 180870 h 1240971"/>
              <a:gd name="connsiteX222" fmla="*/ 5652261 w 5662788"/>
              <a:gd name="connsiteY222" fmla="*/ 165798 h 1240971"/>
              <a:gd name="connsiteX223" fmla="*/ 5662309 w 5662788"/>
              <a:gd name="connsiteY223" fmla="*/ 115556 h 1240971"/>
              <a:gd name="connsiteX224" fmla="*/ 5657285 w 5662788"/>
              <a:gd name="connsiteY224" fmla="*/ 80387 h 1240971"/>
              <a:gd name="connsiteX225" fmla="*/ 5627140 w 5662788"/>
              <a:gd name="connsiteY225" fmla="*/ 75363 h 1240971"/>
              <a:gd name="connsiteX226" fmla="*/ 5586947 w 5662788"/>
              <a:gd name="connsiteY226" fmla="*/ 65314 h 1240971"/>
              <a:gd name="connsiteX227" fmla="*/ 5406076 w 5662788"/>
              <a:gd name="connsiteY227" fmla="*/ 70338 h 1240971"/>
              <a:gd name="connsiteX228" fmla="*/ 5345786 w 5662788"/>
              <a:gd name="connsiteY228" fmla="*/ 75363 h 1240971"/>
              <a:gd name="connsiteX229" fmla="*/ 5330714 w 5662788"/>
              <a:gd name="connsiteY229" fmla="*/ 80387 h 1240971"/>
              <a:gd name="connsiteX230" fmla="*/ 5255351 w 5662788"/>
              <a:gd name="connsiteY230" fmla="*/ 85411 h 1240971"/>
              <a:gd name="connsiteX231" fmla="*/ 5049360 w 5662788"/>
              <a:gd name="connsiteY231" fmla="*/ 80387 h 1240971"/>
              <a:gd name="connsiteX232" fmla="*/ 4989070 w 5662788"/>
              <a:gd name="connsiteY232" fmla="*/ 65314 h 1240971"/>
              <a:gd name="connsiteX233" fmla="*/ 4943852 w 5662788"/>
              <a:gd name="connsiteY233" fmla="*/ 60290 h 1240971"/>
              <a:gd name="connsiteX234" fmla="*/ 4823272 w 5662788"/>
              <a:gd name="connsiteY234" fmla="*/ 50242 h 1240971"/>
              <a:gd name="connsiteX235" fmla="*/ 4677571 w 5662788"/>
              <a:gd name="connsiteY235" fmla="*/ 55266 h 1240971"/>
              <a:gd name="connsiteX236" fmla="*/ 4647426 w 5662788"/>
              <a:gd name="connsiteY236" fmla="*/ 60290 h 1240971"/>
              <a:gd name="connsiteX237" fmla="*/ 4577087 w 5662788"/>
              <a:gd name="connsiteY237" fmla="*/ 65314 h 1240971"/>
              <a:gd name="connsiteX238" fmla="*/ 4486652 w 5662788"/>
              <a:gd name="connsiteY238" fmla="*/ 75363 h 1240971"/>
              <a:gd name="connsiteX239" fmla="*/ 4139984 w 5662788"/>
              <a:gd name="connsiteY239" fmla="*/ 60290 h 1240971"/>
              <a:gd name="connsiteX240" fmla="*/ 3918920 w 5662788"/>
              <a:gd name="connsiteY240" fmla="*/ 50242 h 1240971"/>
              <a:gd name="connsiteX241" fmla="*/ 3873703 w 5662788"/>
              <a:gd name="connsiteY241" fmla="*/ 45217 h 1240971"/>
              <a:gd name="connsiteX242" fmla="*/ 3687808 w 5662788"/>
              <a:gd name="connsiteY242" fmla="*/ 40193 h 1240971"/>
              <a:gd name="connsiteX243" fmla="*/ 3662687 w 5662788"/>
              <a:gd name="connsiteY243" fmla="*/ 35169 h 1240971"/>
              <a:gd name="connsiteX244" fmla="*/ 3627518 w 5662788"/>
              <a:gd name="connsiteY244" fmla="*/ 25121 h 1240971"/>
              <a:gd name="connsiteX245" fmla="*/ 3547131 w 5662788"/>
              <a:gd name="connsiteY245" fmla="*/ 20097 h 1240971"/>
              <a:gd name="connsiteX246" fmla="*/ 3310995 w 5662788"/>
              <a:gd name="connsiteY246" fmla="*/ 25121 h 1240971"/>
              <a:gd name="connsiteX247" fmla="*/ 3265777 w 5662788"/>
              <a:gd name="connsiteY247" fmla="*/ 30145 h 1240971"/>
              <a:gd name="connsiteX248" fmla="*/ 3175342 w 5662788"/>
              <a:gd name="connsiteY248" fmla="*/ 35169 h 1240971"/>
              <a:gd name="connsiteX249" fmla="*/ 2582489 w 5662788"/>
              <a:gd name="connsiteY249" fmla="*/ 45217 h 1240971"/>
              <a:gd name="connsiteX250" fmla="*/ 2255918 w 5662788"/>
              <a:gd name="connsiteY250" fmla="*/ 40193 h 1240971"/>
              <a:gd name="connsiteX251" fmla="*/ 1974564 w 5662788"/>
              <a:gd name="connsiteY251" fmla="*/ 30145 h 1240971"/>
              <a:gd name="connsiteX252" fmla="*/ 1944419 w 5662788"/>
              <a:gd name="connsiteY252" fmla="*/ 25121 h 1240971"/>
              <a:gd name="connsiteX253" fmla="*/ 1848960 w 5662788"/>
              <a:gd name="connsiteY253" fmla="*/ 20097 h 1240971"/>
              <a:gd name="connsiteX254" fmla="*/ 1768573 w 5662788"/>
              <a:gd name="connsiteY254" fmla="*/ 10048 h 1240971"/>
              <a:gd name="connsiteX255" fmla="*/ 1502292 w 5662788"/>
              <a:gd name="connsiteY255" fmla="*/ 20097 h 1240971"/>
              <a:gd name="connsiteX256" fmla="*/ 1467122 w 5662788"/>
              <a:gd name="connsiteY256" fmla="*/ 25121 h 1240971"/>
              <a:gd name="connsiteX257" fmla="*/ 1426929 w 5662788"/>
              <a:gd name="connsiteY257" fmla="*/ 30145 h 1240971"/>
              <a:gd name="connsiteX258" fmla="*/ 1341518 w 5662788"/>
              <a:gd name="connsiteY258" fmla="*/ 45217 h 1240971"/>
              <a:gd name="connsiteX259" fmla="*/ 1095333 w 5662788"/>
              <a:gd name="connsiteY259" fmla="*/ 35169 h 1240971"/>
              <a:gd name="connsiteX260" fmla="*/ 979777 w 5662788"/>
              <a:gd name="connsiteY260" fmla="*/ 20097 h 1240971"/>
              <a:gd name="connsiteX261" fmla="*/ 939584 w 5662788"/>
              <a:gd name="connsiteY261" fmla="*/ 10048 h 1240971"/>
              <a:gd name="connsiteX262" fmla="*/ 813980 w 5662788"/>
              <a:gd name="connsiteY262" fmla="*/ 0 h 1240971"/>
              <a:gd name="connsiteX263" fmla="*/ 743641 w 5662788"/>
              <a:gd name="connsiteY263" fmla="*/ 5024 h 1240971"/>
              <a:gd name="connsiteX264" fmla="*/ 582867 w 5662788"/>
              <a:gd name="connsiteY264" fmla="*/ 15072 h 1240971"/>
              <a:gd name="connsiteX265" fmla="*/ 432142 w 5662788"/>
              <a:gd name="connsiteY265" fmla="*/ 5024 h 1240971"/>
              <a:gd name="connsiteX266" fmla="*/ 412046 w 5662788"/>
              <a:gd name="connsiteY266" fmla="*/ 0 h 1240971"/>
              <a:gd name="connsiteX267" fmla="*/ 281417 w 5662788"/>
              <a:gd name="connsiteY267" fmla="*/ 10048 h 1240971"/>
              <a:gd name="connsiteX268" fmla="*/ 261320 w 5662788"/>
              <a:gd name="connsiteY268" fmla="*/ 15072 h 1240971"/>
              <a:gd name="connsiteX269" fmla="*/ 100547 w 5662788"/>
              <a:gd name="connsiteY269" fmla="*/ 20097 h 1240971"/>
              <a:gd name="connsiteX270" fmla="*/ 5087 w 5662788"/>
              <a:gd name="connsiteY270"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34287 w 5662788"/>
              <a:gd name="connsiteY189" fmla="*/ 949569 h 1240971"/>
              <a:gd name="connsiteX190" fmla="*/ 5049360 w 5662788"/>
              <a:gd name="connsiteY190" fmla="*/ 954593 h 1240971"/>
              <a:gd name="connsiteX191" fmla="*/ 5089553 w 5662788"/>
              <a:gd name="connsiteY191" fmla="*/ 924448 h 1240971"/>
              <a:gd name="connsiteX192" fmla="*/ 5119698 w 5662788"/>
              <a:gd name="connsiteY192" fmla="*/ 909376 h 1240971"/>
              <a:gd name="connsiteX193" fmla="*/ 5149843 w 5662788"/>
              <a:gd name="connsiteY193" fmla="*/ 884255 h 1240971"/>
              <a:gd name="connsiteX194" fmla="*/ 5174964 w 5662788"/>
              <a:gd name="connsiteY194" fmla="*/ 874206 h 1240971"/>
              <a:gd name="connsiteX195" fmla="*/ 5200085 w 5662788"/>
              <a:gd name="connsiteY195" fmla="*/ 849086 h 1240971"/>
              <a:gd name="connsiteX196" fmla="*/ 5240278 w 5662788"/>
              <a:gd name="connsiteY196" fmla="*/ 823965 h 1240971"/>
              <a:gd name="connsiteX197" fmla="*/ 5265399 w 5662788"/>
              <a:gd name="connsiteY197" fmla="*/ 803868 h 1240971"/>
              <a:gd name="connsiteX198" fmla="*/ 5275448 w 5662788"/>
              <a:gd name="connsiteY198" fmla="*/ 793820 h 1240971"/>
              <a:gd name="connsiteX199" fmla="*/ 5290520 w 5662788"/>
              <a:gd name="connsiteY199" fmla="*/ 783771 h 1240971"/>
              <a:gd name="connsiteX200" fmla="*/ 5310617 w 5662788"/>
              <a:gd name="connsiteY200" fmla="*/ 768699 h 1240971"/>
              <a:gd name="connsiteX201" fmla="*/ 5340762 w 5662788"/>
              <a:gd name="connsiteY201" fmla="*/ 758650 h 1240971"/>
              <a:gd name="connsiteX202" fmla="*/ 5355835 w 5662788"/>
              <a:gd name="connsiteY202" fmla="*/ 763675 h 1240971"/>
              <a:gd name="connsiteX203" fmla="*/ 5385980 w 5662788"/>
              <a:gd name="connsiteY203" fmla="*/ 783771 h 1240971"/>
              <a:gd name="connsiteX204" fmla="*/ 5431197 w 5662788"/>
              <a:gd name="connsiteY204" fmla="*/ 768699 h 1240971"/>
              <a:gd name="connsiteX205" fmla="*/ 5441246 w 5662788"/>
              <a:gd name="connsiteY205" fmla="*/ 753626 h 1240971"/>
              <a:gd name="connsiteX206" fmla="*/ 5456318 w 5662788"/>
              <a:gd name="connsiteY206" fmla="*/ 708409 h 1240971"/>
              <a:gd name="connsiteX207" fmla="*/ 5466366 w 5662788"/>
              <a:gd name="connsiteY207" fmla="*/ 683288 h 1240971"/>
              <a:gd name="connsiteX208" fmla="*/ 5476415 w 5662788"/>
              <a:gd name="connsiteY208" fmla="*/ 643094 h 1240971"/>
              <a:gd name="connsiteX209" fmla="*/ 5491487 w 5662788"/>
              <a:gd name="connsiteY209" fmla="*/ 617973 h 1240971"/>
              <a:gd name="connsiteX210" fmla="*/ 5506560 w 5662788"/>
              <a:gd name="connsiteY210" fmla="*/ 572756 h 1240971"/>
              <a:gd name="connsiteX211" fmla="*/ 5526656 w 5662788"/>
              <a:gd name="connsiteY211" fmla="*/ 522514 h 1240971"/>
              <a:gd name="connsiteX212" fmla="*/ 5546753 w 5662788"/>
              <a:gd name="connsiteY212" fmla="*/ 467248 h 1240971"/>
              <a:gd name="connsiteX213" fmla="*/ 5556802 w 5662788"/>
              <a:gd name="connsiteY213" fmla="*/ 411982 h 1240971"/>
              <a:gd name="connsiteX214" fmla="*/ 5566850 w 5662788"/>
              <a:gd name="connsiteY214" fmla="*/ 381837 h 1240971"/>
              <a:gd name="connsiteX215" fmla="*/ 5576898 w 5662788"/>
              <a:gd name="connsiteY215" fmla="*/ 356716 h 1240971"/>
              <a:gd name="connsiteX216" fmla="*/ 5596995 w 5662788"/>
              <a:gd name="connsiteY216" fmla="*/ 316523 h 1240971"/>
              <a:gd name="connsiteX217" fmla="*/ 5617092 w 5662788"/>
              <a:gd name="connsiteY217" fmla="*/ 246184 h 1240971"/>
              <a:gd name="connsiteX218" fmla="*/ 5622116 w 5662788"/>
              <a:gd name="connsiteY218" fmla="*/ 226088 h 1240971"/>
              <a:gd name="connsiteX219" fmla="*/ 5632164 w 5662788"/>
              <a:gd name="connsiteY219" fmla="*/ 216039 h 1240971"/>
              <a:gd name="connsiteX220" fmla="*/ 5637188 w 5662788"/>
              <a:gd name="connsiteY220" fmla="*/ 200967 h 1240971"/>
              <a:gd name="connsiteX221" fmla="*/ 5642213 w 5662788"/>
              <a:gd name="connsiteY221" fmla="*/ 180870 h 1240971"/>
              <a:gd name="connsiteX222" fmla="*/ 5652261 w 5662788"/>
              <a:gd name="connsiteY222" fmla="*/ 165798 h 1240971"/>
              <a:gd name="connsiteX223" fmla="*/ 5662309 w 5662788"/>
              <a:gd name="connsiteY223" fmla="*/ 115556 h 1240971"/>
              <a:gd name="connsiteX224" fmla="*/ 5657285 w 5662788"/>
              <a:gd name="connsiteY224" fmla="*/ 80387 h 1240971"/>
              <a:gd name="connsiteX225" fmla="*/ 5627140 w 5662788"/>
              <a:gd name="connsiteY225" fmla="*/ 75363 h 1240971"/>
              <a:gd name="connsiteX226" fmla="*/ 5586947 w 5662788"/>
              <a:gd name="connsiteY226" fmla="*/ 65314 h 1240971"/>
              <a:gd name="connsiteX227" fmla="*/ 5406076 w 5662788"/>
              <a:gd name="connsiteY227" fmla="*/ 70338 h 1240971"/>
              <a:gd name="connsiteX228" fmla="*/ 5345786 w 5662788"/>
              <a:gd name="connsiteY228" fmla="*/ 75363 h 1240971"/>
              <a:gd name="connsiteX229" fmla="*/ 5330714 w 5662788"/>
              <a:gd name="connsiteY229" fmla="*/ 80387 h 1240971"/>
              <a:gd name="connsiteX230" fmla="*/ 5255351 w 5662788"/>
              <a:gd name="connsiteY230" fmla="*/ 85411 h 1240971"/>
              <a:gd name="connsiteX231" fmla="*/ 5049360 w 5662788"/>
              <a:gd name="connsiteY231" fmla="*/ 80387 h 1240971"/>
              <a:gd name="connsiteX232" fmla="*/ 4989070 w 5662788"/>
              <a:gd name="connsiteY232" fmla="*/ 65314 h 1240971"/>
              <a:gd name="connsiteX233" fmla="*/ 4943852 w 5662788"/>
              <a:gd name="connsiteY233" fmla="*/ 60290 h 1240971"/>
              <a:gd name="connsiteX234" fmla="*/ 4823272 w 5662788"/>
              <a:gd name="connsiteY234" fmla="*/ 50242 h 1240971"/>
              <a:gd name="connsiteX235" fmla="*/ 4677571 w 5662788"/>
              <a:gd name="connsiteY235" fmla="*/ 55266 h 1240971"/>
              <a:gd name="connsiteX236" fmla="*/ 4647426 w 5662788"/>
              <a:gd name="connsiteY236" fmla="*/ 60290 h 1240971"/>
              <a:gd name="connsiteX237" fmla="*/ 4577087 w 5662788"/>
              <a:gd name="connsiteY237" fmla="*/ 65314 h 1240971"/>
              <a:gd name="connsiteX238" fmla="*/ 4486652 w 5662788"/>
              <a:gd name="connsiteY238" fmla="*/ 75363 h 1240971"/>
              <a:gd name="connsiteX239" fmla="*/ 4139984 w 5662788"/>
              <a:gd name="connsiteY239" fmla="*/ 60290 h 1240971"/>
              <a:gd name="connsiteX240" fmla="*/ 3918920 w 5662788"/>
              <a:gd name="connsiteY240" fmla="*/ 50242 h 1240971"/>
              <a:gd name="connsiteX241" fmla="*/ 3873703 w 5662788"/>
              <a:gd name="connsiteY241" fmla="*/ 45217 h 1240971"/>
              <a:gd name="connsiteX242" fmla="*/ 3687808 w 5662788"/>
              <a:gd name="connsiteY242" fmla="*/ 40193 h 1240971"/>
              <a:gd name="connsiteX243" fmla="*/ 3662687 w 5662788"/>
              <a:gd name="connsiteY243" fmla="*/ 35169 h 1240971"/>
              <a:gd name="connsiteX244" fmla="*/ 3627518 w 5662788"/>
              <a:gd name="connsiteY244" fmla="*/ 25121 h 1240971"/>
              <a:gd name="connsiteX245" fmla="*/ 3547131 w 5662788"/>
              <a:gd name="connsiteY245" fmla="*/ 20097 h 1240971"/>
              <a:gd name="connsiteX246" fmla="*/ 3310995 w 5662788"/>
              <a:gd name="connsiteY246" fmla="*/ 25121 h 1240971"/>
              <a:gd name="connsiteX247" fmla="*/ 3265777 w 5662788"/>
              <a:gd name="connsiteY247" fmla="*/ 30145 h 1240971"/>
              <a:gd name="connsiteX248" fmla="*/ 3175342 w 5662788"/>
              <a:gd name="connsiteY248" fmla="*/ 35169 h 1240971"/>
              <a:gd name="connsiteX249" fmla="*/ 2582489 w 5662788"/>
              <a:gd name="connsiteY249" fmla="*/ 45217 h 1240971"/>
              <a:gd name="connsiteX250" fmla="*/ 2255918 w 5662788"/>
              <a:gd name="connsiteY250" fmla="*/ 40193 h 1240971"/>
              <a:gd name="connsiteX251" fmla="*/ 1974564 w 5662788"/>
              <a:gd name="connsiteY251" fmla="*/ 30145 h 1240971"/>
              <a:gd name="connsiteX252" fmla="*/ 1944419 w 5662788"/>
              <a:gd name="connsiteY252" fmla="*/ 25121 h 1240971"/>
              <a:gd name="connsiteX253" fmla="*/ 1848960 w 5662788"/>
              <a:gd name="connsiteY253" fmla="*/ 20097 h 1240971"/>
              <a:gd name="connsiteX254" fmla="*/ 1768573 w 5662788"/>
              <a:gd name="connsiteY254" fmla="*/ 10048 h 1240971"/>
              <a:gd name="connsiteX255" fmla="*/ 1502292 w 5662788"/>
              <a:gd name="connsiteY255" fmla="*/ 20097 h 1240971"/>
              <a:gd name="connsiteX256" fmla="*/ 1467122 w 5662788"/>
              <a:gd name="connsiteY256" fmla="*/ 25121 h 1240971"/>
              <a:gd name="connsiteX257" fmla="*/ 1426929 w 5662788"/>
              <a:gd name="connsiteY257" fmla="*/ 30145 h 1240971"/>
              <a:gd name="connsiteX258" fmla="*/ 1341518 w 5662788"/>
              <a:gd name="connsiteY258" fmla="*/ 45217 h 1240971"/>
              <a:gd name="connsiteX259" fmla="*/ 1095333 w 5662788"/>
              <a:gd name="connsiteY259" fmla="*/ 35169 h 1240971"/>
              <a:gd name="connsiteX260" fmla="*/ 979777 w 5662788"/>
              <a:gd name="connsiteY260" fmla="*/ 20097 h 1240971"/>
              <a:gd name="connsiteX261" fmla="*/ 939584 w 5662788"/>
              <a:gd name="connsiteY261" fmla="*/ 10048 h 1240971"/>
              <a:gd name="connsiteX262" fmla="*/ 813980 w 5662788"/>
              <a:gd name="connsiteY262" fmla="*/ 0 h 1240971"/>
              <a:gd name="connsiteX263" fmla="*/ 743641 w 5662788"/>
              <a:gd name="connsiteY263" fmla="*/ 5024 h 1240971"/>
              <a:gd name="connsiteX264" fmla="*/ 582867 w 5662788"/>
              <a:gd name="connsiteY264" fmla="*/ 15072 h 1240971"/>
              <a:gd name="connsiteX265" fmla="*/ 432142 w 5662788"/>
              <a:gd name="connsiteY265" fmla="*/ 5024 h 1240971"/>
              <a:gd name="connsiteX266" fmla="*/ 412046 w 5662788"/>
              <a:gd name="connsiteY266" fmla="*/ 0 h 1240971"/>
              <a:gd name="connsiteX267" fmla="*/ 281417 w 5662788"/>
              <a:gd name="connsiteY267" fmla="*/ 10048 h 1240971"/>
              <a:gd name="connsiteX268" fmla="*/ 261320 w 5662788"/>
              <a:gd name="connsiteY268" fmla="*/ 15072 h 1240971"/>
              <a:gd name="connsiteX269" fmla="*/ 100547 w 5662788"/>
              <a:gd name="connsiteY269" fmla="*/ 20097 h 1240971"/>
              <a:gd name="connsiteX270" fmla="*/ 5087 w 5662788"/>
              <a:gd name="connsiteY270"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49360 w 5662788"/>
              <a:gd name="connsiteY190" fmla="*/ 954593 h 1240971"/>
              <a:gd name="connsiteX191" fmla="*/ 5089553 w 5662788"/>
              <a:gd name="connsiteY191" fmla="*/ 924448 h 1240971"/>
              <a:gd name="connsiteX192" fmla="*/ 5119698 w 5662788"/>
              <a:gd name="connsiteY192" fmla="*/ 909376 h 1240971"/>
              <a:gd name="connsiteX193" fmla="*/ 5149843 w 5662788"/>
              <a:gd name="connsiteY193" fmla="*/ 884255 h 1240971"/>
              <a:gd name="connsiteX194" fmla="*/ 5174964 w 5662788"/>
              <a:gd name="connsiteY194" fmla="*/ 874206 h 1240971"/>
              <a:gd name="connsiteX195" fmla="*/ 5200085 w 5662788"/>
              <a:gd name="connsiteY195" fmla="*/ 849086 h 1240971"/>
              <a:gd name="connsiteX196" fmla="*/ 5240278 w 5662788"/>
              <a:gd name="connsiteY196" fmla="*/ 823965 h 1240971"/>
              <a:gd name="connsiteX197" fmla="*/ 5265399 w 5662788"/>
              <a:gd name="connsiteY197" fmla="*/ 803868 h 1240971"/>
              <a:gd name="connsiteX198" fmla="*/ 5275448 w 5662788"/>
              <a:gd name="connsiteY198" fmla="*/ 793820 h 1240971"/>
              <a:gd name="connsiteX199" fmla="*/ 5290520 w 5662788"/>
              <a:gd name="connsiteY199" fmla="*/ 783771 h 1240971"/>
              <a:gd name="connsiteX200" fmla="*/ 5310617 w 5662788"/>
              <a:gd name="connsiteY200" fmla="*/ 768699 h 1240971"/>
              <a:gd name="connsiteX201" fmla="*/ 5340762 w 5662788"/>
              <a:gd name="connsiteY201" fmla="*/ 758650 h 1240971"/>
              <a:gd name="connsiteX202" fmla="*/ 5355835 w 5662788"/>
              <a:gd name="connsiteY202" fmla="*/ 763675 h 1240971"/>
              <a:gd name="connsiteX203" fmla="*/ 5385980 w 5662788"/>
              <a:gd name="connsiteY203" fmla="*/ 783771 h 1240971"/>
              <a:gd name="connsiteX204" fmla="*/ 5431197 w 5662788"/>
              <a:gd name="connsiteY204" fmla="*/ 768699 h 1240971"/>
              <a:gd name="connsiteX205" fmla="*/ 5441246 w 5662788"/>
              <a:gd name="connsiteY205" fmla="*/ 753626 h 1240971"/>
              <a:gd name="connsiteX206" fmla="*/ 5456318 w 5662788"/>
              <a:gd name="connsiteY206" fmla="*/ 708409 h 1240971"/>
              <a:gd name="connsiteX207" fmla="*/ 5466366 w 5662788"/>
              <a:gd name="connsiteY207" fmla="*/ 683288 h 1240971"/>
              <a:gd name="connsiteX208" fmla="*/ 5476415 w 5662788"/>
              <a:gd name="connsiteY208" fmla="*/ 643094 h 1240971"/>
              <a:gd name="connsiteX209" fmla="*/ 5491487 w 5662788"/>
              <a:gd name="connsiteY209" fmla="*/ 617973 h 1240971"/>
              <a:gd name="connsiteX210" fmla="*/ 5506560 w 5662788"/>
              <a:gd name="connsiteY210" fmla="*/ 572756 h 1240971"/>
              <a:gd name="connsiteX211" fmla="*/ 5526656 w 5662788"/>
              <a:gd name="connsiteY211" fmla="*/ 522514 h 1240971"/>
              <a:gd name="connsiteX212" fmla="*/ 5546753 w 5662788"/>
              <a:gd name="connsiteY212" fmla="*/ 467248 h 1240971"/>
              <a:gd name="connsiteX213" fmla="*/ 5556802 w 5662788"/>
              <a:gd name="connsiteY213" fmla="*/ 411982 h 1240971"/>
              <a:gd name="connsiteX214" fmla="*/ 5566850 w 5662788"/>
              <a:gd name="connsiteY214" fmla="*/ 381837 h 1240971"/>
              <a:gd name="connsiteX215" fmla="*/ 5576898 w 5662788"/>
              <a:gd name="connsiteY215" fmla="*/ 356716 h 1240971"/>
              <a:gd name="connsiteX216" fmla="*/ 5596995 w 5662788"/>
              <a:gd name="connsiteY216" fmla="*/ 316523 h 1240971"/>
              <a:gd name="connsiteX217" fmla="*/ 5617092 w 5662788"/>
              <a:gd name="connsiteY217" fmla="*/ 246184 h 1240971"/>
              <a:gd name="connsiteX218" fmla="*/ 5622116 w 5662788"/>
              <a:gd name="connsiteY218" fmla="*/ 226088 h 1240971"/>
              <a:gd name="connsiteX219" fmla="*/ 5632164 w 5662788"/>
              <a:gd name="connsiteY219" fmla="*/ 216039 h 1240971"/>
              <a:gd name="connsiteX220" fmla="*/ 5637188 w 5662788"/>
              <a:gd name="connsiteY220" fmla="*/ 200967 h 1240971"/>
              <a:gd name="connsiteX221" fmla="*/ 5642213 w 5662788"/>
              <a:gd name="connsiteY221" fmla="*/ 180870 h 1240971"/>
              <a:gd name="connsiteX222" fmla="*/ 5652261 w 5662788"/>
              <a:gd name="connsiteY222" fmla="*/ 165798 h 1240971"/>
              <a:gd name="connsiteX223" fmla="*/ 5662309 w 5662788"/>
              <a:gd name="connsiteY223" fmla="*/ 115556 h 1240971"/>
              <a:gd name="connsiteX224" fmla="*/ 5657285 w 5662788"/>
              <a:gd name="connsiteY224" fmla="*/ 80387 h 1240971"/>
              <a:gd name="connsiteX225" fmla="*/ 5627140 w 5662788"/>
              <a:gd name="connsiteY225" fmla="*/ 75363 h 1240971"/>
              <a:gd name="connsiteX226" fmla="*/ 5586947 w 5662788"/>
              <a:gd name="connsiteY226" fmla="*/ 65314 h 1240971"/>
              <a:gd name="connsiteX227" fmla="*/ 5406076 w 5662788"/>
              <a:gd name="connsiteY227" fmla="*/ 70338 h 1240971"/>
              <a:gd name="connsiteX228" fmla="*/ 5345786 w 5662788"/>
              <a:gd name="connsiteY228" fmla="*/ 75363 h 1240971"/>
              <a:gd name="connsiteX229" fmla="*/ 5330714 w 5662788"/>
              <a:gd name="connsiteY229" fmla="*/ 80387 h 1240971"/>
              <a:gd name="connsiteX230" fmla="*/ 5255351 w 5662788"/>
              <a:gd name="connsiteY230" fmla="*/ 85411 h 1240971"/>
              <a:gd name="connsiteX231" fmla="*/ 5049360 w 5662788"/>
              <a:gd name="connsiteY231" fmla="*/ 80387 h 1240971"/>
              <a:gd name="connsiteX232" fmla="*/ 4989070 w 5662788"/>
              <a:gd name="connsiteY232" fmla="*/ 65314 h 1240971"/>
              <a:gd name="connsiteX233" fmla="*/ 4943852 w 5662788"/>
              <a:gd name="connsiteY233" fmla="*/ 60290 h 1240971"/>
              <a:gd name="connsiteX234" fmla="*/ 4823272 w 5662788"/>
              <a:gd name="connsiteY234" fmla="*/ 50242 h 1240971"/>
              <a:gd name="connsiteX235" fmla="*/ 4677571 w 5662788"/>
              <a:gd name="connsiteY235" fmla="*/ 55266 h 1240971"/>
              <a:gd name="connsiteX236" fmla="*/ 4647426 w 5662788"/>
              <a:gd name="connsiteY236" fmla="*/ 60290 h 1240971"/>
              <a:gd name="connsiteX237" fmla="*/ 4577087 w 5662788"/>
              <a:gd name="connsiteY237" fmla="*/ 65314 h 1240971"/>
              <a:gd name="connsiteX238" fmla="*/ 4486652 w 5662788"/>
              <a:gd name="connsiteY238" fmla="*/ 75363 h 1240971"/>
              <a:gd name="connsiteX239" fmla="*/ 4139984 w 5662788"/>
              <a:gd name="connsiteY239" fmla="*/ 60290 h 1240971"/>
              <a:gd name="connsiteX240" fmla="*/ 3918920 w 5662788"/>
              <a:gd name="connsiteY240" fmla="*/ 50242 h 1240971"/>
              <a:gd name="connsiteX241" fmla="*/ 3873703 w 5662788"/>
              <a:gd name="connsiteY241" fmla="*/ 45217 h 1240971"/>
              <a:gd name="connsiteX242" fmla="*/ 3687808 w 5662788"/>
              <a:gd name="connsiteY242" fmla="*/ 40193 h 1240971"/>
              <a:gd name="connsiteX243" fmla="*/ 3662687 w 5662788"/>
              <a:gd name="connsiteY243" fmla="*/ 35169 h 1240971"/>
              <a:gd name="connsiteX244" fmla="*/ 3627518 w 5662788"/>
              <a:gd name="connsiteY244" fmla="*/ 25121 h 1240971"/>
              <a:gd name="connsiteX245" fmla="*/ 3547131 w 5662788"/>
              <a:gd name="connsiteY245" fmla="*/ 20097 h 1240971"/>
              <a:gd name="connsiteX246" fmla="*/ 3310995 w 5662788"/>
              <a:gd name="connsiteY246" fmla="*/ 25121 h 1240971"/>
              <a:gd name="connsiteX247" fmla="*/ 3265777 w 5662788"/>
              <a:gd name="connsiteY247" fmla="*/ 30145 h 1240971"/>
              <a:gd name="connsiteX248" fmla="*/ 3175342 w 5662788"/>
              <a:gd name="connsiteY248" fmla="*/ 35169 h 1240971"/>
              <a:gd name="connsiteX249" fmla="*/ 2582489 w 5662788"/>
              <a:gd name="connsiteY249" fmla="*/ 45217 h 1240971"/>
              <a:gd name="connsiteX250" fmla="*/ 2255918 w 5662788"/>
              <a:gd name="connsiteY250" fmla="*/ 40193 h 1240971"/>
              <a:gd name="connsiteX251" fmla="*/ 1974564 w 5662788"/>
              <a:gd name="connsiteY251" fmla="*/ 30145 h 1240971"/>
              <a:gd name="connsiteX252" fmla="*/ 1944419 w 5662788"/>
              <a:gd name="connsiteY252" fmla="*/ 25121 h 1240971"/>
              <a:gd name="connsiteX253" fmla="*/ 1848960 w 5662788"/>
              <a:gd name="connsiteY253" fmla="*/ 20097 h 1240971"/>
              <a:gd name="connsiteX254" fmla="*/ 1768573 w 5662788"/>
              <a:gd name="connsiteY254" fmla="*/ 10048 h 1240971"/>
              <a:gd name="connsiteX255" fmla="*/ 1502292 w 5662788"/>
              <a:gd name="connsiteY255" fmla="*/ 20097 h 1240971"/>
              <a:gd name="connsiteX256" fmla="*/ 1467122 w 5662788"/>
              <a:gd name="connsiteY256" fmla="*/ 25121 h 1240971"/>
              <a:gd name="connsiteX257" fmla="*/ 1426929 w 5662788"/>
              <a:gd name="connsiteY257" fmla="*/ 30145 h 1240971"/>
              <a:gd name="connsiteX258" fmla="*/ 1341518 w 5662788"/>
              <a:gd name="connsiteY258" fmla="*/ 45217 h 1240971"/>
              <a:gd name="connsiteX259" fmla="*/ 1095333 w 5662788"/>
              <a:gd name="connsiteY259" fmla="*/ 35169 h 1240971"/>
              <a:gd name="connsiteX260" fmla="*/ 979777 w 5662788"/>
              <a:gd name="connsiteY260" fmla="*/ 20097 h 1240971"/>
              <a:gd name="connsiteX261" fmla="*/ 939584 w 5662788"/>
              <a:gd name="connsiteY261" fmla="*/ 10048 h 1240971"/>
              <a:gd name="connsiteX262" fmla="*/ 813980 w 5662788"/>
              <a:gd name="connsiteY262" fmla="*/ 0 h 1240971"/>
              <a:gd name="connsiteX263" fmla="*/ 743641 w 5662788"/>
              <a:gd name="connsiteY263" fmla="*/ 5024 h 1240971"/>
              <a:gd name="connsiteX264" fmla="*/ 582867 w 5662788"/>
              <a:gd name="connsiteY264" fmla="*/ 15072 h 1240971"/>
              <a:gd name="connsiteX265" fmla="*/ 432142 w 5662788"/>
              <a:gd name="connsiteY265" fmla="*/ 5024 h 1240971"/>
              <a:gd name="connsiteX266" fmla="*/ 412046 w 5662788"/>
              <a:gd name="connsiteY266" fmla="*/ 0 h 1240971"/>
              <a:gd name="connsiteX267" fmla="*/ 281417 w 5662788"/>
              <a:gd name="connsiteY267" fmla="*/ 10048 h 1240971"/>
              <a:gd name="connsiteX268" fmla="*/ 261320 w 5662788"/>
              <a:gd name="connsiteY268" fmla="*/ 15072 h 1240971"/>
              <a:gd name="connsiteX269" fmla="*/ 100547 w 5662788"/>
              <a:gd name="connsiteY269" fmla="*/ 20097 h 1240971"/>
              <a:gd name="connsiteX270" fmla="*/ 5087 w 5662788"/>
              <a:gd name="connsiteY270"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089553 w 5662788"/>
              <a:gd name="connsiteY191" fmla="*/ 924448 h 1240971"/>
              <a:gd name="connsiteX192" fmla="*/ 5119698 w 5662788"/>
              <a:gd name="connsiteY192" fmla="*/ 909376 h 1240971"/>
              <a:gd name="connsiteX193" fmla="*/ 5149843 w 5662788"/>
              <a:gd name="connsiteY193" fmla="*/ 884255 h 1240971"/>
              <a:gd name="connsiteX194" fmla="*/ 5174964 w 5662788"/>
              <a:gd name="connsiteY194" fmla="*/ 874206 h 1240971"/>
              <a:gd name="connsiteX195" fmla="*/ 5200085 w 5662788"/>
              <a:gd name="connsiteY195" fmla="*/ 849086 h 1240971"/>
              <a:gd name="connsiteX196" fmla="*/ 5240278 w 5662788"/>
              <a:gd name="connsiteY196" fmla="*/ 823965 h 1240971"/>
              <a:gd name="connsiteX197" fmla="*/ 5265399 w 5662788"/>
              <a:gd name="connsiteY197" fmla="*/ 803868 h 1240971"/>
              <a:gd name="connsiteX198" fmla="*/ 5275448 w 5662788"/>
              <a:gd name="connsiteY198" fmla="*/ 793820 h 1240971"/>
              <a:gd name="connsiteX199" fmla="*/ 5290520 w 5662788"/>
              <a:gd name="connsiteY199" fmla="*/ 783771 h 1240971"/>
              <a:gd name="connsiteX200" fmla="*/ 5310617 w 5662788"/>
              <a:gd name="connsiteY200" fmla="*/ 768699 h 1240971"/>
              <a:gd name="connsiteX201" fmla="*/ 5340762 w 5662788"/>
              <a:gd name="connsiteY201" fmla="*/ 758650 h 1240971"/>
              <a:gd name="connsiteX202" fmla="*/ 5355835 w 5662788"/>
              <a:gd name="connsiteY202" fmla="*/ 763675 h 1240971"/>
              <a:gd name="connsiteX203" fmla="*/ 5385980 w 5662788"/>
              <a:gd name="connsiteY203" fmla="*/ 783771 h 1240971"/>
              <a:gd name="connsiteX204" fmla="*/ 5431197 w 5662788"/>
              <a:gd name="connsiteY204" fmla="*/ 768699 h 1240971"/>
              <a:gd name="connsiteX205" fmla="*/ 5441246 w 5662788"/>
              <a:gd name="connsiteY205" fmla="*/ 753626 h 1240971"/>
              <a:gd name="connsiteX206" fmla="*/ 5456318 w 5662788"/>
              <a:gd name="connsiteY206" fmla="*/ 708409 h 1240971"/>
              <a:gd name="connsiteX207" fmla="*/ 5466366 w 5662788"/>
              <a:gd name="connsiteY207" fmla="*/ 683288 h 1240971"/>
              <a:gd name="connsiteX208" fmla="*/ 5476415 w 5662788"/>
              <a:gd name="connsiteY208" fmla="*/ 643094 h 1240971"/>
              <a:gd name="connsiteX209" fmla="*/ 5491487 w 5662788"/>
              <a:gd name="connsiteY209" fmla="*/ 617973 h 1240971"/>
              <a:gd name="connsiteX210" fmla="*/ 5506560 w 5662788"/>
              <a:gd name="connsiteY210" fmla="*/ 572756 h 1240971"/>
              <a:gd name="connsiteX211" fmla="*/ 5526656 w 5662788"/>
              <a:gd name="connsiteY211" fmla="*/ 522514 h 1240971"/>
              <a:gd name="connsiteX212" fmla="*/ 5546753 w 5662788"/>
              <a:gd name="connsiteY212" fmla="*/ 467248 h 1240971"/>
              <a:gd name="connsiteX213" fmla="*/ 5556802 w 5662788"/>
              <a:gd name="connsiteY213" fmla="*/ 411982 h 1240971"/>
              <a:gd name="connsiteX214" fmla="*/ 5566850 w 5662788"/>
              <a:gd name="connsiteY214" fmla="*/ 381837 h 1240971"/>
              <a:gd name="connsiteX215" fmla="*/ 5576898 w 5662788"/>
              <a:gd name="connsiteY215" fmla="*/ 356716 h 1240971"/>
              <a:gd name="connsiteX216" fmla="*/ 5596995 w 5662788"/>
              <a:gd name="connsiteY216" fmla="*/ 316523 h 1240971"/>
              <a:gd name="connsiteX217" fmla="*/ 5617092 w 5662788"/>
              <a:gd name="connsiteY217" fmla="*/ 246184 h 1240971"/>
              <a:gd name="connsiteX218" fmla="*/ 5622116 w 5662788"/>
              <a:gd name="connsiteY218" fmla="*/ 226088 h 1240971"/>
              <a:gd name="connsiteX219" fmla="*/ 5632164 w 5662788"/>
              <a:gd name="connsiteY219" fmla="*/ 216039 h 1240971"/>
              <a:gd name="connsiteX220" fmla="*/ 5637188 w 5662788"/>
              <a:gd name="connsiteY220" fmla="*/ 200967 h 1240971"/>
              <a:gd name="connsiteX221" fmla="*/ 5642213 w 5662788"/>
              <a:gd name="connsiteY221" fmla="*/ 180870 h 1240971"/>
              <a:gd name="connsiteX222" fmla="*/ 5652261 w 5662788"/>
              <a:gd name="connsiteY222" fmla="*/ 165798 h 1240971"/>
              <a:gd name="connsiteX223" fmla="*/ 5662309 w 5662788"/>
              <a:gd name="connsiteY223" fmla="*/ 115556 h 1240971"/>
              <a:gd name="connsiteX224" fmla="*/ 5657285 w 5662788"/>
              <a:gd name="connsiteY224" fmla="*/ 80387 h 1240971"/>
              <a:gd name="connsiteX225" fmla="*/ 5627140 w 5662788"/>
              <a:gd name="connsiteY225" fmla="*/ 75363 h 1240971"/>
              <a:gd name="connsiteX226" fmla="*/ 5586947 w 5662788"/>
              <a:gd name="connsiteY226" fmla="*/ 65314 h 1240971"/>
              <a:gd name="connsiteX227" fmla="*/ 5406076 w 5662788"/>
              <a:gd name="connsiteY227" fmla="*/ 70338 h 1240971"/>
              <a:gd name="connsiteX228" fmla="*/ 5345786 w 5662788"/>
              <a:gd name="connsiteY228" fmla="*/ 75363 h 1240971"/>
              <a:gd name="connsiteX229" fmla="*/ 5330714 w 5662788"/>
              <a:gd name="connsiteY229" fmla="*/ 80387 h 1240971"/>
              <a:gd name="connsiteX230" fmla="*/ 5255351 w 5662788"/>
              <a:gd name="connsiteY230" fmla="*/ 85411 h 1240971"/>
              <a:gd name="connsiteX231" fmla="*/ 5049360 w 5662788"/>
              <a:gd name="connsiteY231" fmla="*/ 80387 h 1240971"/>
              <a:gd name="connsiteX232" fmla="*/ 4989070 w 5662788"/>
              <a:gd name="connsiteY232" fmla="*/ 65314 h 1240971"/>
              <a:gd name="connsiteX233" fmla="*/ 4943852 w 5662788"/>
              <a:gd name="connsiteY233" fmla="*/ 60290 h 1240971"/>
              <a:gd name="connsiteX234" fmla="*/ 4823272 w 5662788"/>
              <a:gd name="connsiteY234" fmla="*/ 50242 h 1240971"/>
              <a:gd name="connsiteX235" fmla="*/ 4677571 w 5662788"/>
              <a:gd name="connsiteY235" fmla="*/ 55266 h 1240971"/>
              <a:gd name="connsiteX236" fmla="*/ 4647426 w 5662788"/>
              <a:gd name="connsiteY236" fmla="*/ 60290 h 1240971"/>
              <a:gd name="connsiteX237" fmla="*/ 4577087 w 5662788"/>
              <a:gd name="connsiteY237" fmla="*/ 65314 h 1240971"/>
              <a:gd name="connsiteX238" fmla="*/ 4486652 w 5662788"/>
              <a:gd name="connsiteY238" fmla="*/ 75363 h 1240971"/>
              <a:gd name="connsiteX239" fmla="*/ 4139984 w 5662788"/>
              <a:gd name="connsiteY239" fmla="*/ 60290 h 1240971"/>
              <a:gd name="connsiteX240" fmla="*/ 3918920 w 5662788"/>
              <a:gd name="connsiteY240" fmla="*/ 50242 h 1240971"/>
              <a:gd name="connsiteX241" fmla="*/ 3873703 w 5662788"/>
              <a:gd name="connsiteY241" fmla="*/ 45217 h 1240971"/>
              <a:gd name="connsiteX242" fmla="*/ 3687808 w 5662788"/>
              <a:gd name="connsiteY242" fmla="*/ 40193 h 1240971"/>
              <a:gd name="connsiteX243" fmla="*/ 3662687 w 5662788"/>
              <a:gd name="connsiteY243" fmla="*/ 35169 h 1240971"/>
              <a:gd name="connsiteX244" fmla="*/ 3627518 w 5662788"/>
              <a:gd name="connsiteY244" fmla="*/ 25121 h 1240971"/>
              <a:gd name="connsiteX245" fmla="*/ 3547131 w 5662788"/>
              <a:gd name="connsiteY245" fmla="*/ 20097 h 1240971"/>
              <a:gd name="connsiteX246" fmla="*/ 3310995 w 5662788"/>
              <a:gd name="connsiteY246" fmla="*/ 25121 h 1240971"/>
              <a:gd name="connsiteX247" fmla="*/ 3265777 w 5662788"/>
              <a:gd name="connsiteY247" fmla="*/ 30145 h 1240971"/>
              <a:gd name="connsiteX248" fmla="*/ 3175342 w 5662788"/>
              <a:gd name="connsiteY248" fmla="*/ 35169 h 1240971"/>
              <a:gd name="connsiteX249" fmla="*/ 2582489 w 5662788"/>
              <a:gd name="connsiteY249" fmla="*/ 45217 h 1240971"/>
              <a:gd name="connsiteX250" fmla="*/ 2255918 w 5662788"/>
              <a:gd name="connsiteY250" fmla="*/ 40193 h 1240971"/>
              <a:gd name="connsiteX251" fmla="*/ 1974564 w 5662788"/>
              <a:gd name="connsiteY251" fmla="*/ 30145 h 1240971"/>
              <a:gd name="connsiteX252" fmla="*/ 1944419 w 5662788"/>
              <a:gd name="connsiteY252" fmla="*/ 25121 h 1240971"/>
              <a:gd name="connsiteX253" fmla="*/ 1848960 w 5662788"/>
              <a:gd name="connsiteY253" fmla="*/ 20097 h 1240971"/>
              <a:gd name="connsiteX254" fmla="*/ 1768573 w 5662788"/>
              <a:gd name="connsiteY254" fmla="*/ 10048 h 1240971"/>
              <a:gd name="connsiteX255" fmla="*/ 1502292 w 5662788"/>
              <a:gd name="connsiteY255" fmla="*/ 20097 h 1240971"/>
              <a:gd name="connsiteX256" fmla="*/ 1467122 w 5662788"/>
              <a:gd name="connsiteY256" fmla="*/ 25121 h 1240971"/>
              <a:gd name="connsiteX257" fmla="*/ 1426929 w 5662788"/>
              <a:gd name="connsiteY257" fmla="*/ 30145 h 1240971"/>
              <a:gd name="connsiteX258" fmla="*/ 1341518 w 5662788"/>
              <a:gd name="connsiteY258" fmla="*/ 45217 h 1240971"/>
              <a:gd name="connsiteX259" fmla="*/ 1095333 w 5662788"/>
              <a:gd name="connsiteY259" fmla="*/ 35169 h 1240971"/>
              <a:gd name="connsiteX260" fmla="*/ 979777 w 5662788"/>
              <a:gd name="connsiteY260" fmla="*/ 20097 h 1240971"/>
              <a:gd name="connsiteX261" fmla="*/ 939584 w 5662788"/>
              <a:gd name="connsiteY261" fmla="*/ 10048 h 1240971"/>
              <a:gd name="connsiteX262" fmla="*/ 813980 w 5662788"/>
              <a:gd name="connsiteY262" fmla="*/ 0 h 1240971"/>
              <a:gd name="connsiteX263" fmla="*/ 743641 w 5662788"/>
              <a:gd name="connsiteY263" fmla="*/ 5024 h 1240971"/>
              <a:gd name="connsiteX264" fmla="*/ 582867 w 5662788"/>
              <a:gd name="connsiteY264" fmla="*/ 15072 h 1240971"/>
              <a:gd name="connsiteX265" fmla="*/ 432142 w 5662788"/>
              <a:gd name="connsiteY265" fmla="*/ 5024 h 1240971"/>
              <a:gd name="connsiteX266" fmla="*/ 412046 w 5662788"/>
              <a:gd name="connsiteY266" fmla="*/ 0 h 1240971"/>
              <a:gd name="connsiteX267" fmla="*/ 281417 w 5662788"/>
              <a:gd name="connsiteY267" fmla="*/ 10048 h 1240971"/>
              <a:gd name="connsiteX268" fmla="*/ 261320 w 5662788"/>
              <a:gd name="connsiteY268" fmla="*/ 15072 h 1240971"/>
              <a:gd name="connsiteX269" fmla="*/ 100547 w 5662788"/>
              <a:gd name="connsiteY269" fmla="*/ 20097 h 1240971"/>
              <a:gd name="connsiteX270" fmla="*/ 5087 w 5662788"/>
              <a:gd name="connsiteY270"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19698 w 5662788"/>
              <a:gd name="connsiteY192" fmla="*/ 909376 h 1240971"/>
              <a:gd name="connsiteX193" fmla="*/ 5149843 w 5662788"/>
              <a:gd name="connsiteY193" fmla="*/ 884255 h 1240971"/>
              <a:gd name="connsiteX194" fmla="*/ 5174964 w 5662788"/>
              <a:gd name="connsiteY194" fmla="*/ 874206 h 1240971"/>
              <a:gd name="connsiteX195" fmla="*/ 5200085 w 5662788"/>
              <a:gd name="connsiteY195" fmla="*/ 849086 h 1240971"/>
              <a:gd name="connsiteX196" fmla="*/ 5240278 w 5662788"/>
              <a:gd name="connsiteY196" fmla="*/ 823965 h 1240971"/>
              <a:gd name="connsiteX197" fmla="*/ 5265399 w 5662788"/>
              <a:gd name="connsiteY197" fmla="*/ 803868 h 1240971"/>
              <a:gd name="connsiteX198" fmla="*/ 5275448 w 5662788"/>
              <a:gd name="connsiteY198" fmla="*/ 793820 h 1240971"/>
              <a:gd name="connsiteX199" fmla="*/ 5290520 w 5662788"/>
              <a:gd name="connsiteY199" fmla="*/ 783771 h 1240971"/>
              <a:gd name="connsiteX200" fmla="*/ 5310617 w 5662788"/>
              <a:gd name="connsiteY200" fmla="*/ 768699 h 1240971"/>
              <a:gd name="connsiteX201" fmla="*/ 5340762 w 5662788"/>
              <a:gd name="connsiteY201" fmla="*/ 758650 h 1240971"/>
              <a:gd name="connsiteX202" fmla="*/ 5355835 w 5662788"/>
              <a:gd name="connsiteY202" fmla="*/ 763675 h 1240971"/>
              <a:gd name="connsiteX203" fmla="*/ 5385980 w 5662788"/>
              <a:gd name="connsiteY203" fmla="*/ 783771 h 1240971"/>
              <a:gd name="connsiteX204" fmla="*/ 5431197 w 5662788"/>
              <a:gd name="connsiteY204" fmla="*/ 768699 h 1240971"/>
              <a:gd name="connsiteX205" fmla="*/ 5441246 w 5662788"/>
              <a:gd name="connsiteY205" fmla="*/ 753626 h 1240971"/>
              <a:gd name="connsiteX206" fmla="*/ 5456318 w 5662788"/>
              <a:gd name="connsiteY206" fmla="*/ 708409 h 1240971"/>
              <a:gd name="connsiteX207" fmla="*/ 5466366 w 5662788"/>
              <a:gd name="connsiteY207" fmla="*/ 683288 h 1240971"/>
              <a:gd name="connsiteX208" fmla="*/ 5476415 w 5662788"/>
              <a:gd name="connsiteY208" fmla="*/ 643094 h 1240971"/>
              <a:gd name="connsiteX209" fmla="*/ 5491487 w 5662788"/>
              <a:gd name="connsiteY209" fmla="*/ 617973 h 1240971"/>
              <a:gd name="connsiteX210" fmla="*/ 5506560 w 5662788"/>
              <a:gd name="connsiteY210" fmla="*/ 572756 h 1240971"/>
              <a:gd name="connsiteX211" fmla="*/ 5526656 w 5662788"/>
              <a:gd name="connsiteY211" fmla="*/ 522514 h 1240971"/>
              <a:gd name="connsiteX212" fmla="*/ 5546753 w 5662788"/>
              <a:gd name="connsiteY212" fmla="*/ 467248 h 1240971"/>
              <a:gd name="connsiteX213" fmla="*/ 5556802 w 5662788"/>
              <a:gd name="connsiteY213" fmla="*/ 411982 h 1240971"/>
              <a:gd name="connsiteX214" fmla="*/ 5566850 w 5662788"/>
              <a:gd name="connsiteY214" fmla="*/ 381837 h 1240971"/>
              <a:gd name="connsiteX215" fmla="*/ 5576898 w 5662788"/>
              <a:gd name="connsiteY215" fmla="*/ 356716 h 1240971"/>
              <a:gd name="connsiteX216" fmla="*/ 5596995 w 5662788"/>
              <a:gd name="connsiteY216" fmla="*/ 316523 h 1240971"/>
              <a:gd name="connsiteX217" fmla="*/ 5617092 w 5662788"/>
              <a:gd name="connsiteY217" fmla="*/ 246184 h 1240971"/>
              <a:gd name="connsiteX218" fmla="*/ 5622116 w 5662788"/>
              <a:gd name="connsiteY218" fmla="*/ 226088 h 1240971"/>
              <a:gd name="connsiteX219" fmla="*/ 5632164 w 5662788"/>
              <a:gd name="connsiteY219" fmla="*/ 216039 h 1240971"/>
              <a:gd name="connsiteX220" fmla="*/ 5637188 w 5662788"/>
              <a:gd name="connsiteY220" fmla="*/ 200967 h 1240971"/>
              <a:gd name="connsiteX221" fmla="*/ 5642213 w 5662788"/>
              <a:gd name="connsiteY221" fmla="*/ 180870 h 1240971"/>
              <a:gd name="connsiteX222" fmla="*/ 5652261 w 5662788"/>
              <a:gd name="connsiteY222" fmla="*/ 165798 h 1240971"/>
              <a:gd name="connsiteX223" fmla="*/ 5662309 w 5662788"/>
              <a:gd name="connsiteY223" fmla="*/ 115556 h 1240971"/>
              <a:gd name="connsiteX224" fmla="*/ 5657285 w 5662788"/>
              <a:gd name="connsiteY224" fmla="*/ 80387 h 1240971"/>
              <a:gd name="connsiteX225" fmla="*/ 5627140 w 5662788"/>
              <a:gd name="connsiteY225" fmla="*/ 75363 h 1240971"/>
              <a:gd name="connsiteX226" fmla="*/ 5586947 w 5662788"/>
              <a:gd name="connsiteY226" fmla="*/ 65314 h 1240971"/>
              <a:gd name="connsiteX227" fmla="*/ 5406076 w 5662788"/>
              <a:gd name="connsiteY227" fmla="*/ 70338 h 1240971"/>
              <a:gd name="connsiteX228" fmla="*/ 5345786 w 5662788"/>
              <a:gd name="connsiteY228" fmla="*/ 75363 h 1240971"/>
              <a:gd name="connsiteX229" fmla="*/ 5330714 w 5662788"/>
              <a:gd name="connsiteY229" fmla="*/ 80387 h 1240971"/>
              <a:gd name="connsiteX230" fmla="*/ 5255351 w 5662788"/>
              <a:gd name="connsiteY230" fmla="*/ 85411 h 1240971"/>
              <a:gd name="connsiteX231" fmla="*/ 5049360 w 5662788"/>
              <a:gd name="connsiteY231" fmla="*/ 80387 h 1240971"/>
              <a:gd name="connsiteX232" fmla="*/ 4989070 w 5662788"/>
              <a:gd name="connsiteY232" fmla="*/ 65314 h 1240971"/>
              <a:gd name="connsiteX233" fmla="*/ 4943852 w 5662788"/>
              <a:gd name="connsiteY233" fmla="*/ 60290 h 1240971"/>
              <a:gd name="connsiteX234" fmla="*/ 4823272 w 5662788"/>
              <a:gd name="connsiteY234" fmla="*/ 50242 h 1240971"/>
              <a:gd name="connsiteX235" fmla="*/ 4677571 w 5662788"/>
              <a:gd name="connsiteY235" fmla="*/ 55266 h 1240971"/>
              <a:gd name="connsiteX236" fmla="*/ 4647426 w 5662788"/>
              <a:gd name="connsiteY236" fmla="*/ 60290 h 1240971"/>
              <a:gd name="connsiteX237" fmla="*/ 4577087 w 5662788"/>
              <a:gd name="connsiteY237" fmla="*/ 65314 h 1240971"/>
              <a:gd name="connsiteX238" fmla="*/ 4486652 w 5662788"/>
              <a:gd name="connsiteY238" fmla="*/ 75363 h 1240971"/>
              <a:gd name="connsiteX239" fmla="*/ 4139984 w 5662788"/>
              <a:gd name="connsiteY239" fmla="*/ 60290 h 1240971"/>
              <a:gd name="connsiteX240" fmla="*/ 3918920 w 5662788"/>
              <a:gd name="connsiteY240" fmla="*/ 50242 h 1240971"/>
              <a:gd name="connsiteX241" fmla="*/ 3873703 w 5662788"/>
              <a:gd name="connsiteY241" fmla="*/ 45217 h 1240971"/>
              <a:gd name="connsiteX242" fmla="*/ 3687808 w 5662788"/>
              <a:gd name="connsiteY242" fmla="*/ 40193 h 1240971"/>
              <a:gd name="connsiteX243" fmla="*/ 3662687 w 5662788"/>
              <a:gd name="connsiteY243" fmla="*/ 35169 h 1240971"/>
              <a:gd name="connsiteX244" fmla="*/ 3627518 w 5662788"/>
              <a:gd name="connsiteY244" fmla="*/ 25121 h 1240971"/>
              <a:gd name="connsiteX245" fmla="*/ 3547131 w 5662788"/>
              <a:gd name="connsiteY245" fmla="*/ 20097 h 1240971"/>
              <a:gd name="connsiteX246" fmla="*/ 3310995 w 5662788"/>
              <a:gd name="connsiteY246" fmla="*/ 25121 h 1240971"/>
              <a:gd name="connsiteX247" fmla="*/ 3265777 w 5662788"/>
              <a:gd name="connsiteY247" fmla="*/ 30145 h 1240971"/>
              <a:gd name="connsiteX248" fmla="*/ 3175342 w 5662788"/>
              <a:gd name="connsiteY248" fmla="*/ 35169 h 1240971"/>
              <a:gd name="connsiteX249" fmla="*/ 2582489 w 5662788"/>
              <a:gd name="connsiteY249" fmla="*/ 45217 h 1240971"/>
              <a:gd name="connsiteX250" fmla="*/ 2255918 w 5662788"/>
              <a:gd name="connsiteY250" fmla="*/ 40193 h 1240971"/>
              <a:gd name="connsiteX251" fmla="*/ 1974564 w 5662788"/>
              <a:gd name="connsiteY251" fmla="*/ 30145 h 1240971"/>
              <a:gd name="connsiteX252" fmla="*/ 1944419 w 5662788"/>
              <a:gd name="connsiteY252" fmla="*/ 25121 h 1240971"/>
              <a:gd name="connsiteX253" fmla="*/ 1848960 w 5662788"/>
              <a:gd name="connsiteY253" fmla="*/ 20097 h 1240971"/>
              <a:gd name="connsiteX254" fmla="*/ 1768573 w 5662788"/>
              <a:gd name="connsiteY254" fmla="*/ 10048 h 1240971"/>
              <a:gd name="connsiteX255" fmla="*/ 1502292 w 5662788"/>
              <a:gd name="connsiteY255" fmla="*/ 20097 h 1240971"/>
              <a:gd name="connsiteX256" fmla="*/ 1467122 w 5662788"/>
              <a:gd name="connsiteY256" fmla="*/ 25121 h 1240971"/>
              <a:gd name="connsiteX257" fmla="*/ 1426929 w 5662788"/>
              <a:gd name="connsiteY257" fmla="*/ 30145 h 1240971"/>
              <a:gd name="connsiteX258" fmla="*/ 1341518 w 5662788"/>
              <a:gd name="connsiteY258" fmla="*/ 45217 h 1240971"/>
              <a:gd name="connsiteX259" fmla="*/ 1095333 w 5662788"/>
              <a:gd name="connsiteY259" fmla="*/ 35169 h 1240971"/>
              <a:gd name="connsiteX260" fmla="*/ 979777 w 5662788"/>
              <a:gd name="connsiteY260" fmla="*/ 20097 h 1240971"/>
              <a:gd name="connsiteX261" fmla="*/ 939584 w 5662788"/>
              <a:gd name="connsiteY261" fmla="*/ 10048 h 1240971"/>
              <a:gd name="connsiteX262" fmla="*/ 813980 w 5662788"/>
              <a:gd name="connsiteY262" fmla="*/ 0 h 1240971"/>
              <a:gd name="connsiteX263" fmla="*/ 743641 w 5662788"/>
              <a:gd name="connsiteY263" fmla="*/ 5024 h 1240971"/>
              <a:gd name="connsiteX264" fmla="*/ 582867 w 5662788"/>
              <a:gd name="connsiteY264" fmla="*/ 15072 h 1240971"/>
              <a:gd name="connsiteX265" fmla="*/ 432142 w 5662788"/>
              <a:gd name="connsiteY265" fmla="*/ 5024 h 1240971"/>
              <a:gd name="connsiteX266" fmla="*/ 412046 w 5662788"/>
              <a:gd name="connsiteY266" fmla="*/ 0 h 1240971"/>
              <a:gd name="connsiteX267" fmla="*/ 281417 w 5662788"/>
              <a:gd name="connsiteY267" fmla="*/ 10048 h 1240971"/>
              <a:gd name="connsiteX268" fmla="*/ 261320 w 5662788"/>
              <a:gd name="connsiteY268" fmla="*/ 15072 h 1240971"/>
              <a:gd name="connsiteX269" fmla="*/ 100547 w 5662788"/>
              <a:gd name="connsiteY269" fmla="*/ 20097 h 1240971"/>
              <a:gd name="connsiteX270" fmla="*/ 5087 w 5662788"/>
              <a:gd name="connsiteY270"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49843 w 5662788"/>
              <a:gd name="connsiteY192" fmla="*/ 884255 h 1240971"/>
              <a:gd name="connsiteX193" fmla="*/ 5174964 w 5662788"/>
              <a:gd name="connsiteY193" fmla="*/ 874206 h 1240971"/>
              <a:gd name="connsiteX194" fmla="*/ 5200085 w 5662788"/>
              <a:gd name="connsiteY194" fmla="*/ 849086 h 1240971"/>
              <a:gd name="connsiteX195" fmla="*/ 5240278 w 5662788"/>
              <a:gd name="connsiteY195" fmla="*/ 823965 h 1240971"/>
              <a:gd name="connsiteX196" fmla="*/ 5265399 w 5662788"/>
              <a:gd name="connsiteY196" fmla="*/ 803868 h 1240971"/>
              <a:gd name="connsiteX197" fmla="*/ 5275448 w 5662788"/>
              <a:gd name="connsiteY197" fmla="*/ 793820 h 1240971"/>
              <a:gd name="connsiteX198" fmla="*/ 5290520 w 5662788"/>
              <a:gd name="connsiteY198" fmla="*/ 783771 h 1240971"/>
              <a:gd name="connsiteX199" fmla="*/ 5310617 w 5662788"/>
              <a:gd name="connsiteY199" fmla="*/ 768699 h 1240971"/>
              <a:gd name="connsiteX200" fmla="*/ 5340762 w 5662788"/>
              <a:gd name="connsiteY200" fmla="*/ 758650 h 1240971"/>
              <a:gd name="connsiteX201" fmla="*/ 5355835 w 5662788"/>
              <a:gd name="connsiteY201" fmla="*/ 763675 h 1240971"/>
              <a:gd name="connsiteX202" fmla="*/ 5385980 w 5662788"/>
              <a:gd name="connsiteY202" fmla="*/ 783771 h 1240971"/>
              <a:gd name="connsiteX203" fmla="*/ 5431197 w 5662788"/>
              <a:gd name="connsiteY203" fmla="*/ 768699 h 1240971"/>
              <a:gd name="connsiteX204" fmla="*/ 5441246 w 5662788"/>
              <a:gd name="connsiteY204" fmla="*/ 753626 h 1240971"/>
              <a:gd name="connsiteX205" fmla="*/ 5456318 w 5662788"/>
              <a:gd name="connsiteY205" fmla="*/ 708409 h 1240971"/>
              <a:gd name="connsiteX206" fmla="*/ 5466366 w 5662788"/>
              <a:gd name="connsiteY206" fmla="*/ 683288 h 1240971"/>
              <a:gd name="connsiteX207" fmla="*/ 5476415 w 5662788"/>
              <a:gd name="connsiteY207" fmla="*/ 643094 h 1240971"/>
              <a:gd name="connsiteX208" fmla="*/ 5491487 w 5662788"/>
              <a:gd name="connsiteY208" fmla="*/ 617973 h 1240971"/>
              <a:gd name="connsiteX209" fmla="*/ 5506560 w 5662788"/>
              <a:gd name="connsiteY209" fmla="*/ 572756 h 1240971"/>
              <a:gd name="connsiteX210" fmla="*/ 5526656 w 5662788"/>
              <a:gd name="connsiteY210" fmla="*/ 522514 h 1240971"/>
              <a:gd name="connsiteX211" fmla="*/ 5546753 w 5662788"/>
              <a:gd name="connsiteY211" fmla="*/ 467248 h 1240971"/>
              <a:gd name="connsiteX212" fmla="*/ 5556802 w 5662788"/>
              <a:gd name="connsiteY212" fmla="*/ 411982 h 1240971"/>
              <a:gd name="connsiteX213" fmla="*/ 5566850 w 5662788"/>
              <a:gd name="connsiteY213" fmla="*/ 381837 h 1240971"/>
              <a:gd name="connsiteX214" fmla="*/ 5576898 w 5662788"/>
              <a:gd name="connsiteY214" fmla="*/ 356716 h 1240971"/>
              <a:gd name="connsiteX215" fmla="*/ 5596995 w 5662788"/>
              <a:gd name="connsiteY215" fmla="*/ 316523 h 1240971"/>
              <a:gd name="connsiteX216" fmla="*/ 5617092 w 5662788"/>
              <a:gd name="connsiteY216" fmla="*/ 246184 h 1240971"/>
              <a:gd name="connsiteX217" fmla="*/ 5622116 w 5662788"/>
              <a:gd name="connsiteY217" fmla="*/ 226088 h 1240971"/>
              <a:gd name="connsiteX218" fmla="*/ 5632164 w 5662788"/>
              <a:gd name="connsiteY218" fmla="*/ 216039 h 1240971"/>
              <a:gd name="connsiteX219" fmla="*/ 5637188 w 5662788"/>
              <a:gd name="connsiteY219" fmla="*/ 200967 h 1240971"/>
              <a:gd name="connsiteX220" fmla="*/ 5642213 w 5662788"/>
              <a:gd name="connsiteY220" fmla="*/ 180870 h 1240971"/>
              <a:gd name="connsiteX221" fmla="*/ 5652261 w 5662788"/>
              <a:gd name="connsiteY221" fmla="*/ 165798 h 1240971"/>
              <a:gd name="connsiteX222" fmla="*/ 5662309 w 5662788"/>
              <a:gd name="connsiteY222" fmla="*/ 115556 h 1240971"/>
              <a:gd name="connsiteX223" fmla="*/ 5657285 w 5662788"/>
              <a:gd name="connsiteY223" fmla="*/ 80387 h 1240971"/>
              <a:gd name="connsiteX224" fmla="*/ 5627140 w 5662788"/>
              <a:gd name="connsiteY224" fmla="*/ 75363 h 1240971"/>
              <a:gd name="connsiteX225" fmla="*/ 5586947 w 5662788"/>
              <a:gd name="connsiteY225" fmla="*/ 65314 h 1240971"/>
              <a:gd name="connsiteX226" fmla="*/ 5406076 w 5662788"/>
              <a:gd name="connsiteY226" fmla="*/ 70338 h 1240971"/>
              <a:gd name="connsiteX227" fmla="*/ 5345786 w 5662788"/>
              <a:gd name="connsiteY227" fmla="*/ 75363 h 1240971"/>
              <a:gd name="connsiteX228" fmla="*/ 5330714 w 5662788"/>
              <a:gd name="connsiteY228" fmla="*/ 80387 h 1240971"/>
              <a:gd name="connsiteX229" fmla="*/ 5255351 w 5662788"/>
              <a:gd name="connsiteY229" fmla="*/ 85411 h 1240971"/>
              <a:gd name="connsiteX230" fmla="*/ 5049360 w 5662788"/>
              <a:gd name="connsiteY230" fmla="*/ 80387 h 1240971"/>
              <a:gd name="connsiteX231" fmla="*/ 4989070 w 5662788"/>
              <a:gd name="connsiteY231" fmla="*/ 65314 h 1240971"/>
              <a:gd name="connsiteX232" fmla="*/ 4943852 w 5662788"/>
              <a:gd name="connsiteY232" fmla="*/ 60290 h 1240971"/>
              <a:gd name="connsiteX233" fmla="*/ 4823272 w 5662788"/>
              <a:gd name="connsiteY233" fmla="*/ 50242 h 1240971"/>
              <a:gd name="connsiteX234" fmla="*/ 4677571 w 5662788"/>
              <a:gd name="connsiteY234" fmla="*/ 55266 h 1240971"/>
              <a:gd name="connsiteX235" fmla="*/ 4647426 w 5662788"/>
              <a:gd name="connsiteY235" fmla="*/ 60290 h 1240971"/>
              <a:gd name="connsiteX236" fmla="*/ 4577087 w 5662788"/>
              <a:gd name="connsiteY236" fmla="*/ 65314 h 1240971"/>
              <a:gd name="connsiteX237" fmla="*/ 4486652 w 5662788"/>
              <a:gd name="connsiteY237" fmla="*/ 75363 h 1240971"/>
              <a:gd name="connsiteX238" fmla="*/ 4139984 w 5662788"/>
              <a:gd name="connsiteY238" fmla="*/ 60290 h 1240971"/>
              <a:gd name="connsiteX239" fmla="*/ 3918920 w 5662788"/>
              <a:gd name="connsiteY239" fmla="*/ 50242 h 1240971"/>
              <a:gd name="connsiteX240" fmla="*/ 3873703 w 5662788"/>
              <a:gd name="connsiteY240" fmla="*/ 45217 h 1240971"/>
              <a:gd name="connsiteX241" fmla="*/ 3687808 w 5662788"/>
              <a:gd name="connsiteY241" fmla="*/ 40193 h 1240971"/>
              <a:gd name="connsiteX242" fmla="*/ 3662687 w 5662788"/>
              <a:gd name="connsiteY242" fmla="*/ 35169 h 1240971"/>
              <a:gd name="connsiteX243" fmla="*/ 3627518 w 5662788"/>
              <a:gd name="connsiteY243" fmla="*/ 25121 h 1240971"/>
              <a:gd name="connsiteX244" fmla="*/ 3547131 w 5662788"/>
              <a:gd name="connsiteY244" fmla="*/ 20097 h 1240971"/>
              <a:gd name="connsiteX245" fmla="*/ 3310995 w 5662788"/>
              <a:gd name="connsiteY245" fmla="*/ 25121 h 1240971"/>
              <a:gd name="connsiteX246" fmla="*/ 3265777 w 5662788"/>
              <a:gd name="connsiteY246" fmla="*/ 30145 h 1240971"/>
              <a:gd name="connsiteX247" fmla="*/ 3175342 w 5662788"/>
              <a:gd name="connsiteY247" fmla="*/ 35169 h 1240971"/>
              <a:gd name="connsiteX248" fmla="*/ 2582489 w 5662788"/>
              <a:gd name="connsiteY248" fmla="*/ 45217 h 1240971"/>
              <a:gd name="connsiteX249" fmla="*/ 2255918 w 5662788"/>
              <a:gd name="connsiteY249" fmla="*/ 40193 h 1240971"/>
              <a:gd name="connsiteX250" fmla="*/ 1974564 w 5662788"/>
              <a:gd name="connsiteY250" fmla="*/ 30145 h 1240971"/>
              <a:gd name="connsiteX251" fmla="*/ 1944419 w 5662788"/>
              <a:gd name="connsiteY251" fmla="*/ 25121 h 1240971"/>
              <a:gd name="connsiteX252" fmla="*/ 1848960 w 5662788"/>
              <a:gd name="connsiteY252" fmla="*/ 20097 h 1240971"/>
              <a:gd name="connsiteX253" fmla="*/ 1768573 w 5662788"/>
              <a:gd name="connsiteY253" fmla="*/ 10048 h 1240971"/>
              <a:gd name="connsiteX254" fmla="*/ 1502292 w 5662788"/>
              <a:gd name="connsiteY254" fmla="*/ 20097 h 1240971"/>
              <a:gd name="connsiteX255" fmla="*/ 1467122 w 5662788"/>
              <a:gd name="connsiteY255" fmla="*/ 25121 h 1240971"/>
              <a:gd name="connsiteX256" fmla="*/ 1426929 w 5662788"/>
              <a:gd name="connsiteY256" fmla="*/ 30145 h 1240971"/>
              <a:gd name="connsiteX257" fmla="*/ 1341518 w 5662788"/>
              <a:gd name="connsiteY257" fmla="*/ 45217 h 1240971"/>
              <a:gd name="connsiteX258" fmla="*/ 1095333 w 5662788"/>
              <a:gd name="connsiteY258" fmla="*/ 35169 h 1240971"/>
              <a:gd name="connsiteX259" fmla="*/ 979777 w 5662788"/>
              <a:gd name="connsiteY259" fmla="*/ 20097 h 1240971"/>
              <a:gd name="connsiteX260" fmla="*/ 939584 w 5662788"/>
              <a:gd name="connsiteY260" fmla="*/ 10048 h 1240971"/>
              <a:gd name="connsiteX261" fmla="*/ 813980 w 5662788"/>
              <a:gd name="connsiteY261" fmla="*/ 0 h 1240971"/>
              <a:gd name="connsiteX262" fmla="*/ 743641 w 5662788"/>
              <a:gd name="connsiteY262" fmla="*/ 5024 h 1240971"/>
              <a:gd name="connsiteX263" fmla="*/ 582867 w 5662788"/>
              <a:gd name="connsiteY263" fmla="*/ 15072 h 1240971"/>
              <a:gd name="connsiteX264" fmla="*/ 432142 w 5662788"/>
              <a:gd name="connsiteY264" fmla="*/ 5024 h 1240971"/>
              <a:gd name="connsiteX265" fmla="*/ 412046 w 5662788"/>
              <a:gd name="connsiteY265" fmla="*/ 0 h 1240971"/>
              <a:gd name="connsiteX266" fmla="*/ 281417 w 5662788"/>
              <a:gd name="connsiteY266" fmla="*/ 10048 h 1240971"/>
              <a:gd name="connsiteX267" fmla="*/ 261320 w 5662788"/>
              <a:gd name="connsiteY267" fmla="*/ 15072 h 1240971"/>
              <a:gd name="connsiteX268" fmla="*/ 100547 w 5662788"/>
              <a:gd name="connsiteY268" fmla="*/ 20097 h 1240971"/>
              <a:gd name="connsiteX269" fmla="*/ 5087 w 5662788"/>
              <a:gd name="connsiteY269"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74964 w 5662788"/>
              <a:gd name="connsiteY192" fmla="*/ 874206 h 1240971"/>
              <a:gd name="connsiteX193" fmla="*/ 5200085 w 5662788"/>
              <a:gd name="connsiteY193" fmla="*/ 849086 h 1240971"/>
              <a:gd name="connsiteX194" fmla="*/ 5240278 w 5662788"/>
              <a:gd name="connsiteY194" fmla="*/ 823965 h 1240971"/>
              <a:gd name="connsiteX195" fmla="*/ 5265399 w 5662788"/>
              <a:gd name="connsiteY195" fmla="*/ 803868 h 1240971"/>
              <a:gd name="connsiteX196" fmla="*/ 5275448 w 5662788"/>
              <a:gd name="connsiteY196" fmla="*/ 793820 h 1240971"/>
              <a:gd name="connsiteX197" fmla="*/ 5290520 w 5662788"/>
              <a:gd name="connsiteY197" fmla="*/ 783771 h 1240971"/>
              <a:gd name="connsiteX198" fmla="*/ 5310617 w 5662788"/>
              <a:gd name="connsiteY198" fmla="*/ 768699 h 1240971"/>
              <a:gd name="connsiteX199" fmla="*/ 5340762 w 5662788"/>
              <a:gd name="connsiteY199" fmla="*/ 758650 h 1240971"/>
              <a:gd name="connsiteX200" fmla="*/ 5355835 w 5662788"/>
              <a:gd name="connsiteY200" fmla="*/ 763675 h 1240971"/>
              <a:gd name="connsiteX201" fmla="*/ 5385980 w 5662788"/>
              <a:gd name="connsiteY201" fmla="*/ 783771 h 1240971"/>
              <a:gd name="connsiteX202" fmla="*/ 5431197 w 5662788"/>
              <a:gd name="connsiteY202" fmla="*/ 768699 h 1240971"/>
              <a:gd name="connsiteX203" fmla="*/ 5441246 w 5662788"/>
              <a:gd name="connsiteY203" fmla="*/ 753626 h 1240971"/>
              <a:gd name="connsiteX204" fmla="*/ 5456318 w 5662788"/>
              <a:gd name="connsiteY204" fmla="*/ 708409 h 1240971"/>
              <a:gd name="connsiteX205" fmla="*/ 5466366 w 5662788"/>
              <a:gd name="connsiteY205" fmla="*/ 683288 h 1240971"/>
              <a:gd name="connsiteX206" fmla="*/ 5476415 w 5662788"/>
              <a:gd name="connsiteY206" fmla="*/ 643094 h 1240971"/>
              <a:gd name="connsiteX207" fmla="*/ 5491487 w 5662788"/>
              <a:gd name="connsiteY207" fmla="*/ 617973 h 1240971"/>
              <a:gd name="connsiteX208" fmla="*/ 5506560 w 5662788"/>
              <a:gd name="connsiteY208" fmla="*/ 572756 h 1240971"/>
              <a:gd name="connsiteX209" fmla="*/ 5526656 w 5662788"/>
              <a:gd name="connsiteY209" fmla="*/ 522514 h 1240971"/>
              <a:gd name="connsiteX210" fmla="*/ 5546753 w 5662788"/>
              <a:gd name="connsiteY210" fmla="*/ 467248 h 1240971"/>
              <a:gd name="connsiteX211" fmla="*/ 5556802 w 5662788"/>
              <a:gd name="connsiteY211" fmla="*/ 411982 h 1240971"/>
              <a:gd name="connsiteX212" fmla="*/ 5566850 w 5662788"/>
              <a:gd name="connsiteY212" fmla="*/ 381837 h 1240971"/>
              <a:gd name="connsiteX213" fmla="*/ 5576898 w 5662788"/>
              <a:gd name="connsiteY213" fmla="*/ 356716 h 1240971"/>
              <a:gd name="connsiteX214" fmla="*/ 5596995 w 5662788"/>
              <a:gd name="connsiteY214" fmla="*/ 316523 h 1240971"/>
              <a:gd name="connsiteX215" fmla="*/ 5617092 w 5662788"/>
              <a:gd name="connsiteY215" fmla="*/ 246184 h 1240971"/>
              <a:gd name="connsiteX216" fmla="*/ 5622116 w 5662788"/>
              <a:gd name="connsiteY216" fmla="*/ 226088 h 1240971"/>
              <a:gd name="connsiteX217" fmla="*/ 5632164 w 5662788"/>
              <a:gd name="connsiteY217" fmla="*/ 216039 h 1240971"/>
              <a:gd name="connsiteX218" fmla="*/ 5637188 w 5662788"/>
              <a:gd name="connsiteY218" fmla="*/ 200967 h 1240971"/>
              <a:gd name="connsiteX219" fmla="*/ 5642213 w 5662788"/>
              <a:gd name="connsiteY219" fmla="*/ 180870 h 1240971"/>
              <a:gd name="connsiteX220" fmla="*/ 5652261 w 5662788"/>
              <a:gd name="connsiteY220" fmla="*/ 165798 h 1240971"/>
              <a:gd name="connsiteX221" fmla="*/ 5662309 w 5662788"/>
              <a:gd name="connsiteY221" fmla="*/ 115556 h 1240971"/>
              <a:gd name="connsiteX222" fmla="*/ 5657285 w 5662788"/>
              <a:gd name="connsiteY222" fmla="*/ 80387 h 1240971"/>
              <a:gd name="connsiteX223" fmla="*/ 5627140 w 5662788"/>
              <a:gd name="connsiteY223" fmla="*/ 75363 h 1240971"/>
              <a:gd name="connsiteX224" fmla="*/ 5586947 w 5662788"/>
              <a:gd name="connsiteY224" fmla="*/ 65314 h 1240971"/>
              <a:gd name="connsiteX225" fmla="*/ 5406076 w 5662788"/>
              <a:gd name="connsiteY225" fmla="*/ 70338 h 1240971"/>
              <a:gd name="connsiteX226" fmla="*/ 5345786 w 5662788"/>
              <a:gd name="connsiteY226" fmla="*/ 75363 h 1240971"/>
              <a:gd name="connsiteX227" fmla="*/ 5330714 w 5662788"/>
              <a:gd name="connsiteY227" fmla="*/ 80387 h 1240971"/>
              <a:gd name="connsiteX228" fmla="*/ 5255351 w 5662788"/>
              <a:gd name="connsiteY228" fmla="*/ 85411 h 1240971"/>
              <a:gd name="connsiteX229" fmla="*/ 5049360 w 5662788"/>
              <a:gd name="connsiteY229" fmla="*/ 80387 h 1240971"/>
              <a:gd name="connsiteX230" fmla="*/ 4989070 w 5662788"/>
              <a:gd name="connsiteY230" fmla="*/ 65314 h 1240971"/>
              <a:gd name="connsiteX231" fmla="*/ 4943852 w 5662788"/>
              <a:gd name="connsiteY231" fmla="*/ 60290 h 1240971"/>
              <a:gd name="connsiteX232" fmla="*/ 4823272 w 5662788"/>
              <a:gd name="connsiteY232" fmla="*/ 50242 h 1240971"/>
              <a:gd name="connsiteX233" fmla="*/ 4677571 w 5662788"/>
              <a:gd name="connsiteY233" fmla="*/ 55266 h 1240971"/>
              <a:gd name="connsiteX234" fmla="*/ 4647426 w 5662788"/>
              <a:gd name="connsiteY234" fmla="*/ 60290 h 1240971"/>
              <a:gd name="connsiteX235" fmla="*/ 4577087 w 5662788"/>
              <a:gd name="connsiteY235" fmla="*/ 65314 h 1240971"/>
              <a:gd name="connsiteX236" fmla="*/ 4486652 w 5662788"/>
              <a:gd name="connsiteY236" fmla="*/ 75363 h 1240971"/>
              <a:gd name="connsiteX237" fmla="*/ 4139984 w 5662788"/>
              <a:gd name="connsiteY237" fmla="*/ 60290 h 1240971"/>
              <a:gd name="connsiteX238" fmla="*/ 3918920 w 5662788"/>
              <a:gd name="connsiteY238" fmla="*/ 50242 h 1240971"/>
              <a:gd name="connsiteX239" fmla="*/ 3873703 w 5662788"/>
              <a:gd name="connsiteY239" fmla="*/ 45217 h 1240971"/>
              <a:gd name="connsiteX240" fmla="*/ 3687808 w 5662788"/>
              <a:gd name="connsiteY240" fmla="*/ 40193 h 1240971"/>
              <a:gd name="connsiteX241" fmla="*/ 3662687 w 5662788"/>
              <a:gd name="connsiteY241" fmla="*/ 35169 h 1240971"/>
              <a:gd name="connsiteX242" fmla="*/ 3627518 w 5662788"/>
              <a:gd name="connsiteY242" fmla="*/ 25121 h 1240971"/>
              <a:gd name="connsiteX243" fmla="*/ 3547131 w 5662788"/>
              <a:gd name="connsiteY243" fmla="*/ 20097 h 1240971"/>
              <a:gd name="connsiteX244" fmla="*/ 3310995 w 5662788"/>
              <a:gd name="connsiteY244" fmla="*/ 25121 h 1240971"/>
              <a:gd name="connsiteX245" fmla="*/ 3265777 w 5662788"/>
              <a:gd name="connsiteY245" fmla="*/ 30145 h 1240971"/>
              <a:gd name="connsiteX246" fmla="*/ 3175342 w 5662788"/>
              <a:gd name="connsiteY246" fmla="*/ 35169 h 1240971"/>
              <a:gd name="connsiteX247" fmla="*/ 2582489 w 5662788"/>
              <a:gd name="connsiteY247" fmla="*/ 45217 h 1240971"/>
              <a:gd name="connsiteX248" fmla="*/ 2255918 w 5662788"/>
              <a:gd name="connsiteY248" fmla="*/ 40193 h 1240971"/>
              <a:gd name="connsiteX249" fmla="*/ 1974564 w 5662788"/>
              <a:gd name="connsiteY249" fmla="*/ 30145 h 1240971"/>
              <a:gd name="connsiteX250" fmla="*/ 1944419 w 5662788"/>
              <a:gd name="connsiteY250" fmla="*/ 25121 h 1240971"/>
              <a:gd name="connsiteX251" fmla="*/ 1848960 w 5662788"/>
              <a:gd name="connsiteY251" fmla="*/ 20097 h 1240971"/>
              <a:gd name="connsiteX252" fmla="*/ 1768573 w 5662788"/>
              <a:gd name="connsiteY252" fmla="*/ 10048 h 1240971"/>
              <a:gd name="connsiteX253" fmla="*/ 1502292 w 5662788"/>
              <a:gd name="connsiteY253" fmla="*/ 20097 h 1240971"/>
              <a:gd name="connsiteX254" fmla="*/ 1467122 w 5662788"/>
              <a:gd name="connsiteY254" fmla="*/ 25121 h 1240971"/>
              <a:gd name="connsiteX255" fmla="*/ 1426929 w 5662788"/>
              <a:gd name="connsiteY255" fmla="*/ 30145 h 1240971"/>
              <a:gd name="connsiteX256" fmla="*/ 1341518 w 5662788"/>
              <a:gd name="connsiteY256" fmla="*/ 45217 h 1240971"/>
              <a:gd name="connsiteX257" fmla="*/ 1095333 w 5662788"/>
              <a:gd name="connsiteY257" fmla="*/ 35169 h 1240971"/>
              <a:gd name="connsiteX258" fmla="*/ 979777 w 5662788"/>
              <a:gd name="connsiteY258" fmla="*/ 20097 h 1240971"/>
              <a:gd name="connsiteX259" fmla="*/ 939584 w 5662788"/>
              <a:gd name="connsiteY259" fmla="*/ 10048 h 1240971"/>
              <a:gd name="connsiteX260" fmla="*/ 813980 w 5662788"/>
              <a:gd name="connsiteY260" fmla="*/ 0 h 1240971"/>
              <a:gd name="connsiteX261" fmla="*/ 743641 w 5662788"/>
              <a:gd name="connsiteY261" fmla="*/ 5024 h 1240971"/>
              <a:gd name="connsiteX262" fmla="*/ 582867 w 5662788"/>
              <a:gd name="connsiteY262" fmla="*/ 15072 h 1240971"/>
              <a:gd name="connsiteX263" fmla="*/ 432142 w 5662788"/>
              <a:gd name="connsiteY263" fmla="*/ 5024 h 1240971"/>
              <a:gd name="connsiteX264" fmla="*/ 412046 w 5662788"/>
              <a:gd name="connsiteY264" fmla="*/ 0 h 1240971"/>
              <a:gd name="connsiteX265" fmla="*/ 281417 w 5662788"/>
              <a:gd name="connsiteY265" fmla="*/ 10048 h 1240971"/>
              <a:gd name="connsiteX266" fmla="*/ 261320 w 5662788"/>
              <a:gd name="connsiteY266" fmla="*/ 15072 h 1240971"/>
              <a:gd name="connsiteX267" fmla="*/ 100547 w 5662788"/>
              <a:gd name="connsiteY267" fmla="*/ 20097 h 1240971"/>
              <a:gd name="connsiteX268" fmla="*/ 5087 w 5662788"/>
              <a:gd name="connsiteY268"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00085 w 5662788"/>
              <a:gd name="connsiteY193" fmla="*/ 849086 h 1240971"/>
              <a:gd name="connsiteX194" fmla="*/ 5240278 w 5662788"/>
              <a:gd name="connsiteY194" fmla="*/ 823965 h 1240971"/>
              <a:gd name="connsiteX195" fmla="*/ 5265399 w 5662788"/>
              <a:gd name="connsiteY195" fmla="*/ 803868 h 1240971"/>
              <a:gd name="connsiteX196" fmla="*/ 5275448 w 5662788"/>
              <a:gd name="connsiteY196" fmla="*/ 793820 h 1240971"/>
              <a:gd name="connsiteX197" fmla="*/ 5290520 w 5662788"/>
              <a:gd name="connsiteY197" fmla="*/ 783771 h 1240971"/>
              <a:gd name="connsiteX198" fmla="*/ 5310617 w 5662788"/>
              <a:gd name="connsiteY198" fmla="*/ 768699 h 1240971"/>
              <a:gd name="connsiteX199" fmla="*/ 5340762 w 5662788"/>
              <a:gd name="connsiteY199" fmla="*/ 758650 h 1240971"/>
              <a:gd name="connsiteX200" fmla="*/ 5355835 w 5662788"/>
              <a:gd name="connsiteY200" fmla="*/ 763675 h 1240971"/>
              <a:gd name="connsiteX201" fmla="*/ 5385980 w 5662788"/>
              <a:gd name="connsiteY201" fmla="*/ 783771 h 1240971"/>
              <a:gd name="connsiteX202" fmla="*/ 5431197 w 5662788"/>
              <a:gd name="connsiteY202" fmla="*/ 768699 h 1240971"/>
              <a:gd name="connsiteX203" fmla="*/ 5441246 w 5662788"/>
              <a:gd name="connsiteY203" fmla="*/ 753626 h 1240971"/>
              <a:gd name="connsiteX204" fmla="*/ 5456318 w 5662788"/>
              <a:gd name="connsiteY204" fmla="*/ 708409 h 1240971"/>
              <a:gd name="connsiteX205" fmla="*/ 5466366 w 5662788"/>
              <a:gd name="connsiteY205" fmla="*/ 683288 h 1240971"/>
              <a:gd name="connsiteX206" fmla="*/ 5476415 w 5662788"/>
              <a:gd name="connsiteY206" fmla="*/ 643094 h 1240971"/>
              <a:gd name="connsiteX207" fmla="*/ 5491487 w 5662788"/>
              <a:gd name="connsiteY207" fmla="*/ 617973 h 1240971"/>
              <a:gd name="connsiteX208" fmla="*/ 5506560 w 5662788"/>
              <a:gd name="connsiteY208" fmla="*/ 572756 h 1240971"/>
              <a:gd name="connsiteX209" fmla="*/ 5526656 w 5662788"/>
              <a:gd name="connsiteY209" fmla="*/ 522514 h 1240971"/>
              <a:gd name="connsiteX210" fmla="*/ 5546753 w 5662788"/>
              <a:gd name="connsiteY210" fmla="*/ 467248 h 1240971"/>
              <a:gd name="connsiteX211" fmla="*/ 5556802 w 5662788"/>
              <a:gd name="connsiteY211" fmla="*/ 411982 h 1240971"/>
              <a:gd name="connsiteX212" fmla="*/ 5566850 w 5662788"/>
              <a:gd name="connsiteY212" fmla="*/ 381837 h 1240971"/>
              <a:gd name="connsiteX213" fmla="*/ 5576898 w 5662788"/>
              <a:gd name="connsiteY213" fmla="*/ 356716 h 1240971"/>
              <a:gd name="connsiteX214" fmla="*/ 5596995 w 5662788"/>
              <a:gd name="connsiteY214" fmla="*/ 316523 h 1240971"/>
              <a:gd name="connsiteX215" fmla="*/ 5617092 w 5662788"/>
              <a:gd name="connsiteY215" fmla="*/ 246184 h 1240971"/>
              <a:gd name="connsiteX216" fmla="*/ 5622116 w 5662788"/>
              <a:gd name="connsiteY216" fmla="*/ 226088 h 1240971"/>
              <a:gd name="connsiteX217" fmla="*/ 5632164 w 5662788"/>
              <a:gd name="connsiteY217" fmla="*/ 216039 h 1240971"/>
              <a:gd name="connsiteX218" fmla="*/ 5637188 w 5662788"/>
              <a:gd name="connsiteY218" fmla="*/ 200967 h 1240971"/>
              <a:gd name="connsiteX219" fmla="*/ 5642213 w 5662788"/>
              <a:gd name="connsiteY219" fmla="*/ 180870 h 1240971"/>
              <a:gd name="connsiteX220" fmla="*/ 5652261 w 5662788"/>
              <a:gd name="connsiteY220" fmla="*/ 165798 h 1240971"/>
              <a:gd name="connsiteX221" fmla="*/ 5662309 w 5662788"/>
              <a:gd name="connsiteY221" fmla="*/ 115556 h 1240971"/>
              <a:gd name="connsiteX222" fmla="*/ 5657285 w 5662788"/>
              <a:gd name="connsiteY222" fmla="*/ 80387 h 1240971"/>
              <a:gd name="connsiteX223" fmla="*/ 5627140 w 5662788"/>
              <a:gd name="connsiteY223" fmla="*/ 75363 h 1240971"/>
              <a:gd name="connsiteX224" fmla="*/ 5586947 w 5662788"/>
              <a:gd name="connsiteY224" fmla="*/ 65314 h 1240971"/>
              <a:gd name="connsiteX225" fmla="*/ 5406076 w 5662788"/>
              <a:gd name="connsiteY225" fmla="*/ 70338 h 1240971"/>
              <a:gd name="connsiteX226" fmla="*/ 5345786 w 5662788"/>
              <a:gd name="connsiteY226" fmla="*/ 75363 h 1240971"/>
              <a:gd name="connsiteX227" fmla="*/ 5330714 w 5662788"/>
              <a:gd name="connsiteY227" fmla="*/ 80387 h 1240971"/>
              <a:gd name="connsiteX228" fmla="*/ 5255351 w 5662788"/>
              <a:gd name="connsiteY228" fmla="*/ 85411 h 1240971"/>
              <a:gd name="connsiteX229" fmla="*/ 5049360 w 5662788"/>
              <a:gd name="connsiteY229" fmla="*/ 80387 h 1240971"/>
              <a:gd name="connsiteX230" fmla="*/ 4989070 w 5662788"/>
              <a:gd name="connsiteY230" fmla="*/ 65314 h 1240971"/>
              <a:gd name="connsiteX231" fmla="*/ 4943852 w 5662788"/>
              <a:gd name="connsiteY231" fmla="*/ 60290 h 1240971"/>
              <a:gd name="connsiteX232" fmla="*/ 4823272 w 5662788"/>
              <a:gd name="connsiteY232" fmla="*/ 50242 h 1240971"/>
              <a:gd name="connsiteX233" fmla="*/ 4677571 w 5662788"/>
              <a:gd name="connsiteY233" fmla="*/ 55266 h 1240971"/>
              <a:gd name="connsiteX234" fmla="*/ 4647426 w 5662788"/>
              <a:gd name="connsiteY234" fmla="*/ 60290 h 1240971"/>
              <a:gd name="connsiteX235" fmla="*/ 4577087 w 5662788"/>
              <a:gd name="connsiteY235" fmla="*/ 65314 h 1240971"/>
              <a:gd name="connsiteX236" fmla="*/ 4486652 w 5662788"/>
              <a:gd name="connsiteY236" fmla="*/ 75363 h 1240971"/>
              <a:gd name="connsiteX237" fmla="*/ 4139984 w 5662788"/>
              <a:gd name="connsiteY237" fmla="*/ 60290 h 1240971"/>
              <a:gd name="connsiteX238" fmla="*/ 3918920 w 5662788"/>
              <a:gd name="connsiteY238" fmla="*/ 50242 h 1240971"/>
              <a:gd name="connsiteX239" fmla="*/ 3873703 w 5662788"/>
              <a:gd name="connsiteY239" fmla="*/ 45217 h 1240971"/>
              <a:gd name="connsiteX240" fmla="*/ 3687808 w 5662788"/>
              <a:gd name="connsiteY240" fmla="*/ 40193 h 1240971"/>
              <a:gd name="connsiteX241" fmla="*/ 3662687 w 5662788"/>
              <a:gd name="connsiteY241" fmla="*/ 35169 h 1240971"/>
              <a:gd name="connsiteX242" fmla="*/ 3627518 w 5662788"/>
              <a:gd name="connsiteY242" fmla="*/ 25121 h 1240971"/>
              <a:gd name="connsiteX243" fmla="*/ 3547131 w 5662788"/>
              <a:gd name="connsiteY243" fmla="*/ 20097 h 1240971"/>
              <a:gd name="connsiteX244" fmla="*/ 3310995 w 5662788"/>
              <a:gd name="connsiteY244" fmla="*/ 25121 h 1240971"/>
              <a:gd name="connsiteX245" fmla="*/ 3265777 w 5662788"/>
              <a:gd name="connsiteY245" fmla="*/ 30145 h 1240971"/>
              <a:gd name="connsiteX246" fmla="*/ 3175342 w 5662788"/>
              <a:gd name="connsiteY246" fmla="*/ 35169 h 1240971"/>
              <a:gd name="connsiteX247" fmla="*/ 2582489 w 5662788"/>
              <a:gd name="connsiteY247" fmla="*/ 45217 h 1240971"/>
              <a:gd name="connsiteX248" fmla="*/ 2255918 w 5662788"/>
              <a:gd name="connsiteY248" fmla="*/ 40193 h 1240971"/>
              <a:gd name="connsiteX249" fmla="*/ 1974564 w 5662788"/>
              <a:gd name="connsiteY249" fmla="*/ 30145 h 1240971"/>
              <a:gd name="connsiteX250" fmla="*/ 1944419 w 5662788"/>
              <a:gd name="connsiteY250" fmla="*/ 25121 h 1240971"/>
              <a:gd name="connsiteX251" fmla="*/ 1848960 w 5662788"/>
              <a:gd name="connsiteY251" fmla="*/ 20097 h 1240971"/>
              <a:gd name="connsiteX252" fmla="*/ 1768573 w 5662788"/>
              <a:gd name="connsiteY252" fmla="*/ 10048 h 1240971"/>
              <a:gd name="connsiteX253" fmla="*/ 1502292 w 5662788"/>
              <a:gd name="connsiteY253" fmla="*/ 20097 h 1240971"/>
              <a:gd name="connsiteX254" fmla="*/ 1467122 w 5662788"/>
              <a:gd name="connsiteY254" fmla="*/ 25121 h 1240971"/>
              <a:gd name="connsiteX255" fmla="*/ 1426929 w 5662788"/>
              <a:gd name="connsiteY255" fmla="*/ 30145 h 1240971"/>
              <a:gd name="connsiteX256" fmla="*/ 1341518 w 5662788"/>
              <a:gd name="connsiteY256" fmla="*/ 45217 h 1240971"/>
              <a:gd name="connsiteX257" fmla="*/ 1095333 w 5662788"/>
              <a:gd name="connsiteY257" fmla="*/ 35169 h 1240971"/>
              <a:gd name="connsiteX258" fmla="*/ 979777 w 5662788"/>
              <a:gd name="connsiteY258" fmla="*/ 20097 h 1240971"/>
              <a:gd name="connsiteX259" fmla="*/ 939584 w 5662788"/>
              <a:gd name="connsiteY259" fmla="*/ 10048 h 1240971"/>
              <a:gd name="connsiteX260" fmla="*/ 813980 w 5662788"/>
              <a:gd name="connsiteY260" fmla="*/ 0 h 1240971"/>
              <a:gd name="connsiteX261" fmla="*/ 743641 w 5662788"/>
              <a:gd name="connsiteY261" fmla="*/ 5024 h 1240971"/>
              <a:gd name="connsiteX262" fmla="*/ 582867 w 5662788"/>
              <a:gd name="connsiteY262" fmla="*/ 15072 h 1240971"/>
              <a:gd name="connsiteX263" fmla="*/ 432142 w 5662788"/>
              <a:gd name="connsiteY263" fmla="*/ 5024 h 1240971"/>
              <a:gd name="connsiteX264" fmla="*/ 412046 w 5662788"/>
              <a:gd name="connsiteY264" fmla="*/ 0 h 1240971"/>
              <a:gd name="connsiteX265" fmla="*/ 281417 w 5662788"/>
              <a:gd name="connsiteY265" fmla="*/ 10048 h 1240971"/>
              <a:gd name="connsiteX266" fmla="*/ 261320 w 5662788"/>
              <a:gd name="connsiteY266" fmla="*/ 15072 h 1240971"/>
              <a:gd name="connsiteX267" fmla="*/ 100547 w 5662788"/>
              <a:gd name="connsiteY267" fmla="*/ 20097 h 1240971"/>
              <a:gd name="connsiteX268" fmla="*/ 5087 w 5662788"/>
              <a:gd name="connsiteY268"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40278 w 5662788"/>
              <a:gd name="connsiteY194" fmla="*/ 823965 h 1240971"/>
              <a:gd name="connsiteX195" fmla="*/ 5265399 w 5662788"/>
              <a:gd name="connsiteY195" fmla="*/ 803868 h 1240971"/>
              <a:gd name="connsiteX196" fmla="*/ 5275448 w 5662788"/>
              <a:gd name="connsiteY196" fmla="*/ 793820 h 1240971"/>
              <a:gd name="connsiteX197" fmla="*/ 5290520 w 5662788"/>
              <a:gd name="connsiteY197" fmla="*/ 783771 h 1240971"/>
              <a:gd name="connsiteX198" fmla="*/ 5310617 w 5662788"/>
              <a:gd name="connsiteY198" fmla="*/ 768699 h 1240971"/>
              <a:gd name="connsiteX199" fmla="*/ 5340762 w 5662788"/>
              <a:gd name="connsiteY199" fmla="*/ 758650 h 1240971"/>
              <a:gd name="connsiteX200" fmla="*/ 5355835 w 5662788"/>
              <a:gd name="connsiteY200" fmla="*/ 763675 h 1240971"/>
              <a:gd name="connsiteX201" fmla="*/ 5385980 w 5662788"/>
              <a:gd name="connsiteY201" fmla="*/ 783771 h 1240971"/>
              <a:gd name="connsiteX202" fmla="*/ 5431197 w 5662788"/>
              <a:gd name="connsiteY202" fmla="*/ 768699 h 1240971"/>
              <a:gd name="connsiteX203" fmla="*/ 5441246 w 5662788"/>
              <a:gd name="connsiteY203" fmla="*/ 753626 h 1240971"/>
              <a:gd name="connsiteX204" fmla="*/ 5456318 w 5662788"/>
              <a:gd name="connsiteY204" fmla="*/ 708409 h 1240971"/>
              <a:gd name="connsiteX205" fmla="*/ 5466366 w 5662788"/>
              <a:gd name="connsiteY205" fmla="*/ 683288 h 1240971"/>
              <a:gd name="connsiteX206" fmla="*/ 5476415 w 5662788"/>
              <a:gd name="connsiteY206" fmla="*/ 643094 h 1240971"/>
              <a:gd name="connsiteX207" fmla="*/ 5491487 w 5662788"/>
              <a:gd name="connsiteY207" fmla="*/ 617973 h 1240971"/>
              <a:gd name="connsiteX208" fmla="*/ 5506560 w 5662788"/>
              <a:gd name="connsiteY208" fmla="*/ 572756 h 1240971"/>
              <a:gd name="connsiteX209" fmla="*/ 5526656 w 5662788"/>
              <a:gd name="connsiteY209" fmla="*/ 522514 h 1240971"/>
              <a:gd name="connsiteX210" fmla="*/ 5546753 w 5662788"/>
              <a:gd name="connsiteY210" fmla="*/ 467248 h 1240971"/>
              <a:gd name="connsiteX211" fmla="*/ 5556802 w 5662788"/>
              <a:gd name="connsiteY211" fmla="*/ 411982 h 1240971"/>
              <a:gd name="connsiteX212" fmla="*/ 5566850 w 5662788"/>
              <a:gd name="connsiteY212" fmla="*/ 381837 h 1240971"/>
              <a:gd name="connsiteX213" fmla="*/ 5576898 w 5662788"/>
              <a:gd name="connsiteY213" fmla="*/ 356716 h 1240971"/>
              <a:gd name="connsiteX214" fmla="*/ 5596995 w 5662788"/>
              <a:gd name="connsiteY214" fmla="*/ 316523 h 1240971"/>
              <a:gd name="connsiteX215" fmla="*/ 5617092 w 5662788"/>
              <a:gd name="connsiteY215" fmla="*/ 246184 h 1240971"/>
              <a:gd name="connsiteX216" fmla="*/ 5622116 w 5662788"/>
              <a:gd name="connsiteY216" fmla="*/ 226088 h 1240971"/>
              <a:gd name="connsiteX217" fmla="*/ 5632164 w 5662788"/>
              <a:gd name="connsiteY217" fmla="*/ 216039 h 1240971"/>
              <a:gd name="connsiteX218" fmla="*/ 5637188 w 5662788"/>
              <a:gd name="connsiteY218" fmla="*/ 200967 h 1240971"/>
              <a:gd name="connsiteX219" fmla="*/ 5642213 w 5662788"/>
              <a:gd name="connsiteY219" fmla="*/ 180870 h 1240971"/>
              <a:gd name="connsiteX220" fmla="*/ 5652261 w 5662788"/>
              <a:gd name="connsiteY220" fmla="*/ 165798 h 1240971"/>
              <a:gd name="connsiteX221" fmla="*/ 5662309 w 5662788"/>
              <a:gd name="connsiteY221" fmla="*/ 115556 h 1240971"/>
              <a:gd name="connsiteX222" fmla="*/ 5657285 w 5662788"/>
              <a:gd name="connsiteY222" fmla="*/ 80387 h 1240971"/>
              <a:gd name="connsiteX223" fmla="*/ 5627140 w 5662788"/>
              <a:gd name="connsiteY223" fmla="*/ 75363 h 1240971"/>
              <a:gd name="connsiteX224" fmla="*/ 5586947 w 5662788"/>
              <a:gd name="connsiteY224" fmla="*/ 65314 h 1240971"/>
              <a:gd name="connsiteX225" fmla="*/ 5406076 w 5662788"/>
              <a:gd name="connsiteY225" fmla="*/ 70338 h 1240971"/>
              <a:gd name="connsiteX226" fmla="*/ 5345786 w 5662788"/>
              <a:gd name="connsiteY226" fmla="*/ 75363 h 1240971"/>
              <a:gd name="connsiteX227" fmla="*/ 5330714 w 5662788"/>
              <a:gd name="connsiteY227" fmla="*/ 80387 h 1240971"/>
              <a:gd name="connsiteX228" fmla="*/ 5255351 w 5662788"/>
              <a:gd name="connsiteY228" fmla="*/ 85411 h 1240971"/>
              <a:gd name="connsiteX229" fmla="*/ 5049360 w 5662788"/>
              <a:gd name="connsiteY229" fmla="*/ 80387 h 1240971"/>
              <a:gd name="connsiteX230" fmla="*/ 4989070 w 5662788"/>
              <a:gd name="connsiteY230" fmla="*/ 65314 h 1240971"/>
              <a:gd name="connsiteX231" fmla="*/ 4943852 w 5662788"/>
              <a:gd name="connsiteY231" fmla="*/ 60290 h 1240971"/>
              <a:gd name="connsiteX232" fmla="*/ 4823272 w 5662788"/>
              <a:gd name="connsiteY232" fmla="*/ 50242 h 1240971"/>
              <a:gd name="connsiteX233" fmla="*/ 4677571 w 5662788"/>
              <a:gd name="connsiteY233" fmla="*/ 55266 h 1240971"/>
              <a:gd name="connsiteX234" fmla="*/ 4647426 w 5662788"/>
              <a:gd name="connsiteY234" fmla="*/ 60290 h 1240971"/>
              <a:gd name="connsiteX235" fmla="*/ 4577087 w 5662788"/>
              <a:gd name="connsiteY235" fmla="*/ 65314 h 1240971"/>
              <a:gd name="connsiteX236" fmla="*/ 4486652 w 5662788"/>
              <a:gd name="connsiteY236" fmla="*/ 75363 h 1240971"/>
              <a:gd name="connsiteX237" fmla="*/ 4139984 w 5662788"/>
              <a:gd name="connsiteY237" fmla="*/ 60290 h 1240971"/>
              <a:gd name="connsiteX238" fmla="*/ 3918920 w 5662788"/>
              <a:gd name="connsiteY238" fmla="*/ 50242 h 1240971"/>
              <a:gd name="connsiteX239" fmla="*/ 3873703 w 5662788"/>
              <a:gd name="connsiteY239" fmla="*/ 45217 h 1240971"/>
              <a:gd name="connsiteX240" fmla="*/ 3687808 w 5662788"/>
              <a:gd name="connsiteY240" fmla="*/ 40193 h 1240971"/>
              <a:gd name="connsiteX241" fmla="*/ 3662687 w 5662788"/>
              <a:gd name="connsiteY241" fmla="*/ 35169 h 1240971"/>
              <a:gd name="connsiteX242" fmla="*/ 3627518 w 5662788"/>
              <a:gd name="connsiteY242" fmla="*/ 25121 h 1240971"/>
              <a:gd name="connsiteX243" fmla="*/ 3547131 w 5662788"/>
              <a:gd name="connsiteY243" fmla="*/ 20097 h 1240971"/>
              <a:gd name="connsiteX244" fmla="*/ 3310995 w 5662788"/>
              <a:gd name="connsiteY244" fmla="*/ 25121 h 1240971"/>
              <a:gd name="connsiteX245" fmla="*/ 3265777 w 5662788"/>
              <a:gd name="connsiteY245" fmla="*/ 30145 h 1240971"/>
              <a:gd name="connsiteX246" fmla="*/ 3175342 w 5662788"/>
              <a:gd name="connsiteY246" fmla="*/ 35169 h 1240971"/>
              <a:gd name="connsiteX247" fmla="*/ 2582489 w 5662788"/>
              <a:gd name="connsiteY247" fmla="*/ 45217 h 1240971"/>
              <a:gd name="connsiteX248" fmla="*/ 2255918 w 5662788"/>
              <a:gd name="connsiteY248" fmla="*/ 40193 h 1240971"/>
              <a:gd name="connsiteX249" fmla="*/ 1974564 w 5662788"/>
              <a:gd name="connsiteY249" fmla="*/ 30145 h 1240971"/>
              <a:gd name="connsiteX250" fmla="*/ 1944419 w 5662788"/>
              <a:gd name="connsiteY250" fmla="*/ 25121 h 1240971"/>
              <a:gd name="connsiteX251" fmla="*/ 1848960 w 5662788"/>
              <a:gd name="connsiteY251" fmla="*/ 20097 h 1240971"/>
              <a:gd name="connsiteX252" fmla="*/ 1768573 w 5662788"/>
              <a:gd name="connsiteY252" fmla="*/ 10048 h 1240971"/>
              <a:gd name="connsiteX253" fmla="*/ 1502292 w 5662788"/>
              <a:gd name="connsiteY253" fmla="*/ 20097 h 1240971"/>
              <a:gd name="connsiteX254" fmla="*/ 1467122 w 5662788"/>
              <a:gd name="connsiteY254" fmla="*/ 25121 h 1240971"/>
              <a:gd name="connsiteX255" fmla="*/ 1426929 w 5662788"/>
              <a:gd name="connsiteY255" fmla="*/ 30145 h 1240971"/>
              <a:gd name="connsiteX256" fmla="*/ 1341518 w 5662788"/>
              <a:gd name="connsiteY256" fmla="*/ 45217 h 1240971"/>
              <a:gd name="connsiteX257" fmla="*/ 1095333 w 5662788"/>
              <a:gd name="connsiteY257" fmla="*/ 35169 h 1240971"/>
              <a:gd name="connsiteX258" fmla="*/ 979777 w 5662788"/>
              <a:gd name="connsiteY258" fmla="*/ 20097 h 1240971"/>
              <a:gd name="connsiteX259" fmla="*/ 939584 w 5662788"/>
              <a:gd name="connsiteY259" fmla="*/ 10048 h 1240971"/>
              <a:gd name="connsiteX260" fmla="*/ 813980 w 5662788"/>
              <a:gd name="connsiteY260" fmla="*/ 0 h 1240971"/>
              <a:gd name="connsiteX261" fmla="*/ 743641 w 5662788"/>
              <a:gd name="connsiteY261" fmla="*/ 5024 h 1240971"/>
              <a:gd name="connsiteX262" fmla="*/ 582867 w 5662788"/>
              <a:gd name="connsiteY262" fmla="*/ 15072 h 1240971"/>
              <a:gd name="connsiteX263" fmla="*/ 432142 w 5662788"/>
              <a:gd name="connsiteY263" fmla="*/ 5024 h 1240971"/>
              <a:gd name="connsiteX264" fmla="*/ 412046 w 5662788"/>
              <a:gd name="connsiteY264" fmla="*/ 0 h 1240971"/>
              <a:gd name="connsiteX265" fmla="*/ 281417 w 5662788"/>
              <a:gd name="connsiteY265" fmla="*/ 10048 h 1240971"/>
              <a:gd name="connsiteX266" fmla="*/ 261320 w 5662788"/>
              <a:gd name="connsiteY266" fmla="*/ 15072 h 1240971"/>
              <a:gd name="connsiteX267" fmla="*/ 100547 w 5662788"/>
              <a:gd name="connsiteY267" fmla="*/ 20097 h 1240971"/>
              <a:gd name="connsiteX268" fmla="*/ 5087 w 5662788"/>
              <a:gd name="connsiteY268"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40278 w 5662788"/>
              <a:gd name="connsiteY194" fmla="*/ 823965 h 1240971"/>
              <a:gd name="connsiteX195" fmla="*/ 5265399 w 5662788"/>
              <a:gd name="connsiteY195" fmla="*/ 803868 h 1240971"/>
              <a:gd name="connsiteX196" fmla="*/ 5275448 w 5662788"/>
              <a:gd name="connsiteY196" fmla="*/ 793820 h 1240971"/>
              <a:gd name="connsiteX197" fmla="*/ 5290520 w 5662788"/>
              <a:gd name="connsiteY197" fmla="*/ 783771 h 1240971"/>
              <a:gd name="connsiteX198" fmla="*/ 5310617 w 5662788"/>
              <a:gd name="connsiteY198" fmla="*/ 768699 h 1240971"/>
              <a:gd name="connsiteX199" fmla="*/ 5340762 w 5662788"/>
              <a:gd name="connsiteY199" fmla="*/ 758650 h 1240971"/>
              <a:gd name="connsiteX200" fmla="*/ 5385980 w 5662788"/>
              <a:gd name="connsiteY200" fmla="*/ 783771 h 1240971"/>
              <a:gd name="connsiteX201" fmla="*/ 5431197 w 5662788"/>
              <a:gd name="connsiteY201" fmla="*/ 768699 h 1240971"/>
              <a:gd name="connsiteX202" fmla="*/ 5441246 w 5662788"/>
              <a:gd name="connsiteY202" fmla="*/ 753626 h 1240971"/>
              <a:gd name="connsiteX203" fmla="*/ 5456318 w 5662788"/>
              <a:gd name="connsiteY203" fmla="*/ 708409 h 1240971"/>
              <a:gd name="connsiteX204" fmla="*/ 5466366 w 5662788"/>
              <a:gd name="connsiteY204" fmla="*/ 683288 h 1240971"/>
              <a:gd name="connsiteX205" fmla="*/ 5476415 w 5662788"/>
              <a:gd name="connsiteY205" fmla="*/ 643094 h 1240971"/>
              <a:gd name="connsiteX206" fmla="*/ 5491487 w 5662788"/>
              <a:gd name="connsiteY206" fmla="*/ 617973 h 1240971"/>
              <a:gd name="connsiteX207" fmla="*/ 5506560 w 5662788"/>
              <a:gd name="connsiteY207" fmla="*/ 572756 h 1240971"/>
              <a:gd name="connsiteX208" fmla="*/ 5526656 w 5662788"/>
              <a:gd name="connsiteY208" fmla="*/ 522514 h 1240971"/>
              <a:gd name="connsiteX209" fmla="*/ 5546753 w 5662788"/>
              <a:gd name="connsiteY209" fmla="*/ 467248 h 1240971"/>
              <a:gd name="connsiteX210" fmla="*/ 5556802 w 5662788"/>
              <a:gd name="connsiteY210" fmla="*/ 411982 h 1240971"/>
              <a:gd name="connsiteX211" fmla="*/ 5566850 w 5662788"/>
              <a:gd name="connsiteY211" fmla="*/ 381837 h 1240971"/>
              <a:gd name="connsiteX212" fmla="*/ 5576898 w 5662788"/>
              <a:gd name="connsiteY212" fmla="*/ 356716 h 1240971"/>
              <a:gd name="connsiteX213" fmla="*/ 5596995 w 5662788"/>
              <a:gd name="connsiteY213" fmla="*/ 316523 h 1240971"/>
              <a:gd name="connsiteX214" fmla="*/ 5617092 w 5662788"/>
              <a:gd name="connsiteY214" fmla="*/ 246184 h 1240971"/>
              <a:gd name="connsiteX215" fmla="*/ 5622116 w 5662788"/>
              <a:gd name="connsiteY215" fmla="*/ 226088 h 1240971"/>
              <a:gd name="connsiteX216" fmla="*/ 5632164 w 5662788"/>
              <a:gd name="connsiteY216" fmla="*/ 216039 h 1240971"/>
              <a:gd name="connsiteX217" fmla="*/ 5637188 w 5662788"/>
              <a:gd name="connsiteY217" fmla="*/ 200967 h 1240971"/>
              <a:gd name="connsiteX218" fmla="*/ 5642213 w 5662788"/>
              <a:gd name="connsiteY218" fmla="*/ 180870 h 1240971"/>
              <a:gd name="connsiteX219" fmla="*/ 5652261 w 5662788"/>
              <a:gd name="connsiteY219" fmla="*/ 165798 h 1240971"/>
              <a:gd name="connsiteX220" fmla="*/ 5662309 w 5662788"/>
              <a:gd name="connsiteY220" fmla="*/ 115556 h 1240971"/>
              <a:gd name="connsiteX221" fmla="*/ 5657285 w 5662788"/>
              <a:gd name="connsiteY221" fmla="*/ 80387 h 1240971"/>
              <a:gd name="connsiteX222" fmla="*/ 5627140 w 5662788"/>
              <a:gd name="connsiteY222" fmla="*/ 75363 h 1240971"/>
              <a:gd name="connsiteX223" fmla="*/ 5586947 w 5662788"/>
              <a:gd name="connsiteY223" fmla="*/ 65314 h 1240971"/>
              <a:gd name="connsiteX224" fmla="*/ 5406076 w 5662788"/>
              <a:gd name="connsiteY224" fmla="*/ 70338 h 1240971"/>
              <a:gd name="connsiteX225" fmla="*/ 5345786 w 5662788"/>
              <a:gd name="connsiteY225" fmla="*/ 75363 h 1240971"/>
              <a:gd name="connsiteX226" fmla="*/ 5330714 w 5662788"/>
              <a:gd name="connsiteY226" fmla="*/ 80387 h 1240971"/>
              <a:gd name="connsiteX227" fmla="*/ 5255351 w 5662788"/>
              <a:gd name="connsiteY227" fmla="*/ 85411 h 1240971"/>
              <a:gd name="connsiteX228" fmla="*/ 5049360 w 5662788"/>
              <a:gd name="connsiteY228" fmla="*/ 80387 h 1240971"/>
              <a:gd name="connsiteX229" fmla="*/ 4989070 w 5662788"/>
              <a:gd name="connsiteY229" fmla="*/ 65314 h 1240971"/>
              <a:gd name="connsiteX230" fmla="*/ 4943852 w 5662788"/>
              <a:gd name="connsiteY230" fmla="*/ 60290 h 1240971"/>
              <a:gd name="connsiteX231" fmla="*/ 4823272 w 5662788"/>
              <a:gd name="connsiteY231" fmla="*/ 50242 h 1240971"/>
              <a:gd name="connsiteX232" fmla="*/ 4677571 w 5662788"/>
              <a:gd name="connsiteY232" fmla="*/ 55266 h 1240971"/>
              <a:gd name="connsiteX233" fmla="*/ 4647426 w 5662788"/>
              <a:gd name="connsiteY233" fmla="*/ 60290 h 1240971"/>
              <a:gd name="connsiteX234" fmla="*/ 4577087 w 5662788"/>
              <a:gd name="connsiteY234" fmla="*/ 65314 h 1240971"/>
              <a:gd name="connsiteX235" fmla="*/ 4486652 w 5662788"/>
              <a:gd name="connsiteY235" fmla="*/ 75363 h 1240971"/>
              <a:gd name="connsiteX236" fmla="*/ 4139984 w 5662788"/>
              <a:gd name="connsiteY236" fmla="*/ 60290 h 1240971"/>
              <a:gd name="connsiteX237" fmla="*/ 3918920 w 5662788"/>
              <a:gd name="connsiteY237" fmla="*/ 50242 h 1240971"/>
              <a:gd name="connsiteX238" fmla="*/ 3873703 w 5662788"/>
              <a:gd name="connsiteY238" fmla="*/ 45217 h 1240971"/>
              <a:gd name="connsiteX239" fmla="*/ 3687808 w 5662788"/>
              <a:gd name="connsiteY239" fmla="*/ 40193 h 1240971"/>
              <a:gd name="connsiteX240" fmla="*/ 3662687 w 5662788"/>
              <a:gd name="connsiteY240" fmla="*/ 35169 h 1240971"/>
              <a:gd name="connsiteX241" fmla="*/ 3627518 w 5662788"/>
              <a:gd name="connsiteY241" fmla="*/ 25121 h 1240971"/>
              <a:gd name="connsiteX242" fmla="*/ 3547131 w 5662788"/>
              <a:gd name="connsiteY242" fmla="*/ 20097 h 1240971"/>
              <a:gd name="connsiteX243" fmla="*/ 3310995 w 5662788"/>
              <a:gd name="connsiteY243" fmla="*/ 25121 h 1240971"/>
              <a:gd name="connsiteX244" fmla="*/ 3265777 w 5662788"/>
              <a:gd name="connsiteY244" fmla="*/ 30145 h 1240971"/>
              <a:gd name="connsiteX245" fmla="*/ 3175342 w 5662788"/>
              <a:gd name="connsiteY245" fmla="*/ 35169 h 1240971"/>
              <a:gd name="connsiteX246" fmla="*/ 2582489 w 5662788"/>
              <a:gd name="connsiteY246" fmla="*/ 45217 h 1240971"/>
              <a:gd name="connsiteX247" fmla="*/ 2255918 w 5662788"/>
              <a:gd name="connsiteY247" fmla="*/ 40193 h 1240971"/>
              <a:gd name="connsiteX248" fmla="*/ 1974564 w 5662788"/>
              <a:gd name="connsiteY248" fmla="*/ 30145 h 1240971"/>
              <a:gd name="connsiteX249" fmla="*/ 1944419 w 5662788"/>
              <a:gd name="connsiteY249" fmla="*/ 25121 h 1240971"/>
              <a:gd name="connsiteX250" fmla="*/ 1848960 w 5662788"/>
              <a:gd name="connsiteY250" fmla="*/ 20097 h 1240971"/>
              <a:gd name="connsiteX251" fmla="*/ 1768573 w 5662788"/>
              <a:gd name="connsiteY251" fmla="*/ 10048 h 1240971"/>
              <a:gd name="connsiteX252" fmla="*/ 1502292 w 5662788"/>
              <a:gd name="connsiteY252" fmla="*/ 20097 h 1240971"/>
              <a:gd name="connsiteX253" fmla="*/ 1467122 w 5662788"/>
              <a:gd name="connsiteY253" fmla="*/ 25121 h 1240971"/>
              <a:gd name="connsiteX254" fmla="*/ 1426929 w 5662788"/>
              <a:gd name="connsiteY254" fmla="*/ 30145 h 1240971"/>
              <a:gd name="connsiteX255" fmla="*/ 1341518 w 5662788"/>
              <a:gd name="connsiteY255" fmla="*/ 45217 h 1240971"/>
              <a:gd name="connsiteX256" fmla="*/ 1095333 w 5662788"/>
              <a:gd name="connsiteY256" fmla="*/ 35169 h 1240971"/>
              <a:gd name="connsiteX257" fmla="*/ 979777 w 5662788"/>
              <a:gd name="connsiteY257" fmla="*/ 20097 h 1240971"/>
              <a:gd name="connsiteX258" fmla="*/ 939584 w 5662788"/>
              <a:gd name="connsiteY258" fmla="*/ 10048 h 1240971"/>
              <a:gd name="connsiteX259" fmla="*/ 813980 w 5662788"/>
              <a:gd name="connsiteY259" fmla="*/ 0 h 1240971"/>
              <a:gd name="connsiteX260" fmla="*/ 743641 w 5662788"/>
              <a:gd name="connsiteY260" fmla="*/ 5024 h 1240971"/>
              <a:gd name="connsiteX261" fmla="*/ 582867 w 5662788"/>
              <a:gd name="connsiteY261" fmla="*/ 15072 h 1240971"/>
              <a:gd name="connsiteX262" fmla="*/ 432142 w 5662788"/>
              <a:gd name="connsiteY262" fmla="*/ 5024 h 1240971"/>
              <a:gd name="connsiteX263" fmla="*/ 412046 w 5662788"/>
              <a:gd name="connsiteY263" fmla="*/ 0 h 1240971"/>
              <a:gd name="connsiteX264" fmla="*/ 281417 w 5662788"/>
              <a:gd name="connsiteY264" fmla="*/ 10048 h 1240971"/>
              <a:gd name="connsiteX265" fmla="*/ 261320 w 5662788"/>
              <a:gd name="connsiteY265" fmla="*/ 15072 h 1240971"/>
              <a:gd name="connsiteX266" fmla="*/ 100547 w 5662788"/>
              <a:gd name="connsiteY266" fmla="*/ 20097 h 1240971"/>
              <a:gd name="connsiteX267" fmla="*/ 5087 w 5662788"/>
              <a:gd name="connsiteY267"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40278 w 5662788"/>
              <a:gd name="connsiteY194" fmla="*/ 823965 h 1240971"/>
              <a:gd name="connsiteX195" fmla="*/ 5265399 w 5662788"/>
              <a:gd name="connsiteY195" fmla="*/ 803868 h 1240971"/>
              <a:gd name="connsiteX196" fmla="*/ 5275448 w 5662788"/>
              <a:gd name="connsiteY196" fmla="*/ 793820 h 1240971"/>
              <a:gd name="connsiteX197" fmla="*/ 5290520 w 5662788"/>
              <a:gd name="connsiteY197" fmla="*/ 783771 h 1240971"/>
              <a:gd name="connsiteX198" fmla="*/ 5310617 w 5662788"/>
              <a:gd name="connsiteY198" fmla="*/ 768699 h 1240971"/>
              <a:gd name="connsiteX199" fmla="*/ 5385980 w 5662788"/>
              <a:gd name="connsiteY199" fmla="*/ 783771 h 1240971"/>
              <a:gd name="connsiteX200" fmla="*/ 5431197 w 5662788"/>
              <a:gd name="connsiteY200" fmla="*/ 768699 h 1240971"/>
              <a:gd name="connsiteX201" fmla="*/ 5441246 w 5662788"/>
              <a:gd name="connsiteY201" fmla="*/ 753626 h 1240971"/>
              <a:gd name="connsiteX202" fmla="*/ 5456318 w 5662788"/>
              <a:gd name="connsiteY202" fmla="*/ 708409 h 1240971"/>
              <a:gd name="connsiteX203" fmla="*/ 5466366 w 5662788"/>
              <a:gd name="connsiteY203" fmla="*/ 683288 h 1240971"/>
              <a:gd name="connsiteX204" fmla="*/ 5476415 w 5662788"/>
              <a:gd name="connsiteY204" fmla="*/ 643094 h 1240971"/>
              <a:gd name="connsiteX205" fmla="*/ 5491487 w 5662788"/>
              <a:gd name="connsiteY205" fmla="*/ 617973 h 1240971"/>
              <a:gd name="connsiteX206" fmla="*/ 5506560 w 5662788"/>
              <a:gd name="connsiteY206" fmla="*/ 572756 h 1240971"/>
              <a:gd name="connsiteX207" fmla="*/ 5526656 w 5662788"/>
              <a:gd name="connsiteY207" fmla="*/ 522514 h 1240971"/>
              <a:gd name="connsiteX208" fmla="*/ 5546753 w 5662788"/>
              <a:gd name="connsiteY208" fmla="*/ 467248 h 1240971"/>
              <a:gd name="connsiteX209" fmla="*/ 5556802 w 5662788"/>
              <a:gd name="connsiteY209" fmla="*/ 411982 h 1240971"/>
              <a:gd name="connsiteX210" fmla="*/ 5566850 w 5662788"/>
              <a:gd name="connsiteY210" fmla="*/ 381837 h 1240971"/>
              <a:gd name="connsiteX211" fmla="*/ 5576898 w 5662788"/>
              <a:gd name="connsiteY211" fmla="*/ 356716 h 1240971"/>
              <a:gd name="connsiteX212" fmla="*/ 5596995 w 5662788"/>
              <a:gd name="connsiteY212" fmla="*/ 316523 h 1240971"/>
              <a:gd name="connsiteX213" fmla="*/ 5617092 w 5662788"/>
              <a:gd name="connsiteY213" fmla="*/ 246184 h 1240971"/>
              <a:gd name="connsiteX214" fmla="*/ 5622116 w 5662788"/>
              <a:gd name="connsiteY214" fmla="*/ 226088 h 1240971"/>
              <a:gd name="connsiteX215" fmla="*/ 5632164 w 5662788"/>
              <a:gd name="connsiteY215" fmla="*/ 216039 h 1240971"/>
              <a:gd name="connsiteX216" fmla="*/ 5637188 w 5662788"/>
              <a:gd name="connsiteY216" fmla="*/ 200967 h 1240971"/>
              <a:gd name="connsiteX217" fmla="*/ 5642213 w 5662788"/>
              <a:gd name="connsiteY217" fmla="*/ 180870 h 1240971"/>
              <a:gd name="connsiteX218" fmla="*/ 5652261 w 5662788"/>
              <a:gd name="connsiteY218" fmla="*/ 165798 h 1240971"/>
              <a:gd name="connsiteX219" fmla="*/ 5662309 w 5662788"/>
              <a:gd name="connsiteY219" fmla="*/ 115556 h 1240971"/>
              <a:gd name="connsiteX220" fmla="*/ 5657285 w 5662788"/>
              <a:gd name="connsiteY220" fmla="*/ 80387 h 1240971"/>
              <a:gd name="connsiteX221" fmla="*/ 5627140 w 5662788"/>
              <a:gd name="connsiteY221" fmla="*/ 75363 h 1240971"/>
              <a:gd name="connsiteX222" fmla="*/ 5586947 w 5662788"/>
              <a:gd name="connsiteY222" fmla="*/ 65314 h 1240971"/>
              <a:gd name="connsiteX223" fmla="*/ 5406076 w 5662788"/>
              <a:gd name="connsiteY223" fmla="*/ 70338 h 1240971"/>
              <a:gd name="connsiteX224" fmla="*/ 5345786 w 5662788"/>
              <a:gd name="connsiteY224" fmla="*/ 75363 h 1240971"/>
              <a:gd name="connsiteX225" fmla="*/ 5330714 w 5662788"/>
              <a:gd name="connsiteY225" fmla="*/ 80387 h 1240971"/>
              <a:gd name="connsiteX226" fmla="*/ 5255351 w 5662788"/>
              <a:gd name="connsiteY226" fmla="*/ 85411 h 1240971"/>
              <a:gd name="connsiteX227" fmla="*/ 5049360 w 5662788"/>
              <a:gd name="connsiteY227" fmla="*/ 80387 h 1240971"/>
              <a:gd name="connsiteX228" fmla="*/ 4989070 w 5662788"/>
              <a:gd name="connsiteY228" fmla="*/ 65314 h 1240971"/>
              <a:gd name="connsiteX229" fmla="*/ 4943852 w 5662788"/>
              <a:gd name="connsiteY229" fmla="*/ 60290 h 1240971"/>
              <a:gd name="connsiteX230" fmla="*/ 4823272 w 5662788"/>
              <a:gd name="connsiteY230" fmla="*/ 50242 h 1240971"/>
              <a:gd name="connsiteX231" fmla="*/ 4677571 w 5662788"/>
              <a:gd name="connsiteY231" fmla="*/ 55266 h 1240971"/>
              <a:gd name="connsiteX232" fmla="*/ 4647426 w 5662788"/>
              <a:gd name="connsiteY232" fmla="*/ 60290 h 1240971"/>
              <a:gd name="connsiteX233" fmla="*/ 4577087 w 5662788"/>
              <a:gd name="connsiteY233" fmla="*/ 65314 h 1240971"/>
              <a:gd name="connsiteX234" fmla="*/ 4486652 w 5662788"/>
              <a:gd name="connsiteY234" fmla="*/ 75363 h 1240971"/>
              <a:gd name="connsiteX235" fmla="*/ 4139984 w 5662788"/>
              <a:gd name="connsiteY235" fmla="*/ 60290 h 1240971"/>
              <a:gd name="connsiteX236" fmla="*/ 3918920 w 5662788"/>
              <a:gd name="connsiteY236" fmla="*/ 50242 h 1240971"/>
              <a:gd name="connsiteX237" fmla="*/ 3873703 w 5662788"/>
              <a:gd name="connsiteY237" fmla="*/ 45217 h 1240971"/>
              <a:gd name="connsiteX238" fmla="*/ 3687808 w 5662788"/>
              <a:gd name="connsiteY238" fmla="*/ 40193 h 1240971"/>
              <a:gd name="connsiteX239" fmla="*/ 3662687 w 5662788"/>
              <a:gd name="connsiteY239" fmla="*/ 35169 h 1240971"/>
              <a:gd name="connsiteX240" fmla="*/ 3627518 w 5662788"/>
              <a:gd name="connsiteY240" fmla="*/ 25121 h 1240971"/>
              <a:gd name="connsiteX241" fmla="*/ 3547131 w 5662788"/>
              <a:gd name="connsiteY241" fmla="*/ 20097 h 1240971"/>
              <a:gd name="connsiteX242" fmla="*/ 3310995 w 5662788"/>
              <a:gd name="connsiteY242" fmla="*/ 25121 h 1240971"/>
              <a:gd name="connsiteX243" fmla="*/ 3265777 w 5662788"/>
              <a:gd name="connsiteY243" fmla="*/ 30145 h 1240971"/>
              <a:gd name="connsiteX244" fmla="*/ 3175342 w 5662788"/>
              <a:gd name="connsiteY244" fmla="*/ 35169 h 1240971"/>
              <a:gd name="connsiteX245" fmla="*/ 2582489 w 5662788"/>
              <a:gd name="connsiteY245" fmla="*/ 45217 h 1240971"/>
              <a:gd name="connsiteX246" fmla="*/ 2255918 w 5662788"/>
              <a:gd name="connsiteY246" fmla="*/ 40193 h 1240971"/>
              <a:gd name="connsiteX247" fmla="*/ 1974564 w 5662788"/>
              <a:gd name="connsiteY247" fmla="*/ 30145 h 1240971"/>
              <a:gd name="connsiteX248" fmla="*/ 1944419 w 5662788"/>
              <a:gd name="connsiteY248" fmla="*/ 25121 h 1240971"/>
              <a:gd name="connsiteX249" fmla="*/ 1848960 w 5662788"/>
              <a:gd name="connsiteY249" fmla="*/ 20097 h 1240971"/>
              <a:gd name="connsiteX250" fmla="*/ 1768573 w 5662788"/>
              <a:gd name="connsiteY250" fmla="*/ 10048 h 1240971"/>
              <a:gd name="connsiteX251" fmla="*/ 1502292 w 5662788"/>
              <a:gd name="connsiteY251" fmla="*/ 20097 h 1240971"/>
              <a:gd name="connsiteX252" fmla="*/ 1467122 w 5662788"/>
              <a:gd name="connsiteY252" fmla="*/ 25121 h 1240971"/>
              <a:gd name="connsiteX253" fmla="*/ 1426929 w 5662788"/>
              <a:gd name="connsiteY253" fmla="*/ 30145 h 1240971"/>
              <a:gd name="connsiteX254" fmla="*/ 1341518 w 5662788"/>
              <a:gd name="connsiteY254" fmla="*/ 45217 h 1240971"/>
              <a:gd name="connsiteX255" fmla="*/ 1095333 w 5662788"/>
              <a:gd name="connsiteY255" fmla="*/ 35169 h 1240971"/>
              <a:gd name="connsiteX256" fmla="*/ 979777 w 5662788"/>
              <a:gd name="connsiteY256" fmla="*/ 20097 h 1240971"/>
              <a:gd name="connsiteX257" fmla="*/ 939584 w 5662788"/>
              <a:gd name="connsiteY257" fmla="*/ 10048 h 1240971"/>
              <a:gd name="connsiteX258" fmla="*/ 813980 w 5662788"/>
              <a:gd name="connsiteY258" fmla="*/ 0 h 1240971"/>
              <a:gd name="connsiteX259" fmla="*/ 743641 w 5662788"/>
              <a:gd name="connsiteY259" fmla="*/ 5024 h 1240971"/>
              <a:gd name="connsiteX260" fmla="*/ 582867 w 5662788"/>
              <a:gd name="connsiteY260" fmla="*/ 15072 h 1240971"/>
              <a:gd name="connsiteX261" fmla="*/ 432142 w 5662788"/>
              <a:gd name="connsiteY261" fmla="*/ 5024 h 1240971"/>
              <a:gd name="connsiteX262" fmla="*/ 412046 w 5662788"/>
              <a:gd name="connsiteY262" fmla="*/ 0 h 1240971"/>
              <a:gd name="connsiteX263" fmla="*/ 281417 w 5662788"/>
              <a:gd name="connsiteY263" fmla="*/ 10048 h 1240971"/>
              <a:gd name="connsiteX264" fmla="*/ 261320 w 5662788"/>
              <a:gd name="connsiteY264" fmla="*/ 15072 h 1240971"/>
              <a:gd name="connsiteX265" fmla="*/ 100547 w 5662788"/>
              <a:gd name="connsiteY265" fmla="*/ 20097 h 1240971"/>
              <a:gd name="connsiteX266" fmla="*/ 5087 w 5662788"/>
              <a:gd name="connsiteY266"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40278 w 5662788"/>
              <a:gd name="connsiteY194" fmla="*/ 823965 h 1240971"/>
              <a:gd name="connsiteX195" fmla="*/ 5265399 w 5662788"/>
              <a:gd name="connsiteY195" fmla="*/ 803868 h 1240971"/>
              <a:gd name="connsiteX196" fmla="*/ 5275448 w 5662788"/>
              <a:gd name="connsiteY196" fmla="*/ 793820 h 1240971"/>
              <a:gd name="connsiteX197" fmla="*/ 5290520 w 5662788"/>
              <a:gd name="connsiteY197" fmla="*/ 783771 h 1240971"/>
              <a:gd name="connsiteX198" fmla="*/ 5310617 w 5662788"/>
              <a:gd name="connsiteY198" fmla="*/ 768699 h 1240971"/>
              <a:gd name="connsiteX199" fmla="*/ 5412174 w 5662788"/>
              <a:gd name="connsiteY199" fmla="*/ 824252 h 1240971"/>
              <a:gd name="connsiteX200" fmla="*/ 5431197 w 5662788"/>
              <a:gd name="connsiteY200" fmla="*/ 768699 h 1240971"/>
              <a:gd name="connsiteX201" fmla="*/ 5441246 w 5662788"/>
              <a:gd name="connsiteY201" fmla="*/ 753626 h 1240971"/>
              <a:gd name="connsiteX202" fmla="*/ 5456318 w 5662788"/>
              <a:gd name="connsiteY202" fmla="*/ 708409 h 1240971"/>
              <a:gd name="connsiteX203" fmla="*/ 5466366 w 5662788"/>
              <a:gd name="connsiteY203" fmla="*/ 683288 h 1240971"/>
              <a:gd name="connsiteX204" fmla="*/ 5476415 w 5662788"/>
              <a:gd name="connsiteY204" fmla="*/ 643094 h 1240971"/>
              <a:gd name="connsiteX205" fmla="*/ 5491487 w 5662788"/>
              <a:gd name="connsiteY205" fmla="*/ 617973 h 1240971"/>
              <a:gd name="connsiteX206" fmla="*/ 5506560 w 5662788"/>
              <a:gd name="connsiteY206" fmla="*/ 572756 h 1240971"/>
              <a:gd name="connsiteX207" fmla="*/ 5526656 w 5662788"/>
              <a:gd name="connsiteY207" fmla="*/ 522514 h 1240971"/>
              <a:gd name="connsiteX208" fmla="*/ 5546753 w 5662788"/>
              <a:gd name="connsiteY208" fmla="*/ 467248 h 1240971"/>
              <a:gd name="connsiteX209" fmla="*/ 5556802 w 5662788"/>
              <a:gd name="connsiteY209" fmla="*/ 411982 h 1240971"/>
              <a:gd name="connsiteX210" fmla="*/ 5566850 w 5662788"/>
              <a:gd name="connsiteY210" fmla="*/ 381837 h 1240971"/>
              <a:gd name="connsiteX211" fmla="*/ 5576898 w 5662788"/>
              <a:gd name="connsiteY211" fmla="*/ 356716 h 1240971"/>
              <a:gd name="connsiteX212" fmla="*/ 5596995 w 5662788"/>
              <a:gd name="connsiteY212" fmla="*/ 316523 h 1240971"/>
              <a:gd name="connsiteX213" fmla="*/ 5617092 w 5662788"/>
              <a:gd name="connsiteY213" fmla="*/ 246184 h 1240971"/>
              <a:gd name="connsiteX214" fmla="*/ 5622116 w 5662788"/>
              <a:gd name="connsiteY214" fmla="*/ 226088 h 1240971"/>
              <a:gd name="connsiteX215" fmla="*/ 5632164 w 5662788"/>
              <a:gd name="connsiteY215" fmla="*/ 216039 h 1240971"/>
              <a:gd name="connsiteX216" fmla="*/ 5637188 w 5662788"/>
              <a:gd name="connsiteY216" fmla="*/ 200967 h 1240971"/>
              <a:gd name="connsiteX217" fmla="*/ 5642213 w 5662788"/>
              <a:gd name="connsiteY217" fmla="*/ 180870 h 1240971"/>
              <a:gd name="connsiteX218" fmla="*/ 5652261 w 5662788"/>
              <a:gd name="connsiteY218" fmla="*/ 165798 h 1240971"/>
              <a:gd name="connsiteX219" fmla="*/ 5662309 w 5662788"/>
              <a:gd name="connsiteY219" fmla="*/ 115556 h 1240971"/>
              <a:gd name="connsiteX220" fmla="*/ 5657285 w 5662788"/>
              <a:gd name="connsiteY220" fmla="*/ 80387 h 1240971"/>
              <a:gd name="connsiteX221" fmla="*/ 5627140 w 5662788"/>
              <a:gd name="connsiteY221" fmla="*/ 75363 h 1240971"/>
              <a:gd name="connsiteX222" fmla="*/ 5586947 w 5662788"/>
              <a:gd name="connsiteY222" fmla="*/ 65314 h 1240971"/>
              <a:gd name="connsiteX223" fmla="*/ 5406076 w 5662788"/>
              <a:gd name="connsiteY223" fmla="*/ 70338 h 1240971"/>
              <a:gd name="connsiteX224" fmla="*/ 5345786 w 5662788"/>
              <a:gd name="connsiteY224" fmla="*/ 75363 h 1240971"/>
              <a:gd name="connsiteX225" fmla="*/ 5330714 w 5662788"/>
              <a:gd name="connsiteY225" fmla="*/ 80387 h 1240971"/>
              <a:gd name="connsiteX226" fmla="*/ 5255351 w 5662788"/>
              <a:gd name="connsiteY226" fmla="*/ 85411 h 1240971"/>
              <a:gd name="connsiteX227" fmla="*/ 5049360 w 5662788"/>
              <a:gd name="connsiteY227" fmla="*/ 80387 h 1240971"/>
              <a:gd name="connsiteX228" fmla="*/ 4989070 w 5662788"/>
              <a:gd name="connsiteY228" fmla="*/ 65314 h 1240971"/>
              <a:gd name="connsiteX229" fmla="*/ 4943852 w 5662788"/>
              <a:gd name="connsiteY229" fmla="*/ 60290 h 1240971"/>
              <a:gd name="connsiteX230" fmla="*/ 4823272 w 5662788"/>
              <a:gd name="connsiteY230" fmla="*/ 50242 h 1240971"/>
              <a:gd name="connsiteX231" fmla="*/ 4677571 w 5662788"/>
              <a:gd name="connsiteY231" fmla="*/ 55266 h 1240971"/>
              <a:gd name="connsiteX232" fmla="*/ 4647426 w 5662788"/>
              <a:gd name="connsiteY232" fmla="*/ 60290 h 1240971"/>
              <a:gd name="connsiteX233" fmla="*/ 4577087 w 5662788"/>
              <a:gd name="connsiteY233" fmla="*/ 65314 h 1240971"/>
              <a:gd name="connsiteX234" fmla="*/ 4486652 w 5662788"/>
              <a:gd name="connsiteY234" fmla="*/ 75363 h 1240971"/>
              <a:gd name="connsiteX235" fmla="*/ 4139984 w 5662788"/>
              <a:gd name="connsiteY235" fmla="*/ 60290 h 1240971"/>
              <a:gd name="connsiteX236" fmla="*/ 3918920 w 5662788"/>
              <a:gd name="connsiteY236" fmla="*/ 50242 h 1240971"/>
              <a:gd name="connsiteX237" fmla="*/ 3873703 w 5662788"/>
              <a:gd name="connsiteY237" fmla="*/ 45217 h 1240971"/>
              <a:gd name="connsiteX238" fmla="*/ 3687808 w 5662788"/>
              <a:gd name="connsiteY238" fmla="*/ 40193 h 1240971"/>
              <a:gd name="connsiteX239" fmla="*/ 3662687 w 5662788"/>
              <a:gd name="connsiteY239" fmla="*/ 35169 h 1240971"/>
              <a:gd name="connsiteX240" fmla="*/ 3627518 w 5662788"/>
              <a:gd name="connsiteY240" fmla="*/ 25121 h 1240971"/>
              <a:gd name="connsiteX241" fmla="*/ 3547131 w 5662788"/>
              <a:gd name="connsiteY241" fmla="*/ 20097 h 1240971"/>
              <a:gd name="connsiteX242" fmla="*/ 3310995 w 5662788"/>
              <a:gd name="connsiteY242" fmla="*/ 25121 h 1240971"/>
              <a:gd name="connsiteX243" fmla="*/ 3265777 w 5662788"/>
              <a:gd name="connsiteY243" fmla="*/ 30145 h 1240971"/>
              <a:gd name="connsiteX244" fmla="*/ 3175342 w 5662788"/>
              <a:gd name="connsiteY244" fmla="*/ 35169 h 1240971"/>
              <a:gd name="connsiteX245" fmla="*/ 2582489 w 5662788"/>
              <a:gd name="connsiteY245" fmla="*/ 45217 h 1240971"/>
              <a:gd name="connsiteX246" fmla="*/ 2255918 w 5662788"/>
              <a:gd name="connsiteY246" fmla="*/ 40193 h 1240971"/>
              <a:gd name="connsiteX247" fmla="*/ 1974564 w 5662788"/>
              <a:gd name="connsiteY247" fmla="*/ 30145 h 1240971"/>
              <a:gd name="connsiteX248" fmla="*/ 1944419 w 5662788"/>
              <a:gd name="connsiteY248" fmla="*/ 25121 h 1240971"/>
              <a:gd name="connsiteX249" fmla="*/ 1848960 w 5662788"/>
              <a:gd name="connsiteY249" fmla="*/ 20097 h 1240971"/>
              <a:gd name="connsiteX250" fmla="*/ 1768573 w 5662788"/>
              <a:gd name="connsiteY250" fmla="*/ 10048 h 1240971"/>
              <a:gd name="connsiteX251" fmla="*/ 1502292 w 5662788"/>
              <a:gd name="connsiteY251" fmla="*/ 20097 h 1240971"/>
              <a:gd name="connsiteX252" fmla="*/ 1467122 w 5662788"/>
              <a:gd name="connsiteY252" fmla="*/ 25121 h 1240971"/>
              <a:gd name="connsiteX253" fmla="*/ 1426929 w 5662788"/>
              <a:gd name="connsiteY253" fmla="*/ 30145 h 1240971"/>
              <a:gd name="connsiteX254" fmla="*/ 1341518 w 5662788"/>
              <a:gd name="connsiteY254" fmla="*/ 45217 h 1240971"/>
              <a:gd name="connsiteX255" fmla="*/ 1095333 w 5662788"/>
              <a:gd name="connsiteY255" fmla="*/ 35169 h 1240971"/>
              <a:gd name="connsiteX256" fmla="*/ 979777 w 5662788"/>
              <a:gd name="connsiteY256" fmla="*/ 20097 h 1240971"/>
              <a:gd name="connsiteX257" fmla="*/ 939584 w 5662788"/>
              <a:gd name="connsiteY257" fmla="*/ 10048 h 1240971"/>
              <a:gd name="connsiteX258" fmla="*/ 813980 w 5662788"/>
              <a:gd name="connsiteY258" fmla="*/ 0 h 1240971"/>
              <a:gd name="connsiteX259" fmla="*/ 743641 w 5662788"/>
              <a:gd name="connsiteY259" fmla="*/ 5024 h 1240971"/>
              <a:gd name="connsiteX260" fmla="*/ 582867 w 5662788"/>
              <a:gd name="connsiteY260" fmla="*/ 15072 h 1240971"/>
              <a:gd name="connsiteX261" fmla="*/ 432142 w 5662788"/>
              <a:gd name="connsiteY261" fmla="*/ 5024 h 1240971"/>
              <a:gd name="connsiteX262" fmla="*/ 412046 w 5662788"/>
              <a:gd name="connsiteY262" fmla="*/ 0 h 1240971"/>
              <a:gd name="connsiteX263" fmla="*/ 281417 w 5662788"/>
              <a:gd name="connsiteY263" fmla="*/ 10048 h 1240971"/>
              <a:gd name="connsiteX264" fmla="*/ 261320 w 5662788"/>
              <a:gd name="connsiteY264" fmla="*/ 15072 h 1240971"/>
              <a:gd name="connsiteX265" fmla="*/ 100547 w 5662788"/>
              <a:gd name="connsiteY265" fmla="*/ 20097 h 1240971"/>
              <a:gd name="connsiteX266" fmla="*/ 5087 w 5662788"/>
              <a:gd name="connsiteY266"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40278 w 5662788"/>
              <a:gd name="connsiteY194" fmla="*/ 823965 h 1240971"/>
              <a:gd name="connsiteX195" fmla="*/ 5265399 w 5662788"/>
              <a:gd name="connsiteY195" fmla="*/ 803868 h 1240971"/>
              <a:gd name="connsiteX196" fmla="*/ 5275448 w 5662788"/>
              <a:gd name="connsiteY196" fmla="*/ 793820 h 1240971"/>
              <a:gd name="connsiteX197" fmla="*/ 5290520 w 5662788"/>
              <a:gd name="connsiteY197" fmla="*/ 783771 h 1240971"/>
              <a:gd name="connsiteX198" fmla="*/ 5334430 w 5662788"/>
              <a:gd name="connsiteY198" fmla="*/ 794893 h 1240971"/>
              <a:gd name="connsiteX199" fmla="*/ 5412174 w 5662788"/>
              <a:gd name="connsiteY199" fmla="*/ 824252 h 1240971"/>
              <a:gd name="connsiteX200" fmla="*/ 5431197 w 5662788"/>
              <a:gd name="connsiteY200" fmla="*/ 768699 h 1240971"/>
              <a:gd name="connsiteX201" fmla="*/ 5441246 w 5662788"/>
              <a:gd name="connsiteY201" fmla="*/ 753626 h 1240971"/>
              <a:gd name="connsiteX202" fmla="*/ 5456318 w 5662788"/>
              <a:gd name="connsiteY202" fmla="*/ 708409 h 1240971"/>
              <a:gd name="connsiteX203" fmla="*/ 5466366 w 5662788"/>
              <a:gd name="connsiteY203" fmla="*/ 683288 h 1240971"/>
              <a:gd name="connsiteX204" fmla="*/ 5476415 w 5662788"/>
              <a:gd name="connsiteY204" fmla="*/ 643094 h 1240971"/>
              <a:gd name="connsiteX205" fmla="*/ 5491487 w 5662788"/>
              <a:gd name="connsiteY205" fmla="*/ 617973 h 1240971"/>
              <a:gd name="connsiteX206" fmla="*/ 5506560 w 5662788"/>
              <a:gd name="connsiteY206" fmla="*/ 572756 h 1240971"/>
              <a:gd name="connsiteX207" fmla="*/ 5526656 w 5662788"/>
              <a:gd name="connsiteY207" fmla="*/ 522514 h 1240971"/>
              <a:gd name="connsiteX208" fmla="*/ 5546753 w 5662788"/>
              <a:gd name="connsiteY208" fmla="*/ 467248 h 1240971"/>
              <a:gd name="connsiteX209" fmla="*/ 5556802 w 5662788"/>
              <a:gd name="connsiteY209" fmla="*/ 411982 h 1240971"/>
              <a:gd name="connsiteX210" fmla="*/ 5566850 w 5662788"/>
              <a:gd name="connsiteY210" fmla="*/ 381837 h 1240971"/>
              <a:gd name="connsiteX211" fmla="*/ 5576898 w 5662788"/>
              <a:gd name="connsiteY211" fmla="*/ 356716 h 1240971"/>
              <a:gd name="connsiteX212" fmla="*/ 5596995 w 5662788"/>
              <a:gd name="connsiteY212" fmla="*/ 316523 h 1240971"/>
              <a:gd name="connsiteX213" fmla="*/ 5617092 w 5662788"/>
              <a:gd name="connsiteY213" fmla="*/ 246184 h 1240971"/>
              <a:gd name="connsiteX214" fmla="*/ 5622116 w 5662788"/>
              <a:gd name="connsiteY214" fmla="*/ 226088 h 1240971"/>
              <a:gd name="connsiteX215" fmla="*/ 5632164 w 5662788"/>
              <a:gd name="connsiteY215" fmla="*/ 216039 h 1240971"/>
              <a:gd name="connsiteX216" fmla="*/ 5637188 w 5662788"/>
              <a:gd name="connsiteY216" fmla="*/ 200967 h 1240971"/>
              <a:gd name="connsiteX217" fmla="*/ 5642213 w 5662788"/>
              <a:gd name="connsiteY217" fmla="*/ 180870 h 1240971"/>
              <a:gd name="connsiteX218" fmla="*/ 5652261 w 5662788"/>
              <a:gd name="connsiteY218" fmla="*/ 165798 h 1240971"/>
              <a:gd name="connsiteX219" fmla="*/ 5662309 w 5662788"/>
              <a:gd name="connsiteY219" fmla="*/ 115556 h 1240971"/>
              <a:gd name="connsiteX220" fmla="*/ 5657285 w 5662788"/>
              <a:gd name="connsiteY220" fmla="*/ 80387 h 1240971"/>
              <a:gd name="connsiteX221" fmla="*/ 5627140 w 5662788"/>
              <a:gd name="connsiteY221" fmla="*/ 75363 h 1240971"/>
              <a:gd name="connsiteX222" fmla="*/ 5586947 w 5662788"/>
              <a:gd name="connsiteY222" fmla="*/ 65314 h 1240971"/>
              <a:gd name="connsiteX223" fmla="*/ 5406076 w 5662788"/>
              <a:gd name="connsiteY223" fmla="*/ 70338 h 1240971"/>
              <a:gd name="connsiteX224" fmla="*/ 5345786 w 5662788"/>
              <a:gd name="connsiteY224" fmla="*/ 75363 h 1240971"/>
              <a:gd name="connsiteX225" fmla="*/ 5330714 w 5662788"/>
              <a:gd name="connsiteY225" fmla="*/ 80387 h 1240971"/>
              <a:gd name="connsiteX226" fmla="*/ 5255351 w 5662788"/>
              <a:gd name="connsiteY226" fmla="*/ 85411 h 1240971"/>
              <a:gd name="connsiteX227" fmla="*/ 5049360 w 5662788"/>
              <a:gd name="connsiteY227" fmla="*/ 80387 h 1240971"/>
              <a:gd name="connsiteX228" fmla="*/ 4989070 w 5662788"/>
              <a:gd name="connsiteY228" fmla="*/ 65314 h 1240971"/>
              <a:gd name="connsiteX229" fmla="*/ 4943852 w 5662788"/>
              <a:gd name="connsiteY229" fmla="*/ 60290 h 1240971"/>
              <a:gd name="connsiteX230" fmla="*/ 4823272 w 5662788"/>
              <a:gd name="connsiteY230" fmla="*/ 50242 h 1240971"/>
              <a:gd name="connsiteX231" fmla="*/ 4677571 w 5662788"/>
              <a:gd name="connsiteY231" fmla="*/ 55266 h 1240971"/>
              <a:gd name="connsiteX232" fmla="*/ 4647426 w 5662788"/>
              <a:gd name="connsiteY232" fmla="*/ 60290 h 1240971"/>
              <a:gd name="connsiteX233" fmla="*/ 4577087 w 5662788"/>
              <a:gd name="connsiteY233" fmla="*/ 65314 h 1240971"/>
              <a:gd name="connsiteX234" fmla="*/ 4486652 w 5662788"/>
              <a:gd name="connsiteY234" fmla="*/ 75363 h 1240971"/>
              <a:gd name="connsiteX235" fmla="*/ 4139984 w 5662788"/>
              <a:gd name="connsiteY235" fmla="*/ 60290 h 1240971"/>
              <a:gd name="connsiteX236" fmla="*/ 3918920 w 5662788"/>
              <a:gd name="connsiteY236" fmla="*/ 50242 h 1240971"/>
              <a:gd name="connsiteX237" fmla="*/ 3873703 w 5662788"/>
              <a:gd name="connsiteY237" fmla="*/ 45217 h 1240971"/>
              <a:gd name="connsiteX238" fmla="*/ 3687808 w 5662788"/>
              <a:gd name="connsiteY238" fmla="*/ 40193 h 1240971"/>
              <a:gd name="connsiteX239" fmla="*/ 3662687 w 5662788"/>
              <a:gd name="connsiteY239" fmla="*/ 35169 h 1240971"/>
              <a:gd name="connsiteX240" fmla="*/ 3627518 w 5662788"/>
              <a:gd name="connsiteY240" fmla="*/ 25121 h 1240971"/>
              <a:gd name="connsiteX241" fmla="*/ 3547131 w 5662788"/>
              <a:gd name="connsiteY241" fmla="*/ 20097 h 1240971"/>
              <a:gd name="connsiteX242" fmla="*/ 3310995 w 5662788"/>
              <a:gd name="connsiteY242" fmla="*/ 25121 h 1240971"/>
              <a:gd name="connsiteX243" fmla="*/ 3265777 w 5662788"/>
              <a:gd name="connsiteY243" fmla="*/ 30145 h 1240971"/>
              <a:gd name="connsiteX244" fmla="*/ 3175342 w 5662788"/>
              <a:gd name="connsiteY244" fmla="*/ 35169 h 1240971"/>
              <a:gd name="connsiteX245" fmla="*/ 2582489 w 5662788"/>
              <a:gd name="connsiteY245" fmla="*/ 45217 h 1240971"/>
              <a:gd name="connsiteX246" fmla="*/ 2255918 w 5662788"/>
              <a:gd name="connsiteY246" fmla="*/ 40193 h 1240971"/>
              <a:gd name="connsiteX247" fmla="*/ 1974564 w 5662788"/>
              <a:gd name="connsiteY247" fmla="*/ 30145 h 1240971"/>
              <a:gd name="connsiteX248" fmla="*/ 1944419 w 5662788"/>
              <a:gd name="connsiteY248" fmla="*/ 25121 h 1240971"/>
              <a:gd name="connsiteX249" fmla="*/ 1848960 w 5662788"/>
              <a:gd name="connsiteY249" fmla="*/ 20097 h 1240971"/>
              <a:gd name="connsiteX250" fmla="*/ 1768573 w 5662788"/>
              <a:gd name="connsiteY250" fmla="*/ 10048 h 1240971"/>
              <a:gd name="connsiteX251" fmla="*/ 1502292 w 5662788"/>
              <a:gd name="connsiteY251" fmla="*/ 20097 h 1240971"/>
              <a:gd name="connsiteX252" fmla="*/ 1467122 w 5662788"/>
              <a:gd name="connsiteY252" fmla="*/ 25121 h 1240971"/>
              <a:gd name="connsiteX253" fmla="*/ 1426929 w 5662788"/>
              <a:gd name="connsiteY253" fmla="*/ 30145 h 1240971"/>
              <a:gd name="connsiteX254" fmla="*/ 1341518 w 5662788"/>
              <a:gd name="connsiteY254" fmla="*/ 45217 h 1240971"/>
              <a:gd name="connsiteX255" fmla="*/ 1095333 w 5662788"/>
              <a:gd name="connsiteY255" fmla="*/ 35169 h 1240971"/>
              <a:gd name="connsiteX256" fmla="*/ 979777 w 5662788"/>
              <a:gd name="connsiteY256" fmla="*/ 20097 h 1240971"/>
              <a:gd name="connsiteX257" fmla="*/ 939584 w 5662788"/>
              <a:gd name="connsiteY257" fmla="*/ 10048 h 1240971"/>
              <a:gd name="connsiteX258" fmla="*/ 813980 w 5662788"/>
              <a:gd name="connsiteY258" fmla="*/ 0 h 1240971"/>
              <a:gd name="connsiteX259" fmla="*/ 743641 w 5662788"/>
              <a:gd name="connsiteY259" fmla="*/ 5024 h 1240971"/>
              <a:gd name="connsiteX260" fmla="*/ 582867 w 5662788"/>
              <a:gd name="connsiteY260" fmla="*/ 15072 h 1240971"/>
              <a:gd name="connsiteX261" fmla="*/ 432142 w 5662788"/>
              <a:gd name="connsiteY261" fmla="*/ 5024 h 1240971"/>
              <a:gd name="connsiteX262" fmla="*/ 412046 w 5662788"/>
              <a:gd name="connsiteY262" fmla="*/ 0 h 1240971"/>
              <a:gd name="connsiteX263" fmla="*/ 281417 w 5662788"/>
              <a:gd name="connsiteY263" fmla="*/ 10048 h 1240971"/>
              <a:gd name="connsiteX264" fmla="*/ 261320 w 5662788"/>
              <a:gd name="connsiteY264" fmla="*/ 15072 h 1240971"/>
              <a:gd name="connsiteX265" fmla="*/ 100547 w 5662788"/>
              <a:gd name="connsiteY265" fmla="*/ 20097 h 1240971"/>
              <a:gd name="connsiteX266" fmla="*/ 5087 w 5662788"/>
              <a:gd name="connsiteY266"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40278 w 5662788"/>
              <a:gd name="connsiteY194" fmla="*/ 823965 h 1240971"/>
              <a:gd name="connsiteX195" fmla="*/ 5265399 w 5662788"/>
              <a:gd name="connsiteY195" fmla="*/ 803868 h 1240971"/>
              <a:gd name="connsiteX196" fmla="*/ 5275448 w 5662788"/>
              <a:gd name="connsiteY196" fmla="*/ 793820 h 1240971"/>
              <a:gd name="connsiteX197" fmla="*/ 5295282 w 5662788"/>
              <a:gd name="connsiteY197" fmla="*/ 800440 h 1240971"/>
              <a:gd name="connsiteX198" fmla="*/ 5334430 w 5662788"/>
              <a:gd name="connsiteY198" fmla="*/ 794893 h 1240971"/>
              <a:gd name="connsiteX199" fmla="*/ 5412174 w 5662788"/>
              <a:gd name="connsiteY199" fmla="*/ 824252 h 1240971"/>
              <a:gd name="connsiteX200" fmla="*/ 5431197 w 5662788"/>
              <a:gd name="connsiteY200" fmla="*/ 768699 h 1240971"/>
              <a:gd name="connsiteX201" fmla="*/ 5441246 w 5662788"/>
              <a:gd name="connsiteY201" fmla="*/ 753626 h 1240971"/>
              <a:gd name="connsiteX202" fmla="*/ 5456318 w 5662788"/>
              <a:gd name="connsiteY202" fmla="*/ 708409 h 1240971"/>
              <a:gd name="connsiteX203" fmla="*/ 5466366 w 5662788"/>
              <a:gd name="connsiteY203" fmla="*/ 683288 h 1240971"/>
              <a:gd name="connsiteX204" fmla="*/ 5476415 w 5662788"/>
              <a:gd name="connsiteY204" fmla="*/ 643094 h 1240971"/>
              <a:gd name="connsiteX205" fmla="*/ 5491487 w 5662788"/>
              <a:gd name="connsiteY205" fmla="*/ 617973 h 1240971"/>
              <a:gd name="connsiteX206" fmla="*/ 5506560 w 5662788"/>
              <a:gd name="connsiteY206" fmla="*/ 572756 h 1240971"/>
              <a:gd name="connsiteX207" fmla="*/ 5526656 w 5662788"/>
              <a:gd name="connsiteY207" fmla="*/ 522514 h 1240971"/>
              <a:gd name="connsiteX208" fmla="*/ 5546753 w 5662788"/>
              <a:gd name="connsiteY208" fmla="*/ 467248 h 1240971"/>
              <a:gd name="connsiteX209" fmla="*/ 5556802 w 5662788"/>
              <a:gd name="connsiteY209" fmla="*/ 411982 h 1240971"/>
              <a:gd name="connsiteX210" fmla="*/ 5566850 w 5662788"/>
              <a:gd name="connsiteY210" fmla="*/ 381837 h 1240971"/>
              <a:gd name="connsiteX211" fmla="*/ 5576898 w 5662788"/>
              <a:gd name="connsiteY211" fmla="*/ 356716 h 1240971"/>
              <a:gd name="connsiteX212" fmla="*/ 5596995 w 5662788"/>
              <a:gd name="connsiteY212" fmla="*/ 316523 h 1240971"/>
              <a:gd name="connsiteX213" fmla="*/ 5617092 w 5662788"/>
              <a:gd name="connsiteY213" fmla="*/ 246184 h 1240971"/>
              <a:gd name="connsiteX214" fmla="*/ 5622116 w 5662788"/>
              <a:gd name="connsiteY214" fmla="*/ 226088 h 1240971"/>
              <a:gd name="connsiteX215" fmla="*/ 5632164 w 5662788"/>
              <a:gd name="connsiteY215" fmla="*/ 216039 h 1240971"/>
              <a:gd name="connsiteX216" fmla="*/ 5637188 w 5662788"/>
              <a:gd name="connsiteY216" fmla="*/ 200967 h 1240971"/>
              <a:gd name="connsiteX217" fmla="*/ 5642213 w 5662788"/>
              <a:gd name="connsiteY217" fmla="*/ 180870 h 1240971"/>
              <a:gd name="connsiteX218" fmla="*/ 5652261 w 5662788"/>
              <a:gd name="connsiteY218" fmla="*/ 165798 h 1240971"/>
              <a:gd name="connsiteX219" fmla="*/ 5662309 w 5662788"/>
              <a:gd name="connsiteY219" fmla="*/ 115556 h 1240971"/>
              <a:gd name="connsiteX220" fmla="*/ 5657285 w 5662788"/>
              <a:gd name="connsiteY220" fmla="*/ 80387 h 1240971"/>
              <a:gd name="connsiteX221" fmla="*/ 5627140 w 5662788"/>
              <a:gd name="connsiteY221" fmla="*/ 75363 h 1240971"/>
              <a:gd name="connsiteX222" fmla="*/ 5586947 w 5662788"/>
              <a:gd name="connsiteY222" fmla="*/ 65314 h 1240971"/>
              <a:gd name="connsiteX223" fmla="*/ 5406076 w 5662788"/>
              <a:gd name="connsiteY223" fmla="*/ 70338 h 1240971"/>
              <a:gd name="connsiteX224" fmla="*/ 5345786 w 5662788"/>
              <a:gd name="connsiteY224" fmla="*/ 75363 h 1240971"/>
              <a:gd name="connsiteX225" fmla="*/ 5330714 w 5662788"/>
              <a:gd name="connsiteY225" fmla="*/ 80387 h 1240971"/>
              <a:gd name="connsiteX226" fmla="*/ 5255351 w 5662788"/>
              <a:gd name="connsiteY226" fmla="*/ 85411 h 1240971"/>
              <a:gd name="connsiteX227" fmla="*/ 5049360 w 5662788"/>
              <a:gd name="connsiteY227" fmla="*/ 80387 h 1240971"/>
              <a:gd name="connsiteX228" fmla="*/ 4989070 w 5662788"/>
              <a:gd name="connsiteY228" fmla="*/ 65314 h 1240971"/>
              <a:gd name="connsiteX229" fmla="*/ 4943852 w 5662788"/>
              <a:gd name="connsiteY229" fmla="*/ 60290 h 1240971"/>
              <a:gd name="connsiteX230" fmla="*/ 4823272 w 5662788"/>
              <a:gd name="connsiteY230" fmla="*/ 50242 h 1240971"/>
              <a:gd name="connsiteX231" fmla="*/ 4677571 w 5662788"/>
              <a:gd name="connsiteY231" fmla="*/ 55266 h 1240971"/>
              <a:gd name="connsiteX232" fmla="*/ 4647426 w 5662788"/>
              <a:gd name="connsiteY232" fmla="*/ 60290 h 1240971"/>
              <a:gd name="connsiteX233" fmla="*/ 4577087 w 5662788"/>
              <a:gd name="connsiteY233" fmla="*/ 65314 h 1240971"/>
              <a:gd name="connsiteX234" fmla="*/ 4486652 w 5662788"/>
              <a:gd name="connsiteY234" fmla="*/ 75363 h 1240971"/>
              <a:gd name="connsiteX235" fmla="*/ 4139984 w 5662788"/>
              <a:gd name="connsiteY235" fmla="*/ 60290 h 1240971"/>
              <a:gd name="connsiteX236" fmla="*/ 3918920 w 5662788"/>
              <a:gd name="connsiteY236" fmla="*/ 50242 h 1240971"/>
              <a:gd name="connsiteX237" fmla="*/ 3873703 w 5662788"/>
              <a:gd name="connsiteY237" fmla="*/ 45217 h 1240971"/>
              <a:gd name="connsiteX238" fmla="*/ 3687808 w 5662788"/>
              <a:gd name="connsiteY238" fmla="*/ 40193 h 1240971"/>
              <a:gd name="connsiteX239" fmla="*/ 3662687 w 5662788"/>
              <a:gd name="connsiteY239" fmla="*/ 35169 h 1240971"/>
              <a:gd name="connsiteX240" fmla="*/ 3627518 w 5662788"/>
              <a:gd name="connsiteY240" fmla="*/ 25121 h 1240971"/>
              <a:gd name="connsiteX241" fmla="*/ 3547131 w 5662788"/>
              <a:gd name="connsiteY241" fmla="*/ 20097 h 1240971"/>
              <a:gd name="connsiteX242" fmla="*/ 3310995 w 5662788"/>
              <a:gd name="connsiteY242" fmla="*/ 25121 h 1240971"/>
              <a:gd name="connsiteX243" fmla="*/ 3265777 w 5662788"/>
              <a:gd name="connsiteY243" fmla="*/ 30145 h 1240971"/>
              <a:gd name="connsiteX244" fmla="*/ 3175342 w 5662788"/>
              <a:gd name="connsiteY244" fmla="*/ 35169 h 1240971"/>
              <a:gd name="connsiteX245" fmla="*/ 2582489 w 5662788"/>
              <a:gd name="connsiteY245" fmla="*/ 45217 h 1240971"/>
              <a:gd name="connsiteX246" fmla="*/ 2255918 w 5662788"/>
              <a:gd name="connsiteY246" fmla="*/ 40193 h 1240971"/>
              <a:gd name="connsiteX247" fmla="*/ 1974564 w 5662788"/>
              <a:gd name="connsiteY247" fmla="*/ 30145 h 1240971"/>
              <a:gd name="connsiteX248" fmla="*/ 1944419 w 5662788"/>
              <a:gd name="connsiteY248" fmla="*/ 25121 h 1240971"/>
              <a:gd name="connsiteX249" fmla="*/ 1848960 w 5662788"/>
              <a:gd name="connsiteY249" fmla="*/ 20097 h 1240971"/>
              <a:gd name="connsiteX250" fmla="*/ 1768573 w 5662788"/>
              <a:gd name="connsiteY250" fmla="*/ 10048 h 1240971"/>
              <a:gd name="connsiteX251" fmla="*/ 1502292 w 5662788"/>
              <a:gd name="connsiteY251" fmla="*/ 20097 h 1240971"/>
              <a:gd name="connsiteX252" fmla="*/ 1467122 w 5662788"/>
              <a:gd name="connsiteY252" fmla="*/ 25121 h 1240971"/>
              <a:gd name="connsiteX253" fmla="*/ 1426929 w 5662788"/>
              <a:gd name="connsiteY253" fmla="*/ 30145 h 1240971"/>
              <a:gd name="connsiteX254" fmla="*/ 1341518 w 5662788"/>
              <a:gd name="connsiteY254" fmla="*/ 45217 h 1240971"/>
              <a:gd name="connsiteX255" fmla="*/ 1095333 w 5662788"/>
              <a:gd name="connsiteY255" fmla="*/ 35169 h 1240971"/>
              <a:gd name="connsiteX256" fmla="*/ 979777 w 5662788"/>
              <a:gd name="connsiteY256" fmla="*/ 20097 h 1240971"/>
              <a:gd name="connsiteX257" fmla="*/ 939584 w 5662788"/>
              <a:gd name="connsiteY257" fmla="*/ 10048 h 1240971"/>
              <a:gd name="connsiteX258" fmla="*/ 813980 w 5662788"/>
              <a:gd name="connsiteY258" fmla="*/ 0 h 1240971"/>
              <a:gd name="connsiteX259" fmla="*/ 743641 w 5662788"/>
              <a:gd name="connsiteY259" fmla="*/ 5024 h 1240971"/>
              <a:gd name="connsiteX260" fmla="*/ 582867 w 5662788"/>
              <a:gd name="connsiteY260" fmla="*/ 15072 h 1240971"/>
              <a:gd name="connsiteX261" fmla="*/ 432142 w 5662788"/>
              <a:gd name="connsiteY261" fmla="*/ 5024 h 1240971"/>
              <a:gd name="connsiteX262" fmla="*/ 412046 w 5662788"/>
              <a:gd name="connsiteY262" fmla="*/ 0 h 1240971"/>
              <a:gd name="connsiteX263" fmla="*/ 281417 w 5662788"/>
              <a:gd name="connsiteY263" fmla="*/ 10048 h 1240971"/>
              <a:gd name="connsiteX264" fmla="*/ 261320 w 5662788"/>
              <a:gd name="connsiteY264" fmla="*/ 15072 h 1240971"/>
              <a:gd name="connsiteX265" fmla="*/ 100547 w 5662788"/>
              <a:gd name="connsiteY265" fmla="*/ 20097 h 1240971"/>
              <a:gd name="connsiteX266" fmla="*/ 5087 w 5662788"/>
              <a:gd name="connsiteY266"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40278 w 5662788"/>
              <a:gd name="connsiteY194" fmla="*/ 823965 h 1240971"/>
              <a:gd name="connsiteX195" fmla="*/ 5265399 w 5662788"/>
              <a:gd name="connsiteY195" fmla="*/ 803868 h 1240971"/>
              <a:gd name="connsiteX196" fmla="*/ 5295282 w 5662788"/>
              <a:gd name="connsiteY196" fmla="*/ 800440 h 1240971"/>
              <a:gd name="connsiteX197" fmla="*/ 5334430 w 5662788"/>
              <a:gd name="connsiteY197" fmla="*/ 794893 h 1240971"/>
              <a:gd name="connsiteX198" fmla="*/ 5412174 w 5662788"/>
              <a:gd name="connsiteY198" fmla="*/ 824252 h 1240971"/>
              <a:gd name="connsiteX199" fmla="*/ 5431197 w 5662788"/>
              <a:gd name="connsiteY199" fmla="*/ 768699 h 1240971"/>
              <a:gd name="connsiteX200" fmla="*/ 5441246 w 5662788"/>
              <a:gd name="connsiteY200" fmla="*/ 753626 h 1240971"/>
              <a:gd name="connsiteX201" fmla="*/ 5456318 w 5662788"/>
              <a:gd name="connsiteY201" fmla="*/ 708409 h 1240971"/>
              <a:gd name="connsiteX202" fmla="*/ 5466366 w 5662788"/>
              <a:gd name="connsiteY202" fmla="*/ 683288 h 1240971"/>
              <a:gd name="connsiteX203" fmla="*/ 5476415 w 5662788"/>
              <a:gd name="connsiteY203" fmla="*/ 643094 h 1240971"/>
              <a:gd name="connsiteX204" fmla="*/ 5491487 w 5662788"/>
              <a:gd name="connsiteY204" fmla="*/ 617973 h 1240971"/>
              <a:gd name="connsiteX205" fmla="*/ 5506560 w 5662788"/>
              <a:gd name="connsiteY205" fmla="*/ 572756 h 1240971"/>
              <a:gd name="connsiteX206" fmla="*/ 5526656 w 5662788"/>
              <a:gd name="connsiteY206" fmla="*/ 522514 h 1240971"/>
              <a:gd name="connsiteX207" fmla="*/ 5546753 w 5662788"/>
              <a:gd name="connsiteY207" fmla="*/ 467248 h 1240971"/>
              <a:gd name="connsiteX208" fmla="*/ 5556802 w 5662788"/>
              <a:gd name="connsiteY208" fmla="*/ 411982 h 1240971"/>
              <a:gd name="connsiteX209" fmla="*/ 5566850 w 5662788"/>
              <a:gd name="connsiteY209" fmla="*/ 381837 h 1240971"/>
              <a:gd name="connsiteX210" fmla="*/ 5576898 w 5662788"/>
              <a:gd name="connsiteY210" fmla="*/ 356716 h 1240971"/>
              <a:gd name="connsiteX211" fmla="*/ 5596995 w 5662788"/>
              <a:gd name="connsiteY211" fmla="*/ 316523 h 1240971"/>
              <a:gd name="connsiteX212" fmla="*/ 5617092 w 5662788"/>
              <a:gd name="connsiteY212" fmla="*/ 246184 h 1240971"/>
              <a:gd name="connsiteX213" fmla="*/ 5622116 w 5662788"/>
              <a:gd name="connsiteY213" fmla="*/ 226088 h 1240971"/>
              <a:gd name="connsiteX214" fmla="*/ 5632164 w 5662788"/>
              <a:gd name="connsiteY214" fmla="*/ 216039 h 1240971"/>
              <a:gd name="connsiteX215" fmla="*/ 5637188 w 5662788"/>
              <a:gd name="connsiteY215" fmla="*/ 200967 h 1240971"/>
              <a:gd name="connsiteX216" fmla="*/ 5642213 w 5662788"/>
              <a:gd name="connsiteY216" fmla="*/ 180870 h 1240971"/>
              <a:gd name="connsiteX217" fmla="*/ 5652261 w 5662788"/>
              <a:gd name="connsiteY217" fmla="*/ 165798 h 1240971"/>
              <a:gd name="connsiteX218" fmla="*/ 5662309 w 5662788"/>
              <a:gd name="connsiteY218" fmla="*/ 115556 h 1240971"/>
              <a:gd name="connsiteX219" fmla="*/ 5657285 w 5662788"/>
              <a:gd name="connsiteY219" fmla="*/ 80387 h 1240971"/>
              <a:gd name="connsiteX220" fmla="*/ 5627140 w 5662788"/>
              <a:gd name="connsiteY220" fmla="*/ 75363 h 1240971"/>
              <a:gd name="connsiteX221" fmla="*/ 5586947 w 5662788"/>
              <a:gd name="connsiteY221" fmla="*/ 65314 h 1240971"/>
              <a:gd name="connsiteX222" fmla="*/ 5406076 w 5662788"/>
              <a:gd name="connsiteY222" fmla="*/ 70338 h 1240971"/>
              <a:gd name="connsiteX223" fmla="*/ 5345786 w 5662788"/>
              <a:gd name="connsiteY223" fmla="*/ 75363 h 1240971"/>
              <a:gd name="connsiteX224" fmla="*/ 5330714 w 5662788"/>
              <a:gd name="connsiteY224" fmla="*/ 80387 h 1240971"/>
              <a:gd name="connsiteX225" fmla="*/ 5255351 w 5662788"/>
              <a:gd name="connsiteY225" fmla="*/ 85411 h 1240971"/>
              <a:gd name="connsiteX226" fmla="*/ 5049360 w 5662788"/>
              <a:gd name="connsiteY226" fmla="*/ 80387 h 1240971"/>
              <a:gd name="connsiteX227" fmla="*/ 4989070 w 5662788"/>
              <a:gd name="connsiteY227" fmla="*/ 65314 h 1240971"/>
              <a:gd name="connsiteX228" fmla="*/ 4943852 w 5662788"/>
              <a:gd name="connsiteY228" fmla="*/ 60290 h 1240971"/>
              <a:gd name="connsiteX229" fmla="*/ 4823272 w 5662788"/>
              <a:gd name="connsiteY229" fmla="*/ 50242 h 1240971"/>
              <a:gd name="connsiteX230" fmla="*/ 4677571 w 5662788"/>
              <a:gd name="connsiteY230" fmla="*/ 55266 h 1240971"/>
              <a:gd name="connsiteX231" fmla="*/ 4647426 w 5662788"/>
              <a:gd name="connsiteY231" fmla="*/ 60290 h 1240971"/>
              <a:gd name="connsiteX232" fmla="*/ 4577087 w 5662788"/>
              <a:gd name="connsiteY232" fmla="*/ 65314 h 1240971"/>
              <a:gd name="connsiteX233" fmla="*/ 4486652 w 5662788"/>
              <a:gd name="connsiteY233" fmla="*/ 75363 h 1240971"/>
              <a:gd name="connsiteX234" fmla="*/ 4139984 w 5662788"/>
              <a:gd name="connsiteY234" fmla="*/ 60290 h 1240971"/>
              <a:gd name="connsiteX235" fmla="*/ 3918920 w 5662788"/>
              <a:gd name="connsiteY235" fmla="*/ 50242 h 1240971"/>
              <a:gd name="connsiteX236" fmla="*/ 3873703 w 5662788"/>
              <a:gd name="connsiteY236" fmla="*/ 45217 h 1240971"/>
              <a:gd name="connsiteX237" fmla="*/ 3687808 w 5662788"/>
              <a:gd name="connsiteY237" fmla="*/ 40193 h 1240971"/>
              <a:gd name="connsiteX238" fmla="*/ 3662687 w 5662788"/>
              <a:gd name="connsiteY238" fmla="*/ 35169 h 1240971"/>
              <a:gd name="connsiteX239" fmla="*/ 3627518 w 5662788"/>
              <a:gd name="connsiteY239" fmla="*/ 25121 h 1240971"/>
              <a:gd name="connsiteX240" fmla="*/ 3547131 w 5662788"/>
              <a:gd name="connsiteY240" fmla="*/ 20097 h 1240971"/>
              <a:gd name="connsiteX241" fmla="*/ 3310995 w 5662788"/>
              <a:gd name="connsiteY241" fmla="*/ 25121 h 1240971"/>
              <a:gd name="connsiteX242" fmla="*/ 3265777 w 5662788"/>
              <a:gd name="connsiteY242" fmla="*/ 30145 h 1240971"/>
              <a:gd name="connsiteX243" fmla="*/ 3175342 w 5662788"/>
              <a:gd name="connsiteY243" fmla="*/ 35169 h 1240971"/>
              <a:gd name="connsiteX244" fmla="*/ 2582489 w 5662788"/>
              <a:gd name="connsiteY244" fmla="*/ 45217 h 1240971"/>
              <a:gd name="connsiteX245" fmla="*/ 2255918 w 5662788"/>
              <a:gd name="connsiteY245" fmla="*/ 40193 h 1240971"/>
              <a:gd name="connsiteX246" fmla="*/ 1974564 w 5662788"/>
              <a:gd name="connsiteY246" fmla="*/ 30145 h 1240971"/>
              <a:gd name="connsiteX247" fmla="*/ 1944419 w 5662788"/>
              <a:gd name="connsiteY247" fmla="*/ 25121 h 1240971"/>
              <a:gd name="connsiteX248" fmla="*/ 1848960 w 5662788"/>
              <a:gd name="connsiteY248" fmla="*/ 20097 h 1240971"/>
              <a:gd name="connsiteX249" fmla="*/ 1768573 w 5662788"/>
              <a:gd name="connsiteY249" fmla="*/ 10048 h 1240971"/>
              <a:gd name="connsiteX250" fmla="*/ 1502292 w 5662788"/>
              <a:gd name="connsiteY250" fmla="*/ 20097 h 1240971"/>
              <a:gd name="connsiteX251" fmla="*/ 1467122 w 5662788"/>
              <a:gd name="connsiteY251" fmla="*/ 25121 h 1240971"/>
              <a:gd name="connsiteX252" fmla="*/ 1426929 w 5662788"/>
              <a:gd name="connsiteY252" fmla="*/ 30145 h 1240971"/>
              <a:gd name="connsiteX253" fmla="*/ 1341518 w 5662788"/>
              <a:gd name="connsiteY253" fmla="*/ 45217 h 1240971"/>
              <a:gd name="connsiteX254" fmla="*/ 1095333 w 5662788"/>
              <a:gd name="connsiteY254" fmla="*/ 35169 h 1240971"/>
              <a:gd name="connsiteX255" fmla="*/ 979777 w 5662788"/>
              <a:gd name="connsiteY255" fmla="*/ 20097 h 1240971"/>
              <a:gd name="connsiteX256" fmla="*/ 939584 w 5662788"/>
              <a:gd name="connsiteY256" fmla="*/ 10048 h 1240971"/>
              <a:gd name="connsiteX257" fmla="*/ 813980 w 5662788"/>
              <a:gd name="connsiteY257" fmla="*/ 0 h 1240971"/>
              <a:gd name="connsiteX258" fmla="*/ 743641 w 5662788"/>
              <a:gd name="connsiteY258" fmla="*/ 5024 h 1240971"/>
              <a:gd name="connsiteX259" fmla="*/ 582867 w 5662788"/>
              <a:gd name="connsiteY259" fmla="*/ 15072 h 1240971"/>
              <a:gd name="connsiteX260" fmla="*/ 432142 w 5662788"/>
              <a:gd name="connsiteY260" fmla="*/ 5024 h 1240971"/>
              <a:gd name="connsiteX261" fmla="*/ 412046 w 5662788"/>
              <a:gd name="connsiteY261" fmla="*/ 0 h 1240971"/>
              <a:gd name="connsiteX262" fmla="*/ 281417 w 5662788"/>
              <a:gd name="connsiteY262" fmla="*/ 10048 h 1240971"/>
              <a:gd name="connsiteX263" fmla="*/ 261320 w 5662788"/>
              <a:gd name="connsiteY263" fmla="*/ 15072 h 1240971"/>
              <a:gd name="connsiteX264" fmla="*/ 100547 w 5662788"/>
              <a:gd name="connsiteY264" fmla="*/ 20097 h 1240971"/>
              <a:gd name="connsiteX265" fmla="*/ 5087 w 5662788"/>
              <a:gd name="connsiteY265"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65399 w 5662788"/>
              <a:gd name="connsiteY194" fmla="*/ 803868 h 1240971"/>
              <a:gd name="connsiteX195" fmla="*/ 5295282 w 5662788"/>
              <a:gd name="connsiteY195" fmla="*/ 800440 h 1240971"/>
              <a:gd name="connsiteX196" fmla="*/ 5334430 w 5662788"/>
              <a:gd name="connsiteY196" fmla="*/ 794893 h 1240971"/>
              <a:gd name="connsiteX197" fmla="*/ 5412174 w 5662788"/>
              <a:gd name="connsiteY197" fmla="*/ 824252 h 1240971"/>
              <a:gd name="connsiteX198" fmla="*/ 5431197 w 5662788"/>
              <a:gd name="connsiteY198" fmla="*/ 768699 h 1240971"/>
              <a:gd name="connsiteX199" fmla="*/ 5441246 w 5662788"/>
              <a:gd name="connsiteY199" fmla="*/ 753626 h 1240971"/>
              <a:gd name="connsiteX200" fmla="*/ 5456318 w 5662788"/>
              <a:gd name="connsiteY200" fmla="*/ 708409 h 1240971"/>
              <a:gd name="connsiteX201" fmla="*/ 5466366 w 5662788"/>
              <a:gd name="connsiteY201" fmla="*/ 683288 h 1240971"/>
              <a:gd name="connsiteX202" fmla="*/ 5476415 w 5662788"/>
              <a:gd name="connsiteY202" fmla="*/ 643094 h 1240971"/>
              <a:gd name="connsiteX203" fmla="*/ 5491487 w 5662788"/>
              <a:gd name="connsiteY203" fmla="*/ 617973 h 1240971"/>
              <a:gd name="connsiteX204" fmla="*/ 5506560 w 5662788"/>
              <a:gd name="connsiteY204" fmla="*/ 572756 h 1240971"/>
              <a:gd name="connsiteX205" fmla="*/ 5526656 w 5662788"/>
              <a:gd name="connsiteY205" fmla="*/ 522514 h 1240971"/>
              <a:gd name="connsiteX206" fmla="*/ 5546753 w 5662788"/>
              <a:gd name="connsiteY206" fmla="*/ 467248 h 1240971"/>
              <a:gd name="connsiteX207" fmla="*/ 5556802 w 5662788"/>
              <a:gd name="connsiteY207" fmla="*/ 411982 h 1240971"/>
              <a:gd name="connsiteX208" fmla="*/ 5566850 w 5662788"/>
              <a:gd name="connsiteY208" fmla="*/ 381837 h 1240971"/>
              <a:gd name="connsiteX209" fmla="*/ 5576898 w 5662788"/>
              <a:gd name="connsiteY209" fmla="*/ 356716 h 1240971"/>
              <a:gd name="connsiteX210" fmla="*/ 5596995 w 5662788"/>
              <a:gd name="connsiteY210" fmla="*/ 316523 h 1240971"/>
              <a:gd name="connsiteX211" fmla="*/ 5617092 w 5662788"/>
              <a:gd name="connsiteY211" fmla="*/ 246184 h 1240971"/>
              <a:gd name="connsiteX212" fmla="*/ 5622116 w 5662788"/>
              <a:gd name="connsiteY212" fmla="*/ 226088 h 1240971"/>
              <a:gd name="connsiteX213" fmla="*/ 5632164 w 5662788"/>
              <a:gd name="connsiteY213" fmla="*/ 216039 h 1240971"/>
              <a:gd name="connsiteX214" fmla="*/ 5637188 w 5662788"/>
              <a:gd name="connsiteY214" fmla="*/ 200967 h 1240971"/>
              <a:gd name="connsiteX215" fmla="*/ 5642213 w 5662788"/>
              <a:gd name="connsiteY215" fmla="*/ 180870 h 1240971"/>
              <a:gd name="connsiteX216" fmla="*/ 5652261 w 5662788"/>
              <a:gd name="connsiteY216" fmla="*/ 165798 h 1240971"/>
              <a:gd name="connsiteX217" fmla="*/ 5662309 w 5662788"/>
              <a:gd name="connsiteY217" fmla="*/ 115556 h 1240971"/>
              <a:gd name="connsiteX218" fmla="*/ 5657285 w 5662788"/>
              <a:gd name="connsiteY218" fmla="*/ 80387 h 1240971"/>
              <a:gd name="connsiteX219" fmla="*/ 5627140 w 5662788"/>
              <a:gd name="connsiteY219" fmla="*/ 75363 h 1240971"/>
              <a:gd name="connsiteX220" fmla="*/ 5586947 w 5662788"/>
              <a:gd name="connsiteY220" fmla="*/ 65314 h 1240971"/>
              <a:gd name="connsiteX221" fmla="*/ 5406076 w 5662788"/>
              <a:gd name="connsiteY221" fmla="*/ 70338 h 1240971"/>
              <a:gd name="connsiteX222" fmla="*/ 5345786 w 5662788"/>
              <a:gd name="connsiteY222" fmla="*/ 75363 h 1240971"/>
              <a:gd name="connsiteX223" fmla="*/ 5330714 w 5662788"/>
              <a:gd name="connsiteY223" fmla="*/ 80387 h 1240971"/>
              <a:gd name="connsiteX224" fmla="*/ 5255351 w 5662788"/>
              <a:gd name="connsiteY224" fmla="*/ 85411 h 1240971"/>
              <a:gd name="connsiteX225" fmla="*/ 5049360 w 5662788"/>
              <a:gd name="connsiteY225" fmla="*/ 80387 h 1240971"/>
              <a:gd name="connsiteX226" fmla="*/ 4989070 w 5662788"/>
              <a:gd name="connsiteY226" fmla="*/ 65314 h 1240971"/>
              <a:gd name="connsiteX227" fmla="*/ 4943852 w 5662788"/>
              <a:gd name="connsiteY227" fmla="*/ 60290 h 1240971"/>
              <a:gd name="connsiteX228" fmla="*/ 4823272 w 5662788"/>
              <a:gd name="connsiteY228" fmla="*/ 50242 h 1240971"/>
              <a:gd name="connsiteX229" fmla="*/ 4677571 w 5662788"/>
              <a:gd name="connsiteY229" fmla="*/ 55266 h 1240971"/>
              <a:gd name="connsiteX230" fmla="*/ 4647426 w 5662788"/>
              <a:gd name="connsiteY230" fmla="*/ 60290 h 1240971"/>
              <a:gd name="connsiteX231" fmla="*/ 4577087 w 5662788"/>
              <a:gd name="connsiteY231" fmla="*/ 65314 h 1240971"/>
              <a:gd name="connsiteX232" fmla="*/ 4486652 w 5662788"/>
              <a:gd name="connsiteY232" fmla="*/ 75363 h 1240971"/>
              <a:gd name="connsiteX233" fmla="*/ 4139984 w 5662788"/>
              <a:gd name="connsiteY233" fmla="*/ 60290 h 1240971"/>
              <a:gd name="connsiteX234" fmla="*/ 3918920 w 5662788"/>
              <a:gd name="connsiteY234" fmla="*/ 50242 h 1240971"/>
              <a:gd name="connsiteX235" fmla="*/ 3873703 w 5662788"/>
              <a:gd name="connsiteY235" fmla="*/ 45217 h 1240971"/>
              <a:gd name="connsiteX236" fmla="*/ 3687808 w 5662788"/>
              <a:gd name="connsiteY236" fmla="*/ 40193 h 1240971"/>
              <a:gd name="connsiteX237" fmla="*/ 3662687 w 5662788"/>
              <a:gd name="connsiteY237" fmla="*/ 35169 h 1240971"/>
              <a:gd name="connsiteX238" fmla="*/ 3627518 w 5662788"/>
              <a:gd name="connsiteY238" fmla="*/ 25121 h 1240971"/>
              <a:gd name="connsiteX239" fmla="*/ 3547131 w 5662788"/>
              <a:gd name="connsiteY239" fmla="*/ 20097 h 1240971"/>
              <a:gd name="connsiteX240" fmla="*/ 3310995 w 5662788"/>
              <a:gd name="connsiteY240" fmla="*/ 25121 h 1240971"/>
              <a:gd name="connsiteX241" fmla="*/ 3265777 w 5662788"/>
              <a:gd name="connsiteY241" fmla="*/ 30145 h 1240971"/>
              <a:gd name="connsiteX242" fmla="*/ 3175342 w 5662788"/>
              <a:gd name="connsiteY242" fmla="*/ 35169 h 1240971"/>
              <a:gd name="connsiteX243" fmla="*/ 2582489 w 5662788"/>
              <a:gd name="connsiteY243" fmla="*/ 45217 h 1240971"/>
              <a:gd name="connsiteX244" fmla="*/ 2255918 w 5662788"/>
              <a:gd name="connsiteY244" fmla="*/ 40193 h 1240971"/>
              <a:gd name="connsiteX245" fmla="*/ 1974564 w 5662788"/>
              <a:gd name="connsiteY245" fmla="*/ 30145 h 1240971"/>
              <a:gd name="connsiteX246" fmla="*/ 1944419 w 5662788"/>
              <a:gd name="connsiteY246" fmla="*/ 25121 h 1240971"/>
              <a:gd name="connsiteX247" fmla="*/ 1848960 w 5662788"/>
              <a:gd name="connsiteY247" fmla="*/ 20097 h 1240971"/>
              <a:gd name="connsiteX248" fmla="*/ 1768573 w 5662788"/>
              <a:gd name="connsiteY248" fmla="*/ 10048 h 1240971"/>
              <a:gd name="connsiteX249" fmla="*/ 1502292 w 5662788"/>
              <a:gd name="connsiteY249" fmla="*/ 20097 h 1240971"/>
              <a:gd name="connsiteX250" fmla="*/ 1467122 w 5662788"/>
              <a:gd name="connsiteY250" fmla="*/ 25121 h 1240971"/>
              <a:gd name="connsiteX251" fmla="*/ 1426929 w 5662788"/>
              <a:gd name="connsiteY251" fmla="*/ 30145 h 1240971"/>
              <a:gd name="connsiteX252" fmla="*/ 1341518 w 5662788"/>
              <a:gd name="connsiteY252" fmla="*/ 45217 h 1240971"/>
              <a:gd name="connsiteX253" fmla="*/ 1095333 w 5662788"/>
              <a:gd name="connsiteY253" fmla="*/ 35169 h 1240971"/>
              <a:gd name="connsiteX254" fmla="*/ 979777 w 5662788"/>
              <a:gd name="connsiteY254" fmla="*/ 20097 h 1240971"/>
              <a:gd name="connsiteX255" fmla="*/ 939584 w 5662788"/>
              <a:gd name="connsiteY255" fmla="*/ 10048 h 1240971"/>
              <a:gd name="connsiteX256" fmla="*/ 813980 w 5662788"/>
              <a:gd name="connsiteY256" fmla="*/ 0 h 1240971"/>
              <a:gd name="connsiteX257" fmla="*/ 743641 w 5662788"/>
              <a:gd name="connsiteY257" fmla="*/ 5024 h 1240971"/>
              <a:gd name="connsiteX258" fmla="*/ 582867 w 5662788"/>
              <a:gd name="connsiteY258" fmla="*/ 15072 h 1240971"/>
              <a:gd name="connsiteX259" fmla="*/ 432142 w 5662788"/>
              <a:gd name="connsiteY259" fmla="*/ 5024 h 1240971"/>
              <a:gd name="connsiteX260" fmla="*/ 412046 w 5662788"/>
              <a:gd name="connsiteY260" fmla="*/ 0 h 1240971"/>
              <a:gd name="connsiteX261" fmla="*/ 281417 w 5662788"/>
              <a:gd name="connsiteY261" fmla="*/ 10048 h 1240971"/>
              <a:gd name="connsiteX262" fmla="*/ 261320 w 5662788"/>
              <a:gd name="connsiteY262" fmla="*/ 15072 h 1240971"/>
              <a:gd name="connsiteX263" fmla="*/ 100547 w 5662788"/>
              <a:gd name="connsiteY263" fmla="*/ 20097 h 1240971"/>
              <a:gd name="connsiteX264" fmla="*/ 5087 w 5662788"/>
              <a:gd name="connsiteY264"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60637 w 5662788"/>
              <a:gd name="connsiteY194" fmla="*/ 822918 h 1240971"/>
              <a:gd name="connsiteX195" fmla="*/ 5295282 w 5662788"/>
              <a:gd name="connsiteY195" fmla="*/ 800440 h 1240971"/>
              <a:gd name="connsiteX196" fmla="*/ 5334430 w 5662788"/>
              <a:gd name="connsiteY196" fmla="*/ 794893 h 1240971"/>
              <a:gd name="connsiteX197" fmla="*/ 5412174 w 5662788"/>
              <a:gd name="connsiteY197" fmla="*/ 824252 h 1240971"/>
              <a:gd name="connsiteX198" fmla="*/ 5431197 w 5662788"/>
              <a:gd name="connsiteY198" fmla="*/ 768699 h 1240971"/>
              <a:gd name="connsiteX199" fmla="*/ 5441246 w 5662788"/>
              <a:gd name="connsiteY199" fmla="*/ 753626 h 1240971"/>
              <a:gd name="connsiteX200" fmla="*/ 5456318 w 5662788"/>
              <a:gd name="connsiteY200" fmla="*/ 708409 h 1240971"/>
              <a:gd name="connsiteX201" fmla="*/ 5466366 w 5662788"/>
              <a:gd name="connsiteY201" fmla="*/ 683288 h 1240971"/>
              <a:gd name="connsiteX202" fmla="*/ 5476415 w 5662788"/>
              <a:gd name="connsiteY202" fmla="*/ 643094 h 1240971"/>
              <a:gd name="connsiteX203" fmla="*/ 5491487 w 5662788"/>
              <a:gd name="connsiteY203" fmla="*/ 617973 h 1240971"/>
              <a:gd name="connsiteX204" fmla="*/ 5506560 w 5662788"/>
              <a:gd name="connsiteY204" fmla="*/ 572756 h 1240971"/>
              <a:gd name="connsiteX205" fmla="*/ 5526656 w 5662788"/>
              <a:gd name="connsiteY205" fmla="*/ 522514 h 1240971"/>
              <a:gd name="connsiteX206" fmla="*/ 5546753 w 5662788"/>
              <a:gd name="connsiteY206" fmla="*/ 467248 h 1240971"/>
              <a:gd name="connsiteX207" fmla="*/ 5556802 w 5662788"/>
              <a:gd name="connsiteY207" fmla="*/ 411982 h 1240971"/>
              <a:gd name="connsiteX208" fmla="*/ 5566850 w 5662788"/>
              <a:gd name="connsiteY208" fmla="*/ 381837 h 1240971"/>
              <a:gd name="connsiteX209" fmla="*/ 5576898 w 5662788"/>
              <a:gd name="connsiteY209" fmla="*/ 356716 h 1240971"/>
              <a:gd name="connsiteX210" fmla="*/ 5596995 w 5662788"/>
              <a:gd name="connsiteY210" fmla="*/ 316523 h 1240971"/>
              <a:gd name="connsiteX211" fmla="*/ 5617092 w 5662788"/>
              <a:gd name="connsiteY211" fmla="*/ 246184 h 1240971"/>
              <a:gd name="connsiteX212" fmla="*/ 5622116 w 5662788"/>
              <a:gd name="connsiteY212" fmla="*/ 226088 h 1240971"/>
              <a:gd name="connsiteX213" fmla="*/ 5632164 w 5662788"/>
              <a:gd name="connsiteY213" fmla="*/ 216039 h 1240971"/>
              <a:gd name="connsiteX214" fmla="*/ 5637188 w 5662788"/>
              <a:gd name="connsiteY214" fmla="*/ 200967 h 1240971"/>
              <a:gd name="connsiteX215" fmla="*/ 5642213 w 5662788"/>
              <a:gd name="connsiteY215" fmla="*/ 180870 h 1240971"/>
              <a:gd name="connsiteX216" fmla="*/ 5652261 w 5662788"/>
              <a:gd name="connsiteY216" fmla="*/ 165798 h 1240971"/>
              <a:gd name="connsiteX217" fmla="*/ 5662309 w 5662788"/>
              <a:gd name="connsiteY217" fmla="*/ 115556 h 1240971"/>
              <a:gd name="connsiteX218" fmla="*/ 5657285 w 5662788"/>
              <a:gd name="connsiteY218" fmla="*/ 80387 h 1240971"/>
              <a:gd name="connsiteX219" fmla="*/ 5627140 w 5662788"/>
              <a:gd name="connsiteY219" fmla="*/ 75363 h 1240971"/>
              <a:gd name="connsiteX220" fmla="*/ 5586947 w 5662788"/>
              <a:gd name="connsiteY220" fmla="*/ 65314 h 1240971"/>
              <a:gd name="connsiteX221" fmla="*/ 5406076 w 5662788"/>
              <a:gd name="connsiteY221" fmla="*/ 70338 h 1240971"/>
              <a:gd name="connsiteX222" fmla="*/ 5345786 w 5662788"/>
              <a:gd name="connsiteY222" fmla="*/ 75363 h 1240971"/>
              <a:gd name="connsiteX223" fmla="*/ 5330714 w 5662788"/>
              <a:gd name="connsiteY223" fmla="*/ 80387 h 1240971"/>
              <a:gd name="connsiteX224" fmla="*/ 5255351 w 5662788"/>
              <a:gd name="connsiteY224" fmla="*/ 85411 h 1240971"/>
              <a:gd name="connsiteX225" fmla="*/ 5049360 w 5662788"/>
              <a:gd name="connsiteY225" fmla="*/ 80387 h 1240971"/>
              <a:gd name="connsiteX226" fmla="*/ 4989070 w 5662788"/>
              <a:gd name="connsiteY226" fmla="*/ 65314 h 1240971"/>
              <a:gd name="connsiteX227" fmla="*/ 4943852 w 5662788"/>
              <a:gd name="connsiteY227" fmla="*/ 60290 h 1240971"/>
              <a:gd name="connsiteX228" fmla="*/ 4823272 w 5662788"/>
              <a:gd name="connsiteY228" fmla="*/ 50242 h 1240971"/>
              <a:gd name="connsiteX229" fmla="*/ 4677571 w 5662788"/>
              <a:gd name="connsiteY229" fmla="*/ 55266 h 1240971"/>
              <a:gd name="connsiteX230" fmla="*/ 4647426 w 5662788"/>
              <a:gd name="connsiteY230" fmla="*/ 60290 h 1240971"/>
              <a:gd name="connsiteX231" fmla="*/ 4577087 w 5662788"/>
              <a:gd name="connsiteY231" fmla="*/ 65314 h 1240971"/>
              <a:gd name="connsiteX232" fmla="*/ 4486652 w 5662788"/>
              <a:gd name="connsiteY232" fmla="*/ 75363 h 1240971"/>
              <a:gd name="connsiteX233" fmla="*/ 4139984 w 5662788"/>
              <a:gd name="connsiteY233" fmla="*/ 60290 h 1240971"/>
              <a:gd name="connsiteX234" fmla="*/ 3918920 w 5662788"/>
              <a:gd name="connsiteY234" fmla="*/ 50242 h 1240971"/>
              <a:gd name="connsiteX235" fmla="*/ 3873703 w 5662788"/>
              <a:gd name="connsiteY235" fmla="*/ 45217 h 1240971"/>
              <a:gd name="connsiteX236" fmla="*/ 3687808 w 5662788"/>
              <a:gd name="connsiteY236" fmla="*/ 40193 h 1240971"/>
              <a:gd name="connsiteX237" fmla="*/ 3662687 w 5662788"/>
              <a:gd name="connsiteY237" fmla="*/ 35169 h 1240971"/>
              <a:gd name="connsiteX238" fmla="*/ 3627518 w 5662788"/>
              <a:gd name="connsiteY238" fmla="*/ 25121 h 1240971"/>
              <a:gd name="connsiteX239" fmla="*/ 3547131 w 5662788"/>
              <a:gd name="connsiteY239" fmla="*/ 20097 h 1240971"/>
              <a:gd name="connsiteX240" fmla="*/ 3310995 w 5662788"/>
              <a:gd name="connsiteY240" fmla="*/ 25121 h 1240971"/>
              <a:gd name="connsiteX241" fmla="*/ 3265777 w 5662788"/>
              <a:gd name="connsiteY241" fmla="*/ 30145 h 1240971"/>
              <a:gd name="connsiteX242" fmla="*/ 3175342 w 5662788"/>
              <a:gd name="connsiteY242" fmla="*/ 35169 h 1240971"/>
              <a:gd name="connsiteX243" fmla="*/ 2582489 w 5662788"/>
              <a:gd name="connsiteY243" fmla="*/ 45217 h 1240971"/>
              <a:gd name="connsiteX244" fmla="*/ 2255918 w 5662788"/>
              <a:gd name="connsiteY244" fmla="*/ 40193 h 1240971"/>
              <a:gd name="connsiteX245" fmla="*/ 1974564 w 5662788"/>
              <a:gd name="connsiteY245" fmla="*/ 30145 h 1240971"/>
              <a:gd name="connsiteX246" fmla="*/ 1944419 w 5662788"/>
              <a:gd name="connsiteY246" fmla="*/ 25121 h 1240971"/>
              <a:gd name="connsiteX247" fmla="*/ 1848960 w 5662788"/>
              <a:gd name="connsiteY247" fmla="*/ 20097 h 1240971"/>
              <a:gd name="connsiteX248" fmla="*/ 1768573 w 5662788"/>
              <a:gd name="connsiteY248" fmla="*/ 10048 h 1240971"/>
              <a:gd name="connsiteX249" fmla="*/ 1502292 w 5662788"/>
              <a:gd name="connsiteY249" fmla="*/ 20097 h 1240971"/>
              <a:gd name="connsiteX250" fmla="*/ 1467122 w 5662788"/>
              <a:gd name="connsiteY250" fmla="*/ 25121 h 1240971"/>
              <a:gd name="connsiteX251" fmla="*/ 1426929 w 5662788"/>
              <a:gd name="connsiteY251" fmla="*/ 30145 h 1240971"/>
              <a:gd name="connsiteX252" fmla="*/ 1341518 w 5662788"/>
              <a:gd name="connsiteY252" fmla="*/ 45217 h 1240971"/>
              <a:gd name="connsiteX253" fmla="*/ 1095333 w 5662788"/>
              <a:gd name="connsiteY253" fmla="*/ 35169 h 1240971"/>
              <a:gd name="connsiteX254" fmla="*/ 979777 w 5662788"/>
              <a:gd name="connsiteY254" fmla="*/ 20097 h 1240971"/>
              <a:gd name="connsiteX255" fmla="*/ 939584 w 5662788"/>
              <a:gd name="connsiteY255" fmla="*/ 10048 h 1240971"/>
              <a:gd name="connsiteX256" fmla="*/ 813980 w 5662788"/>
              <a:gd name="connsiteY256" fmla="*/ 0 h 1240971"/>
              <a:gd name="connsiteX257" fmla="*/ 743641 w 5662788"/>
              <a:gd name="connsiteY257" fmla="*/ 5024 h 1240971"/>
              <a:gd name="connsiteX258" fmla="*/ 582867 w 5662788"/>
              <a:gd name="connsiteY258" fmla="*/ 15072 h 1240971"/>
              <a:gd name="connsiteX259" fmla="*/ 432142 w 5662788"/>
              <a:gd name="connsiteY259" fmla="*/ 5024 h 1240971"/>
              <a:gd name="connsiteX260" fmla="*/ 412046 w 5662788"/>
              <a:gd name="connsiteY260" fmla="*/ 0 h 1240971"/>
              <a:gd name="connsiteX261" fmla="*/ 281417 w 5662788"/>
              <a:gd name="connsiteY261" fmla="*/ 10048 h 1240971"/>
              <a:gd name="connsiteX262" fmla="*/ 261320 w 5662788"/>
              <a:gd name="connsiteY262" fmla="*/ 15072 h 1240971"/>
              <a:gd name="connsiteX263" fmla="*/ 100547 w 5662788"/>
              <a:gd name="connsiteY263" fmla="*/ 20097 h 1240971"/>
              <a:gd name="connsiteX264" fmla="*/ 5087 w 5662788"/>
              <a:gd name="connsiteY264"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60637 w 5662788"/>
              <a:gd name="connsiteY194" fmla="*/ 822918 h 1240971"/>
              <a:gd name="connsiteX195" fmla="*/ 5295282 w 5662788"/>
              <a:gd name="connsiteY195" fmla="*/ 800440 h 1240971"/>
              <a:gd name="connsiteX196" fmla="*/ 5334430 w 5662788"/>
              <a:gd name="connsiteY196" fmla="*/ 794893 h 1240971"/>
              <a:gd name="connsiteX197" fmla="*/ 5412174 w 5662788"/>
              <a:gd name="connsiteY197" fmla="*/ 824252 h 1240971"/>
              <a:gd name="connsiteX198" fmla="*/ 5431197 w 5662788"/>
              <a:gd name="connsiteY198" fmla="*/ 768699 h 1240971"/>
              <a:gd name="connsiteX199" fmla="*/ 5441246 w 5662788"/>
              <a:gd name="connsiteY199" fmla="*/ 753626 h 1240971"/>
              <a:gd name="connsiteX200" fmla="*/ 5456318 w 5662788"/>
              <a:gd name="connsiteY200" fmla="*/ 708409 h 1240971"/>
              <a:gd name="connsiteX201" fmla="*/ 5466366 w 5662788"/>
              <a:gd name="connsiteY201" fmla="*/ 683288 h 1240971"/>
              <a:gd name="connsiteX202" fmla="*/ 5476415 w 5662788"/>
              <a:gd name="connsiteY202" fmla="*/ 643094 h 1240971"/>
              <a:gd name="connsiteX203" fmla="*/ 5491487 w 5662788"/>
              <a:gd name="connsiteY203" fmla="*/ 617973 h 1240971"/>
              <a:gd name="connsiteX204" fmla="*/ 5506560 w 5662788"/>
              <a:gd name="connsiteY204" fmla="*/ 572756 h 1240971"/>
              <a:gd name="connsiteX205" fmla="*/ 5526656 w 5662788"/>
              <a:gd name="connsiteY205" fmla="*/ 522514 h 1240971"/>
              <a:gd name="connsiteX206" fmla="*/ 5546753 w 5662788"/>
              <a:gd name="connsiteY206" fmla="*/ 467248 h 1240971"/>
              <a:gd name="connsiteX207" fmla="*/ 5556802 w 5662788"/>
              <a:gd name="connsiteY207" fmla="*/ 411982 h 1240971"/>
              <a:gd name="connsiteX208" fmla="*/ 5566850 w 5662788"/>
              <a:gd name="connsiteY208" fmla="*/ 381837 h 1240971"/>
              <a:gd name="connsiteX209" fmla="*/ 5576898 w 5662788"/>
              <a:gd name="connsiteY209" fmla="*/ 356716 h 1240971"/>
              <a:gd name="connsiteX210" fmla="*/ 5596995 w 5662788"/>
              <a:gd name="connsiteY210" fmla="*/ 316523 h 1240971"/>
              <a:gd name="connsiteX211" fmla="*/ 5617092 w 5662788"/>
              <a:gd name="connsiteY211" fmla="*/ 246184 h 1240971"/>
              <a:gd name="connsiteX212" fmla="*/ 5622116 w 5662788"/>
              <a:gd name="connsiteY212" fmla="*/ 226088 h 1240971"/>
              <a:gd name="connsiteX213" fmla="*/ 5632164 w 5662788"/>
              <a:gd name="connsiteY213" fmla="*/ 216039 h 1240971"/>
              <a:gd name="connsiteX214" fmla="*/ 5637188 w 5662788"/>
              <a:gd name="connsiteY214" fmla="*/ 200967 h 1240971"/>
              <a:gd name="connsiteX215" fmla="*/ 5642213 w 5662788"/>
              <a:gd name="connsiteY215" fmla="*/ 180870 h 1240971"/>
              <a:gd name="connsiteX216" fmla="*/ 5652261 w 5662788"/>
              <a:gd name="connsiteY216" fmla="*/ 165798 h 1240971"/>
              <a:gd name="connsiteX217" fmla="*/ 5662309 w 5662788"/>
              <a:gd name="connsiteY217" fmla="*/ 115556 h 1240971"/>
              <a:gd name="connsiteX218" fmla="*/ 5657285 w 5662788"/>
              <a:gd name="connsiteY218" fmla="*/ 80387 h 1240971"/>
              <a:gd name="connsiteX219" fmla="*/ 5627140 w 5662788"/>
              <a:gd name="connsiteY219" fmla="*/ 75363 h 1240971"/>
              <a:gd name="connsiteX220" fmla="*/ 5586947 w 5662788"/>
              <a:gd name="connsiteY220" fmla="*/ 65314 h 1240971"/>
              <a:gd name="connsiteX221" fmla="*/ 5406076 w 5662788"/>
              <a:gd name="connsiteY221" fmla="*/ 70338 h 1240971"/>
              <a:gd name="connsiteX222" fmla="*/ 5345786 w 5662788"/>
              <a:gd name="connsiteY222" fmla="*/ 75363 h 1240971"/>
              <a:gd name="connsiteX223" fmla="*/ 5330714 w 5662788"/>
              <a:gd name="connsiteY223" fmla="*/ 80387 h 1240971"/>
              <a:gd name="connsiteX224" fmla="*/ 5255351 w 5662788"/>
              <a:gd name="connsiteY224" fmla="*/ 85411 h 1240971"/>
              <a:gd name="connsiteX225" fmla="*/ 5049360 w 5662788"/>
              <a:gd name="connsiteY225" fmla="*/ 80387 h 1240971"/>
              <a:gd name="connsiteX226" fmla="*/ 4989070 w 5662788"/>
              <a:gd name="connsiteY226" fmla="*/ 65314 h 1240971"/>
              <a:gd name="connsiteX227" fmla="*/ 4943852 w 5662788"/>
              <a:gd name="connsiteY227" fmla="*/ 60290 h 1240971"/>
              <a:gd name="connsiteX228" fmla="*/ 4823272 w 5662788"/>
              <a:gd name="connsiteY228" fmla="*/ 50242 h 1240971"/>
              <a:gd name="connsiteX229" fmla="*/ 4677571 w 5662788"/>
              <a:gd name="connsiteY229" fmla="*/ 55266 h 1240971"/>
              <a:gd name="connsiteX230" fmla="*/ 4647426 w 5662788"/>
              <a:gd name="connsiteY230" fmla="*/ 60290 h 1240971"/>
              <a:gd name="connsiteX231" fmla="*/ 4577087 w 5662788"/>
              <a:gd name="connsiteY231" fmla="*/ 65314 h 1240971"/>
              <a:gd name="connsiteX232" fmla="*/ 4486652 w 5662788"/>
              <a:gd name="connsiteY232" fmla="*/ 75363 h 1240971"/>
              <a:gd name="connsiteX233" fmla="*/ 4139984 w 5662788"/>
              <a:gd name="connsiteY233" fmla="*/ 60290 h 1240971"/>
              <a:gd name="connsiteX234" fmla="*/ 3918920 w 5662788"/>
              <a:gd name="connsiteY234" fmla="*/ 50242 h 1240971"/>
              <a:gd name="connsiteX235" fmla="*/ 3873703 w 5662788"/>
              <a:gd name="connsiteY235" fmla="*/ 45217 h 1240971"/>
              <a:gd name="connsiteX236" fmla="*/ 3687808 w 5662788"/>
              <a:gd name="connsiteY236" fmla="*/ 40193 h 1240971"/>
              <a:gd name="connsiteX237" fmla="*/ 3662687 w 5662788"/>
              <a:gd name="connsiteY237" fmla="*/ 35169 h 1240971"/>
              <a:gd name="connsiteX238" fmla="*/ 3627518 w 5662788"/>
              <a:gd name="connsiteY238" fmla="*/ 25121 h 1240971"/>
              <a:gd name="connsiteX239" fmla="*/ 3547131 w 5662788"/>
              <a:gd name="connsiteY239" fmla="*/ 20097 h 1240971"/>
              <a:gd name="connsiteX240" fmla="*/ 3310995 w 5662788"/>
              <a:gd name="connsiteY240" fmla="*/ 25121 h 1240971"/>
              <a:gd name="connsiteX241" fmla="*/ 3265777 w 5662788"/>
              <a:gd name="connsiteY241" fmla="*/ 30145 h 1240971"/>
              <a:gd name="connsiteX242" fmla="*/ 3175342 w 5662788"/>
              <a:gd name="connsiteY242" fmla="*/ 35169 h 1240971"/>
              <a:gd name="connsiteX243" fmla="*/ 2582489 w 5662788"/>
              <a:gd name="connsiteY243" fmla="*/ 45217 h 1240971"/>
              <a:gd name="connsiteX244" fmla="*/ 2255918 w 5662788"/>
              <a:gd name="connsiteY244" fmla="*/ 40193 h 1240971"/>
              <a:gd name="connsiteX245" fmla="*/ 1974564 w 5662788"/>
              <a:gd name="connsiteY245" fmla="*/ 30145 h 1240971"/>
              <a:gd name="connsiteX246" fmla="*/ 1944419 w 5662788"/>
              <a:gd name="connsiteY246" fmla="*/ 25121 h 1240971"/>
              <a:gd name="connsiteX247" fmla="*/ 1848960 w 5662788"/>
              <a:gd name="connsiteY247" fmla="*/ 20097 h 1240971"/>
              <a:gd name="connsiteX248" fmla="*/ 1768573 w 5662788"/>
              <a:gd name="connsiteY248" fmla="*/ 10048 h 1240971"/>
              <a:gd name="connsiteX249" fmla="*/ 1502292 w 5662788"/>
              <a:gd name="connsiteY249" fmla="*/ 20097 h 1240971"/>
              <a:gd name="connsiteX250" fmla="*/ 1467122 w 5662788"/>
              <a:gd name="connsiteY250" fmla="*/ 25121 h 1240971"/>
              <a:gd name="connsiteX251" fmla="*/ 1426929 w 5662788"/>
              <a:gd name="connsiteY251" fmla="*/ 30145 h 1240971"/>
              <a:gd name="connsiteX252" fmla="*/ 1341518 w 5662788"/>
              <a:gd name="connsiteY252" fmla="*/ 45217 h 1240971"/>
              <a:gd name="connsiteX253" fmla="*/ 1095333 w 5662788"/>
              <a:gd name="connsiteY253" fmla="*/ 35169 h 1240971"/>
              <a:gd name="connsiteX254" fmla="*/ 979777 w 5662788"/>
              <a:gd name="connsiteY254" fmla="*/ 20097 h 1240971"/>
              <a:gd name="connsiteX255" fmla="*/ 939584 w 5662788"/>
              <a:gd name="connsiteY255" fmla="*/ 10048 h 1240971"/>
              <a:gd name="connsiteX256" fmla="*/ 813980 w 5662788"/>
              <a:gd name="connsiteY256" fmla="*/ 0 h 1240971"/>
              <a:gd name="connsiteX257" fmla="*/ 743641 w 5662788"/>
              <a:gd name="connsiteY257" fmla="*/ 5024 h 1240971"/>
              <a:gd name="connsiteX258" fmla="*/ 582867 w 5662788"/>
              <a:gd name="connsiteY258" fmla="*/ 15072 h 1240971"/>
              <a:gd name="connsiteX259" fmla="*/ 432142 w 5662788"/>
              <a:gd name="connsiteY259" fmla="*/ 5024 h 1240971"/>
              <a:gd name="connsiteX260" fmla="*/ 412046 w 5662788"/>
              <a:gd name="connsiteY260" fmla="*/ 0 h 1240971"/>
              <a:gd name="connsiteX261" fmla="*/ 281417 w 5662788"/>
              <a:gd name="connsiteY261" fmla="*/ 10048 h 1240971"/>
              <a:gd name="connsiteX262" fmla="*/ 261320 w 5662788"/>
              <a:gd name="connsiteY262" fmla="*/ 15072 h 1240971"/>
              <a:gd name="connsiteX263" fmla="*/ 100547 w 5662788"/>
              <a:gd name="connsiteY263" fmla="*/ 20097 h 1240971"/>
              <a:gd name="connsiteX264" fmla="*/ 5087 w 5662788"/>
              <a:gd name="connsiteY264"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60637 w 5662788"/>
              <a:gd name="connsiteY194" fmla="*/ 822918 h 1240971"/>
              <a:gd name="connsiteX195" fmla="*/ 5295282 w 5662788"/>
              <a:gd name="connsiteY195" fmla="*/ 800440 h 1240971"/>
              <a:gd name="connsiteX196" fmla="*/ 5334430 w 5662788"/>
              <a:gd name="connsiteY196" fmla="*/ 794893 h 1240971"/>
              <a:gd name="connsiteX197" fmla="*/ 5412174 w 5662788"/>
              <a:gd name="connsiteY197" fmla="*/ 824252 h 1240971"/>
              <a:gd name="connsiteX198" fmla="*/ 5431197 w 5662788"/>
              <a:gd name="connsiteY198" fmla="*/ 768699 h 1240971"/>
              <a:gd name="connsiteX199" fmla="*/ 5441246 w 5662788"/>
              <a:gd name="connsiteY199" fmla="*/ 753626 h 1240971"/>
              <a:gd name="connsiteX200" fmla="*/ 5456318 w 5662788"/>
              <a:gd name="connsiteY200" fmla="*/ 708409 h 1240971"/>
              <a:gd name="connsiteX201" fmla="*/ 5466366 w 5662788"/>
              <a:gd name="connsiteY201" fmla="*/ 683288 h 1240971"/>
              <a:gd name="connsiteX202" fmla="*/ 5476415 w 5662788"/>
              <a:gd name="connsiteY202" fmla="*/ 643094 h 1240971"/>
              <a:gd name="connsiteX203" fmla="*/ 5491487 w 5662788"/>
              <a:gd name="connsiteY203" fmla="*/ 617973 h 1240971"/>
              <a:gd name="connsiteX204" fmla="*/ 5506560 w 5662788"/>
              <a:gd name="connsiteY204" fmla="*/ 572756 h 1240971"/>
              <a:gd name="connsiteX205" fmla="*/ 5526656 w 5662788"/>
              <a:gd name="connsiteY205" fmla="*/ 522514 h 1240971"/>
              <a:gd name="connsiteX206" fmla="*/ 5546753 w 5662788"/>
              <a:gd name="connsiteY206" fmla="*/ 467248 h 1240971"/>
              <a:gd name="connsiteX207" fmla="*/ 5556802 w 5662788"/>
              <a:gd name="connsiteY207" fmla="*/ 411982 h 1240971"/>
              <a:gd name="connsiteX208" fmla="*/ 5566850 w 5662788"/>
              <a:gd name="connsiteY208" fmla="*/ 381837 h 1240971"/>
              <a:gd name="connsiteX209" fmla="*/ 5576898 w 5662788"/>
              <a:gd name="connsiteY209" fmla="*/ 356716 h 1240971"/>
              <a:gd name="connsiteX210" fmla="*/ 5596995 w 5662788"/>
              <a:gd name="connsiteY210" fmla="*/ 316523 h 1240971"/>
              <a:gd name="connsiteX211" fmla="*/ 5617092 w 5662788"/>
              <a:gd name="connsiteY211" fmla="*/ 246184 h 1240971"/>
              <a:gd name="connsiteX212" fmla="*/ 5622116 w 5662788"/>
              <a:gd name="connsiteY212" fmla="*/ 226088 h 1240971"/>
              <a:gd name="connsiteX213" fmla="*/ 5632164 w 5662788"/>
              <a:gd name="connsiteY213" fmla="*/ 216039 h 1240971"/>
              <a:gd name="connsiteX214" fmla="*/ 5637188 w 5662788"/>
              <a:gd name="connsiteY214" fmla="*/ 200967 h 1240971"/>
              <a:gd name="connsiteX215" fmla="*/ 5642213 w 5662788"/>
              <a:gd name="connsiteY215" fmla="*/ 180870 h 1240971"/>
              <a:gd name="connsiteX216" fmla="*/ 5652261 w 5662788"/>
              <a:gd name="connsiteY216" fmla="*/ 165798 h 1240971"/>
              <a:gd name="connsiteX217" fmla="*/ 5662309 w 5662788"/>
              <a:gd name="connsiteY217" fmla="*/ 115556 h 1240971"/>
              <a:gd name="connsiteX218" fmla="*/ 5657285 w 5662788"/>
              <a:gd name="connsiteY218" fmla="*/ 80387 h 1240971"/>
              <a:gd name="connsiteX219" fmla="*/ 5627140 w 5662788"/>
              <a:gd name="connsiteY219" fmla="*/ 75363 h 1240971"/>
              <a:gd name="connsiteX220" fmla="*/ 5586947 w 5662788"/>
              <a:gd name="connsiteY220" fmla="*/ 65314 h 1240971"/>
              <a:gd name="connsiteX221" fmla="*/ 5406076 w 5662788"/>
              <a:gd name="connsiteY221" fmla="*/ 70338 h 1240971"/>
              <a:gd name="connsiteX222" fmla="*/ 5345786 w 5662788"/>
              <a:gd name="connsiteY222" fmla="*/ 75363 h 1240971"/>
              <a:gd name="connsiteX223" fmla="*/ 5330714 w 5662788"/>
              <a:gd name="connsiteY223" fmla="*/ 80387 h 1240971"/>
              <a:gd name="connsiteX224" fmla="*/ 5255351 w 5662788"/>
              <a:gd name="connsiteY224" fmla="*/ 85411 h 1240971"/>
              <a:gd name="connsiteX225" fmla="*/ 5049360 w 5662788"/>
              <a:gd name="connsiteY225" fmla="*/ 80387 h 1240971"/>
              <a:gd name="connsiteX226" fmla="*/ 4989070 w 5662788"/>
              <a:gd name="connsiteY226" fmla="*/ 65314 h 1240971"/>
              <a:gd name="connsiteX227" fmla="*/ 4943852 w 5662788"/>
              <a:gd name="connsiteY227" fmla="*/ 60290 h 1240971"/>
              <a:gd name="connsiteX228" fmla="*/ 4823272 w 5662788"/>
              <a:gd name="connsiteY228" fmla="*/ 50242 h 1240971"/>
              <a:gd name="connsiteX229" fmla="*/ 4677571 w 5662788"/>
              <a:gd name="connsiteY229" fmla="*/ 55266 h 1240971"/>
              <a:gd name="connsiteX230" fmla="*/ 4647426 w 5662788"/>
              <a:gd name="connsiteY230" fmla="*/ 60290 h 1240971"/>
              <a:gd name="connsiteX231" fmla="*/ 4577087 w 5662788"/>
              <a:gd name="connsiteY231" fmla="*/ 65314 h 1240971"/>
              <a:gd name="connsiteX232" fmla="*/ 4486652 w 5662788"/>
              <a:gd name="connsiteY232" fmla="*/ 75363 h 1240971"/>
              <a:gd name="connsiteX233" fmla="*/ 4139984 w 5662788"/>
              <a:gd name="connsiteY233" fmla="*/ 60290 h 1240971"/>
              <a:gd name="connsiteX234" fmla="*/ 3918920 w 5662788"/>
              <a:gd name="connsiteY234" fmla="*/ 50242 h 1240971"/>
              <a:gd name="connsiteX235" fmla="*/ 3873703 w 5662788"/>
              <a:gd name="connsiteY235" fmla="*/ 45217 h 1240971"/>
              <a:gd name="connsiteX236" fmla="*/ 3687808 w 5662788"/>
              <a:gd name="connsiteY236" fmla="*/ 40193 h 1240971"/>
              <a:gd name="connsiteX237" fmla="*/ 3662687 w 5662788"/>
              <a:gd name="connsiteY237" fmla="*/ 35169 h 1240971"/>
              <a:gd name="connsiteX238" fmla="*/ 3627518 w 5662788"/>
              <a:gd name="connsiteY238" fmla="*/ 25121 h 1240971"/>
              <a:gd name="connsiteX239" fmla="*/ 3547131 w 5662788"/>
              <a:gd name="connsiteY239" fmla="*/ 20097 h 1240971"/>
              <a:gd name="connsiteX240" fmla="*/ 3310995 w 5662788"/>
              <a:gd name="connsiteY240" fmla="*/ 25121 h 1240971"/>
              <a:gd name="connsiteX241" fmla="*/ 3265777 w 5662788"/>
              <a:gd name="connsiteY241" fmla="*/ 30145 h 1240971"/>
              <a:gd name="connsiteX242" fmla="*/ 3175342 w 5662788"/>
              <a:gd name="connsiteY242" fmla="*/ 35169 h 1240971"/>
              <a:gd name="connsiteX243" fmla="*/ 2582489 w 5662788"/>
              <a:gd name="connsiteY243" fmla="*/ 45217 h 1240971"/>
              <a:gd name="connsiteX244" fmla="*/ 2255918 w 5662788"/>
              <a:gd name="connsiteY244" fmla="*/ 40193 h 1240971"/>
              <a:gd name="connsiteX245" fmla="*/ 1974564 w 5662788"/>
              <a:gd name="connsiteY245" fmla="*/ 30145 h 1240971"/>
              <a:gd name="connsiteX246" fmla="*/ 1944419 w 5662788"/>
              <a:gd name="connsiteY246" fmla="*/ 25121 h 1240971"/>
              <a:gd name="connsiteX247" fmla="*/ 1848960 w 5662788"/>
              <a:gd name="connsiteY247" fmla="*/ 20097 h 1240971"/>
              <a:gd name="connsiteX248" fmla="*/ 1768573 w 5662788"/>
              <a:gd name="connsiteY248" fmla="*/ 10048 h 1240971"/>
              <a:gd name="connsiteX249" fmla="*/ 1502292 w 5662788"/>
              <a:gd name="connsiteY249" fmla="*/ 20097 h 1240971"/>
              <a:gd name="connsiteX250" fmla="*/ 1467122 w 5662788"/>
              <a:gd name="connsiteY250" fmla="*/ 25121 h 1240971"/>
              <a:gd name="connsiteX251" fmla="*/ 1426929 w 5662788"/>
              <a:gd name="connsiteY251" fmla="*/ 30145 h 1240971"/>
              <a:gd name="connsiteX252" fmla="*/ 1341518 w 5662788"/>
              <a:gd name="connsiteY252" fmla="*/ 45217 h 1240971"/>
              <a:gd name="connsiteX253" fmla="*/ 1095333 w 5662788"/>
              <a:gd name="connsiteY253" fmla="*/ 35169 h 1240971"/>
              <a:gd name="connsiteX254" fmla="*/ 979777 w 5662788"/>
              <a:gd name="connsiteY254" fmla="*/ 20097 h 1240971"/>
              <a:gd name="connsiteX255" fmla="*/ 939584 w 5662788"/>
              <a:gd name="connsiteY255" fmla="*/ 10048 h 1240971"/>
              <a:gd name="connsiteX256" fmla="*/ 813980 w 5662788"/>
              <a:gd name="connsiteY256" fmla="*/ 0 h 1240971"/>
              <a:gd name="connsiteX257" fmla="*/ 743641 w 5662788"/>
              <a:gd name="connsiteY257" fmla="*/ 5024 h 1240971"/>
              <a:gd name="connsiteX258" fmla="*/ 582867 w 5662788"/>
              <a:gd name="connsiteY258" fmla="*/ 15072 h 1240971"/>
              <a:gd name="connsiteX259" fmla="*/ 432142 w 5662788"/>
              <a:gd name="connsiteY259" fmla="*/ 5024 h 1240971"/>
              <a:gd name="connsiteX260" fmla="*/ 412046 w 5662788"/>
              <a:gd name="connsiteY260" fmla="*/ 0 h 1240971"/>
              <a:gd name="connsiteX261" fmla="*/ 281417 w 5662788"/>
              <a:gd name="connsiteY261" fmla="*/ 10048 h 1240971"/>
              <a:gd name="connsiteX262" fmla="*/ 261320 w 5662788"/>
              <a:gd name="connsiteY262" fmla="*/ 15072 h 1240971"/>
              <a:gd name="connsiteX263" fmla="*/ 100547 w 5662788"/>
              <a:gd name="connsiteY263" fmla="*/ 20097 h 1240971"/>
              <a:gd name="connsiteX264" fmla="*/ 5087 w 5662788"/>
              <a:gd name="connsiteY264"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60637 w 5662788"/>
              <a:gd name="connsiteY194" fmla="*/ 822918 h 1240971"/>
              <a:gd name="connsiteX195" fmla="*/ 5295282 w 5662788"/>
              <a:gd name="connsiteY195" fmla="*/ 800440 h 1240971"/>
              <a:gd name="connsiteX196" fmla="*/ 5334430 w 5662788"/>
              <a:gd name="connsiteY196" fmla="*/ 794893 h 1240971"/>
              <a:gd name="connsiteX197" fmla="*/ 5412174 w 5662788"/>
              <a:gd name="connsiteY197" fmla="*/ 824252 h 1240971"/>
              <a:gd name="connsiteX198" fmla="*/ 5431197 w 5662788"/>
              <a:gd name="connsiteY198" fmla="*/ 768699 h 1240971"/>
              <a:gd name="connsiteX199" fmla="*/ 5441246 w 5662788"/>
              <a:gd name="connsiteY199" fmla="*/ 753626 h 1240971"/>
              <a:gd name="connsiteX200" fmla="*/ 5456318 w 5662788"/>
              <a:gd name="connsiteY200" fmla="*/ 708409 h 1240971"/>
              <a:gd name="connsiteX201" fmla="*/ 5466366 w 5662788"/>
              <a:gd name="connsiteY201" fmla="*/ 683288 h 1240971"/>
              <a:gd name="connsiteX202" fmla="*/ 5476415 w 5662788"/>
              <a:gd name="connsiteY202" fmla="*/ 643094 h 1240971"/>
              <a:gd name="connsiteX203" fmla="*/ 5491487 w 5662788"/>
              <a:gd name="connsiteY203" fmla="*/ 617973 h 1240971"/>
              <a:gd name="connsiteX204" fmla="*/ 5506560 w 5662788"/>
              <a:gd name="connsiteY204" fmla="*/ 572756 h 1240971"/>
              <a:gd name="connsiteX205" fmla="*/ 5526656 w 5662788"/>
              <a:gd name="connsiteY205" fmla="*/ 522514 h 1240971"/>
              <a:gd name="connsiteX206" fmla="*/ 5546753 w 5662788"/>
              <a:gd name="connsiteY206" fmla="*/ 467248 h 1240971"/>
              <a:gd name="connsiteX207" fmla="*/ 5556802 w 5662788"/>
              <a:gd name="connsiteY207" fmla="*/ 411982 h 1240971"/>
              <a:gd name="connsiteX208" fmla="*/ 5566850 w 5662788"/>
              <a:gd name="connsiteY208" fmla="*/ 381837 h 1240971"/>
              <a:gd name="connsiteX209" fmla="*/ 5576898 w 5662788"/>
              <a:gd name="connsiteY209" fmla="*/ 356716 h 1240971"/>
              <a:gd name="connsiteX210" fmla="*/ 5596995 w 5662788"/>
              <a:gd name="connsiteY210" fmla="*/ 316523 h 1240971"/>
              <a:gd name="connsiteX211" fmla="*/ 5617092 w 5662788"/>
              <a:gd name="connsiteY211" fmla="*/ 246184 h 1240971"/>
              <a:gd name="connsiteX212" fmla="*/ 5622116 w 5662788"/>
              <a:gd name="connsiteY212" fmla="*/ 226088 h 1240971"/>
              <a:gd name="connsiteX213" fmla="*/ 5632164 w 5662788"/>
              <a:gd name="connsiteY213" fmla="*/ 216039 h 1240971"/>
              <a:gd name="connsiteX214" fmla="*/ 5637188 w 5662788"/>
              <a:gd name="connsiteY214" fmla="*/ 200967 h 1240971"/>
              <a:gd name="connsiteX215" fmla="*/ 5642213 w 5662788"/>
              <a:gd name="connsiteY215" fmla="*/ 180870 h 1240971"/>
              <a:gd name="connsiteX216" fmla="*/ 5652261 w 5662788"/>
              <a:gd name="connsiteY216" fmla="*/ 165798 h 1240971"/>
              <a:gd name="connsiteX217" fmla="*/ 5662309 w 5662788"/>
              <a:gd name="connsiteY217" fmla="*/ 115556 h 1240971"/>
              <a:gd name="connsiteX218" fmla="*/ 5657285 w 5662788"/>
              <a:gd name="connsiteY218" fmla="*/ 80387 h 1240971"/>
              <a:gd name="connsiteX219" fmla="*/ 5627140 w 5662788"/>
              <a:gd name="connsiteY219" fmla="*/ 75363 h 1240971"/>
              <a:gd name="connsiteX220" fmla="*/ 5586947 w 5662788"/>
              <a:gd name="connsiteY220" fmla="*/ 65314 h 1240971"/>
              <a:gd name="connsiteX221" fmla="*/ 5406076 w 5662788"/>
              <a:gd name="connsiteY221" fmla="*/ 70338 h 1240971"/>
              <a:gd name="connsiteX222" fmla="*/ 5345786 w 5662788"/>
              <a:gd name="connsiteY222" fmla="*/ 75363 h 1240971"/>
              <a:gd name="connsiteX223" fmla="*/ 5330714 w 5662788"/>
              <a:gd name="connsiteY223" fmla="*/ 80387 h 1240971"/>
              <a:gd name="connsiteX224" fmla="*/ 5255351 w 5662788"/>
              <a:gd name="connsiteY224" fmla="*/ 85411 h 1240971"/>
              <a:gd name="connsiteX225" fmla="*/ 5049360 w 5662788"/>
              <a:gd name="connsiteY225" fmla="*/ 80387 h 1240971"/>
              <a:gd name="connsiteX226" fmla="*/ 4989070 w 5662788"/>
              <a:gd name="connsiteY226" fmla="*/ 65314 h 1240971"/>
              <a:gd name="connsiteX227" fmla="*/ 4943852 w 5662788"/>
              <a:gd name="connsiteY227" fmla="*/ 60290 h 1240971"/>
              <a:gd name="connsiteX228" fmla="*/ 4823272 w 5662788"/>
              <a:gd name="connsiteY228" fmla="*/ 50242 h 1240971"/>
              <a:gd name="connsiteX229" fmla="*/ 4677571 w 5662788"/>
              <a:gd name="connsiteY229" fmla="*/ 55266 h 1240971"/>
              <a:gd name="connsiteX230" fmla="*/ 4647426 w 5662788"/>
              <a:gd name="connsiteY230" fmla="*/ 60290 h 1240971"/>
              <a:gd name="connsiteX231" fmla="*/ 4577087 w 5662788"/>
              <a:gd name="connsiteY231" fmla="*/ 65314 h 1240971"/>
              <a:gd name="connsiteX232" fmla="*/ 4486652 w 5662788"/>
              <a:gd name="connsiteY232" fmla="*/ 75363 h 1240971"/>
              <a:gd name="connsiteX233" fmla="*/ 4139984 w 5662788"/>
              <a:gd name="connsiteY233" fmla="*/ 60290 h 1240971"/>
              <a:gd name="connsiteX234" fmla="*/ 3918920 w 5662788"/>
              <a:gd name="connsiteY234" fmla="*/ 50242 h 1240971"/>
              <a:gd name="connsiteX235" fmla="*/ 3873703 w 5662788"/>
              <a:gd name="connsiteY235" fmla="*/ 45217 h 1240971"/>
              <a:gd name="connsiteX236" fmla="*/ 3687808 w 5662788"/>
              <a:gd name="connsiteY236" fmla="*/ 40193 h 1240971"/>
              <a:gd name="connsiteX237" fmla="*/ 3662687 w 5662788"/>
              <a:gd name="connsiteY237" fmla="*/ 35169 h 1240971"/>
              <a:gd name="connsiteX238" fmla="*/ 3627518 w 5662788"/>
              <a:gd name="connsiteY238" fmla="*/ 25121 h 1240971"/>
              <a:gd name="connsiteX239" fmla="*/ 3547131 w 5662788"/>
              <a:gd name="connsiteY239" fmla="*/ 20097 h 1240971"/>
              <a:gd name="connsiteX240" fmla="*/ 3310995 w 5662788"/>
              <a:gd name="connsiteY240" fmla="*/ 25121 h 1240971"/>
              <a:gd name="connsiteX241" fmla="*/ 3265777 w 5662788"/>
              <a:gd name="connsiteY241" fmla="*/ 30145 h 1240971"/>
              <a:gd name="connsiteX242" fmla="*/ 3175342 w 5662788"/>
              <a:gd name="connsiteY242" fmla="*/ 35169 h 1240971"/>
              <a:gd name="connsiteX243" fmla="*/ 2582489 w 5662788"/>
              <a:gd name="connsiteY243" fmla="*/ 45217 h 1240971"/>
              <a:gd name="connsiteX244" fmla="*/ 2255918 w 5662788"/>
              <a:gd name="connsiteY244" fmla="*/ 40193 h 1240971"/>
              <a:gd name="connsiteX245" fmla="*/ 1974564 w 5662788"/>
              <a:gd name="connsiteY245" fmla="*/ 30145 h 1240971"/>
              <a:gd name="connsiteX246" fmla="*/ 1944419 w 5662788"/>
              <a:gd name="connsiteY246" fmla="*/ 25121 h 1240971"/>
              <a:gd name="connsiteX247" fmla="*/ 1848960 w 5662788"/>
              <a:gd name="connsiteY247" fmla="*/ 20097 h 1240971"/>
              <a:gd name="connsiteX248" fmla="*/ 1768573 w 5662788"/>
              <a:gd name="connsiteY248" fmla="*/ 10048 h 1240971"/>
              <a:gd name="connsiteX249" fmla="*/ 1502292 w 5662788"/>
              <a:gd name="connsiteY249" fmla="*/ 20097 h 1240971"/>
              <a:gd name="connsiteX250" fmla="*/ 1467122 w 5662788"/>
              <a:gd name="connsiteY250" fmla="*/ 25121 h 1240971"/>
              <a:gd name="connsiteX251" fmla="*/ 1426929 w 5662788"/>
              <a:gd name="connsiteY251" fmla="*/ 30145 h 1240971"/>
              <a:gd name="connsiteX252" fmla="*/ 1341518 w 5662788"/>
              <a:gd name="connsiteY252" fmla="*/ 45217 h 1240971"/>
              <a:gd name="connsiteX253" fmla="*/ 1095333 w 5662788"/>
              <a:gd name="connsiteY253" fmla="*/ 35169 h 1240971"/>
              <a:gd name="connsiteX254" fmla="*/ 979777 w 5662788"/>
              <a:gd name="connsiteY254" fmla="*/ 20097 h 1240971"/>
              <a:gd name="connsiteX255" fmla="*/ 939584 w 5662788"/>
              <a:gd name="connsiteY255" fmla="*/ 10048 h 1240971"/>
              <a:gd name="connsiteX256" fmla="*/ 813980 w 5662788"/>
              <a:gd name="connsiteY256" fmla="*/ 0 h 1240971"/>
              <a:gd name="connsiteX257" fmla="*/ 743641 w 5662788"/>
              <a:gd name="connsiteY257" fmla="*/ 5024 h 1240971"/>
              <a:gd name="connsiteX258" fmla="*/ 582867 w 5662788"/>
              <a:gd name="connsiteY258" fmla="*/ 15072 h 1240971"/>
              <a:gd name="connsiteX259" fmla="*/ 432142 w 5662788"/>
              <a:gd name="connsiteY259" fmla="*/ 5024 h 1240971"/>
              <a:gd name="connsiteX260" fmla="*/ 412046 w 5662788"/>
              <a:gd name="connsiteY260" fmla="*/ 0 h 1240971"/>
              <a:gd name="connsiteX261" fmla="*/ 281417 w 5662788"/>
              <a:gd name="connsiteY261" fmla="*/ 10048 h 1240971"/>
              <a:gd name="connsiteX262" fmla="*/ 261320 w 5662788"/>
              <a:gd name="connsiteY262" fmla="*/ 15072 h 1240971"/>
              <a:gd name="connsiteX263" fmla="*/ 100547 w 5662788"/>
              <a:gd name="connsiteY263" fmla="*/ 20097 h 1240971"/>
              <a:gd name="connsiteX264" fmla="*/ 5087 w 5662788"/>
              <a:gd name="connsiteY264"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60637 w 5662788"/>
              <a:gd name="connsiteY194" fmla="*/ 822918 h 1240971"/>
              <a:gd name="connsiteX195" fmla="*/ 5295282 w 5662788"/>
              <a:gd name="connsiteY195" fmla="*/ 800440 h 1240971"/>
              <a:gd name="connsiteX196" fmla="*/ 5334430 w 5662788"/>
              <a:gd name="connsiteY196" fmla="*/ 794893 h 1240971"/>
              <a:gd name="connsiteX197" fmla="*/ 5412174 w 5662788"/>
              <a:gd name="connsiteY197" fmla="*/ 824252 h 1240971"/>
              <a:gd name="connsiteX198" fmla="*/ 5431197 w 5662788"/>
              <a:gd name="connsiteY198" fmla="*/ 768699 h 1240971"/>
              <a:gd name="connsiteX199" fmla="*/ 5441246 w 5662788"/>
              <a:gd name="connsiteY199" fmla="*/ 753626 h 1240971"/>
              <a:gd name="connsiteX200" fmla="*/ 5456318 w 5662788"/>
              <a:gd name="connsiteY200" fmla="*/ 708409 h 1240971"/>
              <a:gd name="connsiteX201" fmla="*/ 5466366 w 5662788"/>
              <a:gd name="connsiteY201" fmla="*/ 683288 h 1240971"/>
              <a:gd name="connsiteX202" fmla="*/ 5476415 w 5662788"/>
              <a:gd name="connsiteY202" fmla="*/ 643094 h 1240971"/>
              <a:gd name="connsiteX203" fmla="*/ 5491487 w 5662788"/>
              <a:gd name="connsiteY203" fmla="*/ 617973 h 1240971"/>
              <a:gd name="connsiteX204" fmla="*/ 5506560 w 5662788"/>
              <a:gd name="connsiteY204" fmla="*/ 572756 h 1240971"/>
              <a:gd name="connsiteX205" fmla="*/ 5526656 w 5662788"/>
              <a:gd name="connsiteY205" fmla="*/ 522514 h 1240971"/>
              <a:gd name="connsiteX206" fmla="*/ 5546753 w 5662788"/>
              <a:gd name="connsiteY206" fmla="*/ 467248 h 1240971"/>
              <a:gd name="connsiteX207" fmla="*/ 5556802 w 5662788"/>
              <a:gd name="connsiteY207" fmla="*/ 411982 h 1240971"/>
              <a:gd name="connsiteX208" fmla="*/ 5566850 w 5662788"/>
              <a:gd name="connsiteY208" fmla="*/ 381837 h 1240971"/>
              <a:gd name="connsiteX209" fmla="*/ 5576898 w 5662788"/>
              <a:gd name="connsiteY209" fmla="*/ 356716 h 1240971"/>
              <a:gd name="connsiteX210" fmla="*/ 5596995 w 5662788"/>
              <a:gd name="connsiteY210" fmla="*/ 316523 h 1240971"/>
              <a:gd name="connsiteX211" fmla="*/ 5617092 w 5662788"/>
              <a:gd name="connsiteY211" fmla="*/ 246184 h 1240971"/>
              <a:gd name="connsiteX212" fmla="*/ 5622116 w 5662788"/>
              <a:gd name="connsiteY212" fmla="*/ 226088 h 1240971"/>
              <a:gd name="connsiteX213" fmla="*/ 5632164 w 5662788"/>
              <a:gd name="connsiteY213" fmla="*/ 216039 h 1240971"/>
              <a:gd name="connsiteX214" fmla="*/ 5637188 w 5662788"/>
              <a:gd name="connsiteY214" fmla="*/ 200967 h 1240971"/>
              <a:gd name="connsiteX215" fmla="*/ 5642213 w 5662788"/>
              <a:gd name="connsiteY215" fmla="*/ 180870 h 1240971"/>
              <a:gd name="connsiteX216" fmla="*/ 5652261 w 5662788"/>
              <a:gd name="connsiteY216" fmla="*/ 165798 h 1240971"/>
              <a:gd name="connsiteX217" fmla="*/ 5662309 w 5662788"/>
              <a:gd name="connsiteY217" fmla="*/ 115556 h 1240971"/>
              <a:gd name="connsiteX218" fmla="*/ 5657285 w 5662788"/>
              <a:gd name="connsiteY218" fmla="*/ 80387 h 1240971"/>
              <a:gd name="connsiteX219" fmla="*/ 5627140 w 5662788"/>
              <a:gd name="connsiteY219" fmla="*/ 75363 h 1240971"/>
              <a:gd name="connsiteX220" fmla="*/ 5586947 w 5662788"/>
              <a:gd name="connsiteY220" fmla="*/ 65314 h 1240971"/>
              <a:gd name="connsiteX221" fmla="*/ 5406076 w 5662788"/>
              <a:gd name="connsiteY221" fmla="*/ 70338 h 1240971"/>
              <a:gd name="connsiteX222" fmla="*/ 5345786 w 5662788"/>
              <a:gd name="connsiteY222" fmla="*/ 75363 h 1240971"/>
              <a:gd name="connsiteX223" fmla="*/ 5330714 w 5662788"/>
              <a:gd name="connsiteY223" fmla="*/ 80387 h 1240971"/>
              <a:gd name="connsiteX224" fmla="*/ 5238682 w 5662788"/>
              <a:gd name="connsiteY224" fmla="*/ 54455 h 1240971"/>
              <a:gd name="connsiteX225" fmla="*/ 5049360 w 5662788"/>
              <a:gd name="connsiteY225" fmla="*/ 80387 h 1240971"/>
              <a:gd name="connsiteX226" fmla="*/ 4989070 w 5662788"/>
              <a:gd name="connsiteY226" fmla="*/ 65314 h 1240971"/>
              <a:gd name="connsiteX227" fmla="*/ 4943852 w 5662788"/>
              <a:gd name="connsiteY227" fmla="*/ 60290 h 1240971"/>
              <a:gd name="connsiteX228" fmla="*/ 4823272 w 5662788"/>
              <a:gd name="connsiteY228" fmla="*/ 50242 h 1240971"/>
              <a:gd name="connsiteX229" fmla="*/ 4677571 w 5662788"/>
              <a:gd name="connsiteY229" fmla="*/ 55266 h 1240971"/>
              <a:gd name="connsiteX230" fmla="*/ 4647426 w 5662788"/>
              <a:gd name="connsiteY230" fmla="*/ 60290 h 1240971"/>
              <a:gd name="connsiteX231" fmla="*/ 4577087 w 5662788"/>
              <a:gd name="connsiteY231" fmla="*/ 65314 h 1240971"/>
              <a:gd name="connsiteX232" fmla="*/ 4486652 w 5662788"/>
              <a:gd name="connsiteY232" fmla="*/ 75363 h 1240971"/>
              <a:gd name="connsiteX233" fmla="*/ 4139984 w 5662788"/>
              <a:gd name="connsiteY233" fmla="*/ 60290 h 1240971"/>
              <a:gd name="connsiteX234" fmla="*/ 3918920 w 5662788"/>
              <a:gd name="connsiteY234" fmla="*/ 50242 h 1240971"/>
              <a:gd name="connsiteX235" fmla="*/ 3873703 w 5662788"/>
              <a:gd name="connsiteY235" fmla="*/ 45217 h 1240971"/>
              <a:gd name="connsiteX236" fmla="*/ 3687808 w 5662788"/>
              <a:gd name="connsiteY236" fmla="*/ 40193 h 1240971"/>
              <a:gd name="connsiteX237" fmla="*/ 3662687 w 5662788"/>
              <a:gd name="connsiteY237" fmla="*/ 35169 h 1240971"/>
              <a:gd name="connsiteX238" fmla="*/ 3627518 w 5662788"/>
              <a:gd name="connsiteY238" fmla="*/ 25121 h 1240971"/>
              <a:gd name="connsiteX239" fmla="*/ 3547131 w 5662788"/>
              <a:gd name="connsiteY239" fmla="*/ 20097 h 1240971"/>
              <a:gd name="connsiteX240" fmla="*/ 3310995 w 5662788"/>
              <a:gd name="connsiteY240" fmla="*/ 25121 h 1240971"/>
              <a:gd name="connsiteX241" fmla="*/ 3265777 w 5662788"/>
              <a:gd name="connsiteY241" fmla="*/ 30145 h 1240971"/>
              <a:gd name="connsiteX242" fmla="*/ 3175342 w 5662788"/>
              <a:gd name="connsiteY242" fmla="*/ 35169 h 1240971"/>
              <a:gd name="connsiteX243" fmla="*/ 2582489 w 5662788"/>
              <a:gd name="connsiteY243" fmla="*/ 45217 h 1240971"/>
              <a:gd name="connsiteX244" fmla="*/ 2255918 w 5662788"/>
              <a:gd name="connsiteY244" fmla="*/ 40193 h 1240971"/>
              <a:gd name="connsiteX245" fmla="*/ 1974564 w 5662788"/>
              <a:gd name="connsiteY245" fmla="*/ 30145 h 1240971"/>
              <a:gd name="connsiteX246" fmla="*/ 1944419 w 5662788"/>
              <a:gd name="connsiteY246" fmla="*/ 25121 h 1240971"/>
              <a:gd name="connsiteX247" fmla="*/ 1848960 w 5662788"/>
              <a:gd name="connsiteY247" fmla="*/ 20097 h 1240971"/>
              <a:gd name="connsiteX248" fmla="*/ 1768573 w 5662788"/>
              <a:gd name="connsiteY248" fmla="*/ 10048 h 1240971"/>
              <a:gd name="connsiteX249" fmla="*/ 1502292 w 5662788"/>
              <a:gd name="connsiteY249" fmla="*/ 20097 h 1240971"/>
              <a:gd name="connsiteX250" fmla="*/ 1467122 w 5662788"/>
              <a:gd name="connsiteY250" fmla="*/ 25121 h 1240971"/>
              <a:gd name="connsiteX251" fmla="*/ 1426929 w 5662788"/>
              <a:gd name="connsiteY251" fmla="*/ 30145 h 1240971"/>
              <a:gd name="connsiteX252" fmla="*/ 1341518 w 5662788"/>
              <a:gd name="connsiteY252" fmla="*/ 45217 h 1240971"/>
              <a:gd name="connsiteX253" fmla="*/ 1095333 w 5662788"/>
              <a:gd name="connsiteY253" fmla="*/ 35169 h 1240971"/>
              <a:gd name="connsiteX254" fmla="*/ 979777 w 5662788"/>
              <a:gd name="connsiteY254" fmla="*/ 20097 h 1240971"/>
              <a:gd name="connsiteX255" fmla="*/ 939584 w 5662788"/>
              <a:gd name="connsiteY255" fmla="*/ 10048 h 1240971"/>
              <a:gd name="connsiteX256" fmla="*/ 813980 w 5662788"/>
              <a:gd name="connsiteY256" fmla="*/ 0 h 1240971"/>
              <a:gd name="connsiteX257" fmla="*/ 743641 w 5662788"/>
              <a:gd name="connsiteY257" fmla="*/ 5024 h 1240971"/>
              <a:gd name="connsiteX258" fmla="*/ 582867 w 5662788"/>
              <a:gd name="connsiteY258" fmla="*/ 15072 h 1240971"/>
              <a:gd name="connsiteX259" fmla="*/ 432142 w 5662788"/>
              <a:gd name="connsiteY259" fmla="*/ 5024 h 1240971"/>
              <a:gd name="connsiteX260" fmla="*/ 412046 w 5662788"/>
              <a:gd name="connsiteY260" fmla="*/ 0 h 1240971"/>
              <a:gd name="connsiteX261" fmla="*/ 281417 w 5662788"/>
              <a:gd name="connsiteY261" fmla="*/ 10048 h 1240971"/>
              <a:gd name="connsiteX262" fmla="*/ 261320 w 5662788"/>
              <a:gd name="connsiteY262" fmla="*/ 15072 h 1240971"/>
              <a:gd name="connsiteX263" fmla="*/ 100547 w 5662788"/>
              <a:gd name="connsiteY263" fmla="*/ 20097 h 1240971"/>
              <a:gd name="connsiteX264" fmla="*/ 5087 w 5662788"/>
              <a:gd name="connsiteY264"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60637 w 5662788"/>
              <a:gd name="connsiteY194" fmla="*/ 822918 h 1240971"/>
              <a:gd name="connsiteX195" fmla="*/ 5295282 w 5662788"/>
              <a:gd name="connsiteY195" fmla="*/ 800440 h 1240971"/>
              <a:gd name="connsiteX196" fmla="*/ 5334430 w 5662788"/>
              <a:gd name="connsiteY196" fmla="*/ 794893 h 1240971"/>
              <a:gd name="connsiteX197" fmla="*/ 5412174 w 5662788"/>
              <a:gd name="connsiteY197" fmla="*/ 824252 h 1240971"/>
              <a:gd name="connsiteX198" fmla="*/ 5431197 w 5662788"/>
              <a:gd name="connsiteY198" fmla="*/ 768699 h 1240971"/>
              <a:gd name="connsiteX199" fmla="*/ 5441246 w 5662788"/>
              <a:gd name="connsiteY199" fmla="*/ 753626 h 1240971"/>
              <a:gd name="connsiteX200" fmla="*/ 5456318 w 5662788"/>
              <a:gd name="connsiteY200" fmla="*/ 708409 h 1240971"/>
              <a:gd name="connsiteX201" fmla="*/ 5466366 w 5662788"/>
              <a:gd name="connsiteY201" fmla="*/ 683288 h 1240971"/>
              <a:gd name="connsiteX202" fmla="*/ 5476415 w 5662788"/>
              <a:gd name="connsiteY202" fmla="*/ 643094 h 1240971"/>
              <a:gd name="connsiteX203" fmla="*/ 5491487 w 5662788"/>
              <a:gd name="connsiteY203" fmla="*/ 617973 h 1240971"/>
              <a:gd name="connsiteX204" fmla="*/ 5506560 w 5662788"/>
              <a:gd name="connsiteY204" fmla="*/ 572756 h 1240971"/>
              <a:gd name="connsiteX205" fmla="*/ 5526656 w 5662788"/>
              <a:gd name="connsiteY205" fmla="*/ 522514 h 1240971"/>
              <a:gd name="connsiteX206" fmla="*/ 5546753 w 5662788"/>
              <a:gd name="connsiteY206" fmla="*/ 467248 h 1240971"/>
              <a:gd name="connsiteX207" fmla="*/ 5556802 w 5662788"/>
              <a:gd name="connsiteY207" fmla="*/ 411982 h 1240971"/>
              <a:gd name="connsiteX208" fmla="*/ 5566850 w 5662788"/>
              <a:gd name="connsiteY208" fmla="*/ 381837 h 1240971"/>
              <a:gd name="connsiteX209" fmla="*/ 5576898 w 5662788"/>
              <a:gd name="connsiteY209" fmla="*/ 356716 h 1240971"/>
              <a:gd name="connsiteX210" fmla="*/ 5596995 w 5662788"/>
              <a:gd name="connsiteY210" fmla="*/ 316523 h 1240971"/>
              <a:gd name="connsiteX211" fmla="*/ 5617092 w 5662788"/>
              <a:gd name="connsiteY211" fmla="*/ 246184 h 1240971"/>
              <a:gd name="connsiteX212" fmla="*/ 5622116 w 5662788"/>
              <a:gd name="connsiteY212" fmla="*/ 226088 h 1240971"/>
              <a:gd name="connsiteX213" fmla="*/ 5632164 w 5662788"/>
              <a:gd name="connsiteY213" fmla="*/ 216039 h 1240971"/>
              <a:gd name="connsiteX214" fmla="*/ 5637188 w 5662788"/>
              <a:gd name="connsiteY214" fmla="*/ 200967 h 1240971"/>
              <a:gd name="connsiteX215" fmla="*/ 5642213 w 5662788"/>
              <a:gd name="connsiteY215" fmla="*/ 180870 h 1240971"/>
              <a:gd name="connsiteX216" fmla="*/ 5652261 w 5662788"/>
              <a:gd name="connsiteY216" fmla="*/ 165798 h 1240971"/>
              <a:gd name="connsiteX217" fmla="*/ 5662309 w 5662788"/>
              <a:gd name="connsiteY217" fmla="*/ 115556 h 1240971"/>
              <a:gd name="connsiteX218" fmla="*/ 5657285 w 5662788"/>
              <a:gd name="connsiteY218" fmla="*/ 80387 h 1240971"/>
              <a:gd name="connsiteX219" fmla="*/ 5627140 w 5662788"/>
              <a:gd name="connsiteY219" fmla="*/ 75363 h 1240971"/>
              <a:gd name="connsiteX220" fmla="*/ 5586947 w 5662788"/>
              <a:gd name="connsiteY220" fmla="*/ 65314 h 1240971"/>
              <a:gd name="connsiteX221" fmla="*/ 5406076 w 5662788"/>
              <a:gd name="connsiteY221" fmla="*/ 70338 h 1240971"/>
              <a:gd name="connsiteX222" fmla="*/ 5345786 w 5662788"/>
              <a:gd name="connsiteY222" fmla="*/ 75363 h 1240971"/>
              <a:gd name="connsiteX223" fmla="*/ 5330714 w 5662788"/>
              <a:gd name="connsiteY223" fmla="*/ 80387 h 1240971"/>
              <a:gd name="connsiteX224" fmla="*/ 5238682 w 5662788"/>
              <a:gd name="connsiteY224" fmla="*/ 54455 h 1240971"/>
              <a:gd name="connsiteX225" fmla="*/ 5075554 w 5662788"/>
              <a:gd name="connsiteY225" fmla="*/ 56574 h 1240971"/>
              <a:gd name="connsiteX226" fmla="*/ 4989070 w 5662788"/>
              <a:gd name="connsiteY226" fmla="*/ 65314 h 1240971"/>
              <a:gd name="connsiteX227" fmla="*/ 4943852 w 5662788"/>
              <a:gd name="connsiteY227" fmla="*/ 60290 h 1240971"/>
              <a:gd name="connsiteX228" fmla="*/ 4823272 w 5662788"/>
              <a:gd name="connsiteY228" fmla="*/ 50242 h 1240971"/>
              <a:gd name="connsiteX229" fmla="*/ 4677571 w 5662788"/>
              <a:gd name="connsiteY229" fmla="*/ 55266 h 1240971"/>
              <a:gd name="connsiteX230" fmla="*/ 4647426 w 5662788"/>
              <a:gd name="connsiteY230" fmla="*/ 60290 h 1240971"/>
              <a:gd name="connsiteX231" fmla="*/ 4577087 w 5662788"/>
              <a:gd name="connsiteY231" fmla="*/ 65314 h 1240971"/>
              <a:gd name="connsiteX232" fmla="*/ 4486652 w 5662788"/>
              <a:gd name="connsiteY232" fmla="*/ 75363 h 1240971"/>
              <a:gd name="connsiteX233" fmla="*/ 4139984 w 5662788"/>
              <a:gd name="connsiteY233" fmla="*/ 60290 h 1240971"/>
              <a:gd name="connsiteX234" fmla="*/ 3918920 w 5662788"/>
              <a:gd name="connsiteY234" fmla="*/ 50242 h 1240971"/>
              <a:gd name="connsiteX235" fmla="*/ 3873703 w 5662788"/>
              <a:gd name="connsiteY235" fmla="*/ 45217 h 1240971"/>
              <a:gd name="connsiteX236" fmla="*/ 3687808 w 5662788"/>
              <a:gd name="connsiteY236" fmla="*/ 40193 h 1240971"/>
              <a:gd name="connsiteX237" fmla="*/ 3662687 w 5662788"/>
              <a:gd name="connsiteY237" fmla="*/ 35169 h 1240971"/>
              <a:gd name="connsiteX238" fmla="*/ 3627518 w 5662788"/>
              <a:gd name="connsiteY238" fmla="*/ 25121 h 1240971"/>
              <a:gd name="connsiteX239" fmla="*/ 3547131 w 5662788"/>
              <a:gd name="connsiteY239" fmla="*/ 20097 h 1240971"/>
              <a:gd name="connsiteX240" fmla="*/ 3310995 w 5662788"/>
              <a:gd name="connsiteY240" fmla="*/ 25121 h 1240971"/>
              <a:gd name="connsiteX241" fmla="*/ 3265777 w 5662788"/>
              <a:gd name="connsiteY241" fmla="*/ 30145 h 1240971"/>
              <a:gd name="connsiteX242" fmla="*/ 3175342 w 5662788"/>
              <a:gd name="connsiteY242" fmla="*/ 35169 h 1240971"/>
              <a:gd name="connsiteX243" fmla="*/ 2582489 w 5662788"/>
              <a:gd name="connsiteY243" fmla="*/ 45217 h 1240971"/>
              <a:gd name="connsiteX244" fmla="*/ 2255918 w 5662788"/>
              <a:gd name="connsiteY244" fmla="*/ 40193 h 1240971"/>
              <a:gd name="connsiteX245" fmla="*/ 1974564 w 5662788"/>
              <a:gd name="connsiteY245" fmla="*/ 30145 h 1240971"/>
              <a:gd name="connsiteX246" fmla="*/ 1944419 w 5662788"/>
              <a:gd name="connsiteY246" fmla="*/ 25121 h 1240971"/>
              <a:gd name="connsiteX247" fmla="*/ 1848960 w 5662788"/>
              <a:gd name="connsiteY247" fmla="*/ 20097 h 1240971"/>
              <a:gd name="connsiteX248" fmla="*/ 1768573 w 5662788"/>
              <a:gd name="connsiteY248" fmla="*/ 10048 h 1240971"/>
              <a:gd name="connsiteX249" fmla="*/ 1502292 w 5662788"/>
              <a:gd name="connsiteY249" fmla="*/ 20097 h 1240971"/>
              <a:gd name="connsiteX250" fmla="*/ 1467122 w 5662788"/>
              <a:gd name="connsiteY250" fmla="*/ 25121 h 1240971"/>
              <a:gd name="connsiteX251" fmla="*/ 1426929 w 5662788"/>
              <a:gd name="connsiteY251" fmla="*/ 30145 h 1240971"/>
              <a:gd name="connsiteX252" fmla="*/ 1341518 w 5662788"/>
              <a:gd name="connsiteY252" fmla="*/ 45217 h 1240971"/>
              <a:gd name="connsiteX253" fmla="*/ 1095333 w 5662788"/>
              <a:gd name="connsiteY253" fmla="*/ 35169 h 1240971"/>
              <a:gd name="connsiteX254" fmla="*/ 979777 w 5662788"/>
              <a:gd name="connsiteY254" fmla="*/ 20097 h 1240971"/>
              <a:gd name="connsiteX255" fmla="*/ 939584 w 5662788"/>
              <a:gd name="connsiteY255" fmla="*/ 10048 h 1240971"/>
              <a:gd name="connsiteX256" fmla="*/ 813980 w 5662788"/>
              <a:gd name="connsiteY256" fmla="*/ 0 h 1240971"/>
              <a:gd name="connsiteX257" fmla="*/ 743641 w 5662788"/>
              <a:gd name="connsiteY257" fmla="*/ 5024 h 1240971"/>
              <a:gd name="connsiteX258" fmla="*/ 582867 w 5662788"/>
              <a:gd name="connsiteY258" fmla="*/ 15072 h 1240971"/>
              <a:gd name="connsiteX259" fmla="*/ 432142 w 5662788"/>
              <a:gd name="connsiteY259" fmla="*/ 5024 h 1240971"/>
              <a:gd name="connsiteX260" fmla="*/ 412046 w 5662788"/>
              <a:gd name="connsiteY260" fmla="*/ 0 h 1240971"/>
              <a:gd name="connsiteX261" fmla="*/ 281417 w 5662788"/>
              <a:gd name="connsiteY261" fmla="*/ 10048 h 1240971"/>
              <a:gd name="connsiteX262" fmla="*/ 261320 w 5662788"/>
              <a:gd name="connsiteY262" fmla="*/ 15072 h 1240971"/>
              <a:gd name="connsiteX263" fmla="*/ 100547 w 5662788"/>
              <a:gd name="connsiteY263" fmla="*/ 20097 h 1240971"/>
              <a:gd name="connsiteX264" fmla="*/ 5087 w 5662788"/>
              <a:gd name="connsiteY264"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60637 w 5662788"/>
              <a:gd name="connsiteY194" fmla="*/ 822918 h 1240971"/>
              <a:gd name="connsiteX195" fmla="*/ 5295282 w 5662788"/>
              <a:gd name="connsiteY195" fmla="*/ 800440 h 1240971"/>
              <a:gd name="connsiteX196" fmla="*/ 5334430 w 5662788"/>
              <a:gd name="connsiteY196" fmla="*/ 794893 h 1240971"/>
              <a:gd name="connsiteX197" fmla="*/ 5412174 w 5662788"/>
              <a:gd name="connsiteY197" fmla="*/ 824252 h 1240971"/>
              <a:gd name="connsiteX198" fmla="*/ 5431197 w 5662788"/>
              <a:gd name="connsiteY198" fmla="*/ 768699 h 1240971"/>
              <a:gd name="connsiteX199" fmla="*/ 5441246 w 5662788"/>
              <a:gd name="connsiteY199" fmla="*/ 753626 h 1240971"/>
              <a:gd name="connsiteX200" fmla="*/ 5456318 w 5662788"/>
              <a:gd name="connsiteY200" fmla="*/ 708409 h 1240971"/>
              <a:gd name="connsiteX201" fmla="*/ 5466366 w 5662788"/>
              <a:gd name="connsiteY201" fmla="*/ 683288 h 1240971"/>
              <a:gd name="connsiteX202" fmla="*/ 5476415 w 5662788"/>
              <a:gd name="connsiteY202" fmla="*/ 643094 h 1240971"/>
              <a:gd name="connsiteX203" fmla="*/ 5491487 w 5662788"/>
              <a:gd name="connsiteY203" fmla="*/ 617973 h 1240971"/>
              <a:gd name="connsiteX204" fmla="*/ 5506560 w 5662788"/>
              <a:gd name="connsiteY204" fmla="*/ 572756 h 1240971"/>
              <a:gd name="connsiteX205" fmla="*/ 5526656 w 5662788"/>
              <a:gd name="connsiteY205" fmla="*/ 522514 h 1240971"/>
              <a:gd name="connsiteX206" fmla="*/ 5546753 w 5662788"/>
              <a:gd name="connsiteY206" fmla="*/ 467248 h 1240971"/>
              <a:gd name="connsiteX207" fmla="*/ 5556802 w 5662788"/>
              <a:gd name="connsiteY207" fmla="*/ 411982 h 1240971"/>
              <a:gd name="connsiteX208" fmla="*/ 5566850 w 5662788"/>
              <a:gd name="connsiteY208" fmla="*/ 381837 h 1240971"/>
              <a:gd name="connsiteX209" fmla="*/ 5576898 w 5662788"/>
              <a:gd name="connsiteY209" fmla="*/ 356716 h 1240971"/>
              <a:gd name="connsiteX210" fmla="*/ 5596995 w 5662788"/>
              <a:gd name="connsiteY210" fmla="*/ 316523 h 1240971"/>
              <a:gd name="connsiteX211" fmla="*/ 5617092 w 5662788"/>
              <a:gd name="connsiteY211" fmla="*/ 246184 h 1240971"/>
              <a:gd name="connsiteX212" fmla="*/ 5622116 w 5662788"/>
              <a:gd name="connsiteY212" fmla="*/ 226088 h 1240971"/>
              <a:gd name="connsiteX213" fmla="*/ 5632164 w 5662788"/>
              <a:gd name="connsiteY213" fmla="*/ 216039 h 1240971"/>
              <a:gd name="connsiteX214" fmla="*/ 5637188 w 5662788"/>
              <a:gd name="connsiteY214" fmla="*/ 200967 h 1240971"/>
              <a:gd name="connsiteX215" fmla="*/ 5642213 w 5662788"/>
              <a:gd name="connsiteY215" fmla="*/ 180870 h 1240971"/>
              <a:gd name="connsiteX216" fmla="*/ 5652261 w 5662788"/>
              <a:gd name="connsiteY216" fmla="*/ 165798 h 1240971"/>
              <a:gd name="connsiteX217" fmla="*/ 5662309 w 5662788"/>
              <a:gd name="connsiteY217" fmla="*/ 115556 h 1240971"/>
              <a:gd name="connsiteX218" fmla="*/ 5657285 w 5662788"/>
              <a:gd name="connsiteY218" fmla="*/ 80387 h 1240971"/>
              <a:gd name="connsiteX219" fmla="*/ 5627140 w 5662788"/>
              <a:gd name="connsiteY219" fmla="*/ 75363 h 1240971"/>
              <a:gd name="connsiteX220" fmla="*/ 5586947 w 5662788"/>
              <a:gd name="connsiteY220" fmla="*/ 65314 h 1240971"/>
              <a:gd name="connsiteX221" fmla="*/ 5406076 w 5662788"/>
              <a:gd name="connsiteY221" fmla="*/ 70338 h 1240971"/>
              <a:gd name="connsiteX222" fmla="*/ 5345786 w 5662788"/>
              <a:gd name="connsiteY222" fmla="*/ 75363 h 1240971"/>
              <a:gd name="connsiteX223" fmla="*/ 5323570 w 5662788"/>
              <a:gd name="connsiteY223" fmla="*/ 61337 h 1240971"/>
              <a:gd name="connsiteX224" fmla="*/ 5238682 w 5662788"/>
              <a:gd name="connsiteY224" fmla="*/ 54455 h 1240971"/>
              <a:gd name="connsiteX225" fmla="*/ 5075554 w 5662788"/>
              <a:gd name="connsiteY225" fmla="*/ 56574 h 1240971"/>
              <a:gd name="connsiteX226" fmla="*/ 4989070 w 5662788"/>
              <a:gd name="connsiteY226" fmla="*/ 65314 h 1240971"/>
              <a:gd name="connsiteX227" fmla="*/ 4943852 w 5662788"/>
              <a:gd name="connsiteY227" fmla="*/ 60290 h 1240971"/>
              <a:gd name="connsiteX228" fmla="*/ 4823272 w 5662788"/>
              <a:gd name="connsiteY228" fmla="*/ 50242 h 1240971"/>
              <a:gd name="connsiteX229" fmla="*/ 4677571 w 5662788"/>
              <a:gd name="connsiteY229" fmla="*/ 55266 h 1240971"/>
              <a:gd name="connsiteX230" fmla="*/ 4647426 w 5662788"/>
              <a:gd name="connsiteY230" fmla="*/ 60290 h 1240971"/>
              <a:gd name="connsiteX231" fmla="*/ 4577087 w 5662788"/>
              <a:gd name="connsiteY231" fmla="*/ 65314 h 1240971"/>
              <a:gd name="connsiteX232" fmla="*/ 4486652 w 5662788"/>
              <a:gd name="connsiteY232" fmla="*/ 75363 h 1240971"/>
              <a:gd name="connsiteX233" fmla="*/ 4139984 w 5662788"/>
              <a:gd name="connsiteY233" fmla="*/ 60290 h 1240971"/>
              <a:gd name="connsiteX234" fmla="*/ 3918920 w 5662788"/>
              <a:gd name="connsiteY234" fmla="*/ 50242 h 1240971"/>
              <a:gd name="connsiteX235" fmla="*/ 3873703 w 5662788"/>
              <a:gd name="connsiteY235" fmla="*/ 45217 h 1240971"/>
              <a:gd name="connsiteX236" fmla="*/ 3687808 w 5662788"/>
              <a:gd name="connsiteY236" fmla="*/ 40193 h 1240971"/>
              <a:gd name="connsiteX237" fmla="*/ 3662687 w 5662788"/>
              <a:gd name="connsiteY237" fmla="*/ 35169 h 1240971"/>
              <a:gd name="connsiteX238" fmla="*/ 3627518 w 5662788"/>
              <a:gd name="connsiteY238" fmla="*/ 25121 h 1240971"/>
              <a:gd name="connsiteX239" fmla="*/ 3547131 w 5662788"/>
              <a:gd name="connsiteY239" fmla="*/ 20097 h 1240971"/>
              <a:gd name="connsiteX240" fmla="*/ 3310995 w 5662788"/>
              <a:gd name="connsiteY240" fmla="*/ 25121 h 1240971"/>
              <a:gd name="connsiteX241" fmla="*/ 3265777 w 5662788"/>
              <a:gd name="connsiteY241" fmla="*/ 30145 h 1240971"/>
              <a:gd name="connsiteX242" fmla="*/ 3175342 w 5662788"/>
              <a:gd name="connsiteY242" fmla="*/ 35169 h 1240971"/>
              <a:gd name="connsiteX243" fmla="*/ 2582489 w 5662788"/>
              <a:gd name="connsiteY243" fmla="*/ 45217 h 1240971"/>
              <a:gd name="connsiteX244" fmla="*/ 2255918 w 5662788"/>
              <a:gd name="connsiteY244" fmla="*/ 40193 h 1240971"/>
              <a:gd name="connsiteX245" fmla="*/ 1974564 w 5662788"/>
              <a:gd name="connsiteY245" fmla="*/ 30145 h 1240971"/>
              <a:gd name="connsiteX246" fmla="*/ 1944419 w 5662788"/>
              <a:gd name="connsiteY246" fmla="*/ 25121 h 1240971"/>
              <a:gd name="connsiteX247" fmla="*/ 1848960 w 5662788"/>
              <a:gd name="connsiteY247" fmla="*/ 20097 h 1240971"/>
              <a:gd name="connsiteX248" fmla="*/ 1768573 w 5662788"/>
              <a:gd name="connsiteY248" fmla="*/ 10048 h 1240971"/>
              <a:gd name="connsiteX249" fmla="*/ 1502292 w 5662788"/>
              <a:gd name="connsiteY249" fmla="*/ 20097 h 1240971"/>
              <a:gd name="connsiteX250" fmla="*/ 1467122 w 5662788"/>
              <a:gd name="connsiteY250" fmla="*/ 25121 h 1240971"/>
              <a:gd name="connsiteX251" fmla="*/ 1426929 w 5662788"/>
              <a:gd name="connsiteY251" fmla="*/ 30145 h 1240971"/>
              <a:gd name="connsiteX252" fmla="*/ 1341518 w 5662788"/>
              <a:gd name="connsiteY252" fmla="*/ 45217 h 1240971"/>
              <a:gd name="connsiteX253" fmla="*/ 1095333 w 5662788"/>
              <a:gd name="connsiteY253" fmla="*/ 35169 h 1240971"/>
              <a:gd name="connsiteX254" fmla="*/ 979777 w 5662788"/>
              <a:gd name="connsiteY254" fmla="*/ 20097 h 1240971"/>
              <a:gd name="connsiteX255" fmla="*/ 939584 w 5662788"/>
              <a:gd name="connsiteY255" fmla="*/ 10048 h 1240971"/>
              <a:gd name="connsiteX256" fmla="*/ 813980 w 5662788"/>
              <a:gd name="connsiteY256" fmla="*/ 0 h 1240971"/>
              <a:gd name="connsiteX257" fmla="*/ 743641 w 5662788"/>
              <a:gd name="connsiteY257" fmla="*/ 5024 h 1240971"/>
              <a:gd name="connsiteX258" fmla="*/ 582867 w 5662788"/>
              <a:gd name="connsiteY258" fmla="*/ 15072 h 1240971"/>
              <a:gd name="connsiteX259" fmla="*/ 432142 w 5662788"/>
              <a:gd name="connsiteY259" fmla="*/ 5024 h 1240971"/>
              <a:gd name="connsiteX260" fmla="*/ 412046 w 5662788"/>
              <a:gd name="connsiteY260" fmla="*/ 0 h 1240971"/>
              <a:gd name="connsiteX261" fmla="*/ 281417 w 5662788"/>
              <a:gd name="connsiteY261" fmla="*/ 10048 h 1240971"/>
              <a:gd name="connsiteX262" fmla="*/ 261320 w 5662788"/>
              <a:gd name="connsiteY262" fmla="*/ 15072 h 1240971"/>
              <a:gd name="connsiteX263" fmla="*/ 100547 w 5662788"/>
              <a:gd name="connsiteY263" fmla="*/ 20097 h 1240971"/>
              <a:gd name="connsiteX264" fmla="*/ 5087 w 5662788"/>
              <a:gd name="connsiteY264"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60637 w 5662788"/>
              <a:gd name="connsiteY194" fmla="*/ 822918 h 1240971"/>
              <a:gd name="connsiteX195" fmla="*/ 5295282 w 5662788"/>
              <a:gd name="connsiteY195" fmla="*/ 800440 h 1240971"/>
              <a:gd name="connsiteX196" fmla="*/ 5334430 w 5662788"/>
              <a:gd name="connsiteY196" fmla="*/ 794893 h 1240971"/>
              <a:gd name="connsiteX197" fmla="*/ 5412174 w 5662788"/>
              <a:gd name="connsiteY197" fmla="*/ 824252 h 1240971"/>
              <a:gd name="connsiteX198" fmla="*/ 5431197 w 5662788"/>
              <a:gd name="connsiteY198" fmla="*/ 768699 h 1240971"/>
              <a:gd name="connsiteX199" fmla="*/ 5441246 w 5662788"/>
              <a:gd name="connsiteY199" fmla="*/ 753626 h 1240971"/>
              <a:gd name="connsiteX200" fmla="*/ 5456318 w 5662788"/>
              <a:gd name="connsiteY200" fmla="*/ 708409 h 1240971"/>
              <a:gd name="connsiteX201" fmla="*/ 5466366 w 5662788"/>
              <a:gd name="connsiteY201" fmla="*/ 683288 h 1240971"/>
              <a:gd name="connsiteX202" fmla="*/ 5476415 w 5662788"/>
              <a:gd name="connsiteY202" fmla="*/ 643094 h 1240971"/>
              <a:gd name="connsiteX203" fmla="*/ 5491487 w 5662788"/>
              <a:gd name="connsiteY203" fmla="*/ 617973 h 1240971"/>
              <a:gd name="connsiteX204" fmla="*/ 5506560 w 5662788"/>
              <a:gd name="connsiteY204" fmla="*/ 572756 h 1240971"/>
              <a:gd name="connsiteX205" fmla="*/ 5526656 w 5662788"/>
              <a:gd name="connsiteY205" fmla="*/ 522514 h 1240971"/>
              <a:gd name="connsiteX206" fmla="*/ 5546753 w 5662788"/>
              <a:gd name="connsiteY206" fmla="*/ 467248 h 1240971"/>
              <a:gd name="connsiteX207" fmla="*/ 5556802 w 5662788"/>
              <a:gd name="connsiteY207" fmla="*/ 411982 h 1240971"/>
              <a:gd name="connsiteX208" fmla="*/ 5566850 w 5662788"/>
              <a:gd name="connsiteY208" fmla="*/ 381837 h 1240971"/>
              <a:gd name="connsiteX209" fmla="*/ 5576898 w 5662788"/>
              <a:gd name="connsiteY209" fmla="*/ 356716 h 1240971"/>
              <a:gd name="connsiteX210" fmla="*/ 5596995 w 5662788"/>
              <a:gd name="connsiteY210" fmla="*/ 316523 h 1240971"/>
              <a:gd name="connsiteX211" fmla="*/ 5617092 w 5662788"/>
              <a:gd name="connsiteY211" fmla="*/ 246184 h 1240971"/>
              <a:gd name="connsiteX212" fmla="*/ 5622116 w 5662788"/>
              <a:gd name="connsiteY212" fmla="*/ 226088 h 1240971"/>
              <a:gd name="connsiteX213" fmla="*/ 5632164 w 5662788"/>
              <a:gd name="connsiteY213" fmla="*/ 216039 h 1240971"/>
              <a:gd name="connsiteX214" fmla="*/ 5637188 w 5662788"/>
              <a:gd name="connsiteY214" fmla="*/ 200967 h 1240971"/>
              <a:gd name="connsiteX215" fmla="*/ 5642213 w 5662788"/>
              <a:gd name="connsiteY215" fmla="*/ 180870 h 1240971"/>
              <a:gd name="connsiteX216" fmla="*/ 5652261 w 5662788"/>
              <a:gd name="connsiteY216" fmla="*/ 165798 h 1240971"/>
              <a:gd name="connsiteX217" fmla="*/ 5662309 w 5662788"/>
              <a:gd name="connsiteY217" fmla="*/ 115556 h 1240971"/>
              <a:gd name="connsiteX218" fmla="*/ 5657285 w 5662788"/>
              <a:gd name="connsiteY218" fmla="*/ 80387 h 1240971"/>
              <a:gd name="connsiteX219" fmla="*/ 5627140 w 5662788"/>
              <a:gd name="connsiteY219" fmla="*/ 75363 h 1240971"/>
              <a:gd name="connsiteX220" fmla="*/ 5586947 w 5662788"/>
              <a:gd name="connsiteY220" fmla="*/ 65314 h 1240971"/>
              <a:gd name="connsiteX221" fmla="*/ 5406076 w 5662788"/>
              <a:gd name="connsiteY221" fmla="*/ 70338 h 1240971"/>
              <a:gd name="connsiteX222" fmla="*/ 5379124 w 5662788"/>
              <a:gd name="connsiteY222" fmla="*/ 39644 h 1240971"/>
              <a:gd name="connsiteX223" fmla="*/ 5323570 w 5662788"/>
              <a:gd name="connsiteY223" fmla="*/ 61337 h 1240971"/>
              <a:gd name="connsiteX224" fmla="*/ 5238682 w 5662788"/>
              <a:gd name="connsiteY224" fmla="*/ 54455 h 1240971"/>
              <a:gd name="connsiteX225" fmla="*/ 5075554 w 5662788"/>
              <a:gd name="connsiteY225" fmla="*/ 56574 h 1240971"/>
              <a:gd name="connsiteX226" fmla="*/ 4989070 w 5662788"/>
              <a:gd name="connsiteY226" fmla="*/ 65314 h 1240971"/>
              <a:gd name="connsiteX227" fmla="*/ 4943852 w 5662788"/>
              <a:gd name="connsiteY227" fmla="*/ 60290 h 1240971"/>
              <a:gd name="connsiteX228" fmla="*/ 4823272 w 5662788"/>
              <a:gd name="connsiteY228" fmla="*/ 50242 h 1240971"/>
              <a:gd name="connsiteX229" fmla="*/ 4677571 w 5662788"/>
              <a:gd name="connsiteY229" fmla="*/ 55266 h 1240971"/>
              <a:gd name="connsiteX230" fmla="*/ 4647426 w 5662788"/>
              <a:gd name="connsiteY230" fmla="*/ 60290 h 1240971"/>
              <a:gd name="connsiteX231" fmla="*/ 4577087 w 5662788"/>
              <a:gd name="connsiteY231" fmla="*/ 65314 h 1240971"/>
              <a:gd name="connsiteX232" fmla="*/ 4486652 w 5662788"/>
              <a:gd name="connsiteY232" fmla="*/ 75363 h 1240971"/>
              <a:gd name="connsiteX233" fmla="*/ 4139984 w 5662788"/>
              <a:gd name="connsiteY233" fmla="*/ 60290 h 1240971"/>
              <a:gd name="connsiteX234" fmla="*/ 3918920 w 5662788"/>
              <a:gd name="connsiteY234" fmla="*/ 50242 h 1240971"/>
              <a:gd name="connsiteX235" fmla="*/ 3873703 w 5662788"/>
              <a:gd name="connsiteY235" fmla="*/ 45217 h 1240971"/>
              <a:gd name="connsiteX236" fmla="*/ 3687808 w 5662788"/>
              <a:gd name="connsiteY236" fmla="*/ 40193 h 1240971"/>
              <a:gd name="connsiteX237" fmla="*/ 3662687 w 5662788"/>
              <a:gd name="connsiteY237" fmla="*/ 35169 h 1240971"/>
              <a:gd name="connsiteX238" fmla="*/ 3627518 w 5662788"/>
              <a:gd name="connsiteY238" fmla="*/ 25121 h 1240971"/>
              <a:gd name="connsiteX239" fmla="*/ 3547131 w 5662788"/>
              <a:gd name="connsiteY239" fmla="*/ 20097 h 1240971"/>
              <a:gd name="connsiteX240" fmla="*/ 3310995 w 5662788"/>
              <a:gd name="connsiteY240" fmla="*/ 25121 h 1240971"/>
              <a:gd name="connsiteX241" fmla="*/ 3265777 w 5662788"/>
              <a:gd name="connsiteY241" fmla="*/ 30145 h 1240971"/>
              <a:gd name="connsiteX242" fmla="*/ 3175342 w 5662788"/>
              <a:gd name="connsiteY242" fmla="*/ 35169 h 1240971"/>
              <a:gd name="connsiteX243" fmla="*/ 2582489 w 5662788"/>
              <a:gd name="connsiteY243" fmla="*/ 45217 h 1240971"/>
              <a:gd name="connsiteX244" fmla="*/ 2255918 w 5662788"/>
              <a:gd name="connsiteY244" fmla="*/ 40193 h 1240971"/>
              <a:gd name="connsiteX245" fmla="*/ 1974564 w 5662788"/>
              <a:gd name="connsiteY245" fmla="*/ 30145 h 1240971"/>
              <a:gd name="connsiteX246" fmla="*/ 1944419 w 5662788"/>
              <a:gd name="connsiteY246" fmla="*/ 25121 h 1240971"/>
              <a:gd name="connsiteX247" fmla="*/ 1848960 w 5662788"/>
              <a:gd name="connsiteY247" fmla="*/ 20097 h 1240971"/>
              <a:gd name="connsiteX248" fmla="*/ 1768573 w 5662788"/>
              <a:gd name="connsiteY248" fmla="*/ 10048 h 1240971"/>
              <a:gd name="connsiteX249" fmla="*/ 1502292 w 5662788"/>
              <a:gd name="connsiteY249" fmla="*/ 20097 h 1240971"/>
              <a:gd name="connsiteX250" fmla="*/ 1467122 w 5662788"/>
              <a:gd name="connsiteY250" fmla="*/ 25121 h 1240971"/>
              <a:gd name="connsiteX251" fmla="*/ 1426929 w 5662788"/>
              <a:gd name="connsiteY251" fmla="*/ 30145 h 1240971"/>
              <a:gd name="connsiteX252" fmla="*/ 1341518 w 5662788"/>
              <a:gd name="connsiteY252" fmla="*/ 45217 h 1240971"/>
              <a:gd name="connsiteX253" fmla="*/ 1095333 w 5662788"/>
              <a:gd name="connsiteY253" fmla="*/ 35169 h 1240971"/>
              <a:gd name="connsiteX254" fmla="*/ 979777 w 5662788"/>
              <a:gd name="connsiteY254" fmla="*/ 20097 h 1240971"/>
              <a:gd name="connsiteX255" fmla="*/ 939584 w 5662788"/>
              <a:gd name="connsiteY255" fmla="*/ 10048 h 1240971"/>
              <a:gd name="connsiteX256" fmla="*/ 813980 w 5662788"/>
              <a:gd name="connsiteY256" fmla="*/ 0 h 1240971"/>
              <a:gd name="connsiteX257" fmla="*/ 743641 w 5662788"/>
              <a:gd name="connsiteY257" fmla="*/ 5024 h 1240971"/>
              <a:gd name="connsiteX258" fmla="*/ 582867 w 5662788"/>
              <a:gd name="connsiteY258" fmla="*/ 15072 h 1240971"/>
              <a:gd name="connsiteX259" fmla="*/ 432142 w 5662788"/>
              <a:gd name="connsiteY259" fmla="*/ 5024 h 1240971"/>
              <a:gd name="connsiteX260" fmla="*/ 412046 w 5662788"/>
              <a:gd name="connsiteY260" fmla="*/ 0 h 1240971"/>
              <a:gd name="connsiteX261" fmla="*/ 281417 w 5662788"/>
              <a:gd name="connsiteY261" fmla="*/ 10048 h 1240971"/>
              <a:gd name="connsiteX262" fmla="*/ 261320 w 5662788"/>
              <a:gd name="connsiteY262" fmla="*/ 15072 h 1240971"/>
              <a:gd name="connsiteX263" fmla="*/ 100547 w 5662788"/>
              <a:gd name="connsiteY263" fmla="*/ 20097 h 1240971"/>
              <a:gd name="connsiteX264" fmla="*/ 5087 w 5662788"/>
              <a:gd name="connsiteY264" fmla="*/ 30145 h 1240971"/>
              <a:gd name="connsiteX0" fmla="*/ 5087 w 5662788"/>
              <a:gd name="connsiteY0" fmla="*/ 30145 h 1240971"/>
              <a:gd name="connsiteX1" fmla="*/ 15136 w 5662788"/>
              <a:gd name="connsiteY1" fmla="*/ 115556 h 1240971"/>
              <a:gd name="connsiteX2" fmla="*/ 20160 w 5662788"/>
              <a:gd name="connsiteY2" fmla="*/ 150725 h 1240971"/>
              <a:gd name="connsiteX3" fmla="*/ 25184 w 5662788"/>
              <a:gd name="connsiteY3" fmla="*/ 236136 h 1240971"/>
              <a:gd name="connsiteX4" fmla="*/ 35232 w 5662788"/>
              <a:gd name="connsiteY4" fmla="*/ 311499 h 1240971"/>
              <a:gd name="connsiteX5" fmla="*/ 40256 w 5662788"/>
              <a:gd name="connsiteY5" fmla="*/ 783771 h 1240971"/>
              <a:gd name="connsiteX6" fmla="*/ 45281 w 5662788"/>
              <a:gd name="connsiteY6" fmla="*/ 864158 h 1240971"/>
              <a:gd name="connsiteX7" fmla="*/ 35232 w 5662788"/>
              <a:gd name="connsiteY7" fmla="*/ 1034980 h 1240971"/>
              <a:gd name="connsiteX8" fmla="*/ 25184 w 5662788"/>
              <a:gd name="connsiteY8" fmla="*/ 1100294 h 1240971"/>
              <a:gd name="connsiteX9" fmla="*/ 20160 w 5662788"/>
              <a:gd name="connsiteY9" fmla="*/ 1150536 h 1240971"/>
              <a:gd name="connsiteX10" fmla="*/ 25184 w 5662788"/>
              <a:gd name="connsiteY10" fmla="*/ 1170633 h 1240971"/>
              <a:gd name="connsiteX11" fmla="*/ 35232 w 5662788"/>
              <a:gd name="connsiteY11" fmla="*/ 1160584 h 1240971"/>
              <a:gd name="connsiteX12" fmla="*/ 55329 w 5662788"/>
              <a:gd name="connsiteY12" fmla="*/ 1100294 h 1240971"/>
              <a:gd name="connsiteX13" fmla="*/ 60353 w 5662788"/>
              <a:gd name="connsiteY13" fmla="*/ 1085222 h 1240971"/>
              <a:gd name="connsiteX14" fmla="*/ 70402 w 5662788"/>
              <a:gd name="connsiteY14" fmla="*/ 1075173 h 1240971"/>
              <a:gd name="connsiteX15" fmla="*/ 95522 w 5662788"/>
              <a:gd name="connsiteY15" fmla="*/ 1045028 h 1240971"/>
              <a:gd name="connsiteX16" fmla="*/ 110595 w 5662788"/>
              <a:gd name="connsiteY16" fmla="*/ 1040004 h 1240971"/>
              <a:gd name="connsiteX17" fmla="*/ 135716 w 5662788"/>
              <a:gd name="connsiteY17" fmla="*/ 1019908 h 1240971"/>
              <a:gd name="connsiteX18" fmla="*/ 150788 w 5662788"/>
              <a:gd name="connsiteY18" fmla="*/ 1009859 h 1240971"/>
              <a:gd name="connsiteX19" fmla="*/ 175909 w 5662788"/>
              <a:gd name="connsiteY19" fmla="*/ 994787 h 1240971"/>
              <a:gd name="connsiteX20" fmla="*/ 216103 w 5662788"/>
              <a:gd name="connsiteY20" fmla="*/ 984738 h 1240971"/>
              <a:gd name="connsiteX21" fmla="*/ 286441 w 5662788"/>
              <a:gd name="connsiteY21" fmla="*/ 994787 h 1240971"/>
              <a:gd name="connsiteX22" fmla="*/ 301514 w 5662788"/>
              <a:gd name="connsiteY22" fmla="*/ 1004835 h 1240971"/>
              <a:gd name="connsiteX23" fmla="*/ 321610 w 5662788"/>
              <a:gd name="connsiteY23" fmla="*/ 1034980 h 1240971"/>
              <a:gd name="connsiteX24" fmla="*/ 356780 w 5662788"/>
              <a:gd name="connsiteY24" fmla="*/ 1065125 h 1240971"/>
              <a:gd name="connsiteX25" fmla="*/ 366828 w 5662788"/>
              <a:gd name="connsiteY25" fmla="*/ 1080198 h 1240971"/>
              <a:gd name="connsiteX26" fmla="*/ 381900 w 5662788"/>
              <a:gd name="connsiteY26" fmla="*/ 1085222 h 1240971"/>
              <a:gd name="connsiteX27" fmla="*/ 396973 w 5662788"/>
              <a:gd name="connsiteY27" fmla="*/ 1095270 h 1240971"/>
              <a:gd name="connsiteX28" fmla="*/ 407021 w 5662788"/>
              <a:gd name="connsiteY28" fmla="*/ 1105319 h 1240971"/>
              <a:gd name="connsiteX29" fmla="*/ 422094 w 5662788"/>
              <a:gd name="connsiteY29" fmla="*/ 1110343 h 1240971"/>
              <a:gd name="connsiteX30" fmla="*/ 437166 w 5662788"/>
              <a:gd name="connsiteY30" fmla="*/ 1120391 h 1240971"/>
              <a:gd name="connsiteX31" fmla="*/ 467311 w 5662788"/>
              <a:gd name="connsiteY31" fmla="*/ 1130439 h 1240971"/>
              <a:gd name="connsiteX32" fmla="*/ 522577 w 5662788"/>
              <a:gd name="connsiteY32" fmla="*/ 1115367 h 1240971"/>
              <a:gd name="connsiteX33" fmla="*/ 552722 w 5662788"/>
              <a:gd name="connsiteY33" fmla="*/ 1075173 h 1240971"/>
              <a:gd name="connsiteX34" fmla="*/ 567795 w 5662788"/>
              <a:gd name="connsiteY34" fmla="*/ 1070149 h 1240971"/>
              <a:gd name="connsiteX35" fmla="*/ 582867 w 5662788"/>
              <a:gd name="connsiteY35" fmla="*/ 1060101 h 1240971"/>
              <a:gd name="connsiteX36" fmla="*/ 638133 w 5662788"/>
              <a:gd name="connsiteY36" fmla="*/ 1045028 h 1240971"/>
              <a:gd name="connsiteX37" fmla="*/ 653206 w 5662788"/>
              <a:gd name="connsiteY37" fmla="*/ 1040004 h 1240971"/>
              <a:gd name="connsiteX38" fmla="*/ 693399 w 5662788"/>
              <a:gd name="connsiteY38" fmla="*/ 1045028 h 1240971"/>
              <a:gd name="connsiteX39" fmla="*/ 723544 w 5662788"/>
              <a:gd name="connsiteY39" fmla="*/ 1055077 h 1240971"/>
              <a:gd name="connsiteX40" fmla="*/ 733593 w 5662788"/>
              <a:gd name="connsiteY40" fmla="*/ 1065125 h 1240971"/>
              <a:gd name="connsiteX41" fmla="*/ 768762 w 5662788"/>
              <a:gd name="connsiteY41" fmla="*/ 1080198 h 1240971"/>
              <a:gd name="connsiteX42" fmla="*/ 803931 w 5662788"/>
              <a:gd name="connsiteY42" fmla="*/ 1105319 h 1240971"/>
              <a:gd name="connsiteX43" fmla="*/ 834076 w 5662788"/>
              <a:gd name="connsiteY43" fmla="*/ 1130439 h 1240971"/>
              <a:gd name="connsiteX44" fmla="*/ 869246 w 5662788"/>
              <a:gd name="connsiteY44" fmla="*/ 1140488 h 1240971"/>
              <a:gd name="connsiteX45" fmla="*/ 909439 w 5662788"/>
              <a:gd name="connsiteY45" fmla="*/ 1175657 h 1240971"/>
              <a:gd name="connsiteX46" fmla="*/ 939584 w 5662788"/>
              <a:gd name="connsiteY46" fmla="*/ 1185705 h 1240971"/>
              <a:gd name="connsiteX47" fmla="*/ 979777 w 5662788"/>
              <a:gd name="connsiteY47" fmla="*/ 1180681 h 1240971"/>
              <a:gd name="connsiteX48" fmla="*/ 989826 w 5662788"/>
              <a:gd name="connsiteY48" fmla="*/ 1170633 h 1240971"/>
              <a:gd name="connsiteX49" fmla="*/ 1004898 w 5662788"/>
              <a:gd name="connsiteY49" fmla="*/ 1150536 h 1240971"/>
              <a:gd name="connsiteX50" fmla="*/ 1014947 w 5662788"/>
              <a:gd name="connsiteY50" fmla="*/ 1120391 h 1240971"/>
              <a:gd name="connsiteX51" fmla="*/ 1040067 w 5662788"/>
              <a:gd name="connsiteY51" fmla="*/ 1095270 h 1240971"/>
              <a:gd name="connsiteX52" fmla="*/ 1050116 w 5662788"/>
              <a:gd name="connsiteY52" fmla="*/ 1085222 h 1240971"/>
              <a:gd name="connsiteX53" fmla="*/ 1075237 w 5662788"/>
              <a:gd name="connsiteY53" fmla="*/ 1065125 h 1240971"/>
              <a:gd name="connsiteX54" fmla="*/ 1090309 w 5662788"/>
              <a:gd name="connsiteY54" fmla="*/ 1050053 h 1240971"/>
              <a:gd name="connsiteX55" fmla="*/ 1120454 w 5662788"/>
              <a:gd name="connsiteY55" fmla="*/ 1040004 h 1240971"/>
              <a:gd name="connsiteX56" fmla="*/ 1135527 w 5662788"/>
              <a:gd name="connsiteY56" fmla="*/ 1034980 h 1240971"/>
              <a:gd name="connsiteX57" fmla="*/ 1160648 w 5662788"/>
              <a:gd name="connsiteY57" fmla="*/ 1019908 h 1240971"/>
              <a:gd name="connsiteX58" fmla="*/ 1175720 w 5662788"/>
              <a:gd name="connsiteY58" fmla="*/ 1014883 h 1240971"/>
              <a:gd name="connsiteX59" fmla="*/ 1195817 w 5662788"/>
              <a:gd name="connsiteY59" fmla="*/ 1004835 h 1240971"/>
              <a:gd name="connsiteX60" fmla="*/ 1281228 w 5662788"/>
              <a:gd name="connsiteY60" fmla="*/ 1014883 h 1240971"/>
              <a:gd name="connsiteX61" fmla="*/ 1296300 w 5662788"/>
              <a:gd name="connsiteY61" fmla="*/ 1024932 h 1240971"/>
              <a:gd name="connsiteX62" fmla="*/ 1311373 w 5662788"/>
              <a:gd name="connsiteY62" fmla="*/ 1029956 h 1240971"/>
              <a:gd name="connsiteX63" fmla="*/ 1326446 w 5662788"/>
              <a:gd name="connsiteY63" fmla="*/ 1060101 h 1240971"/>
              <a:gd name="connsiteX64" fmla="*/ 1341518 w 5662788"/>
              <a:gd name="connsiteY64" fmla="*/ 1065125 h 1240971"/>
              <a:gd name="connsiteX65" fmla="*/ 1356591 w 5662788"/>
              <a:gd name="connsiteY65" fmla="*/ 1075173 h 1240971"/>
              <a:gd name="connsiteX66" fmla="*/ 1396784 w 5662788"/>
              <a:gd name="connsiteY66" fmla="*/ 1090246 h 1240971"/>
              <a:gd name="connsiteX67" fmla="*/ 1447026 w 5662788"/>
              <a:gd name="connsiteY67" fmla="*/ 1105319 h 1240971"/>
              <a:gd name="connsiteX68" fmla="*/ 1462098 w 5662788"/>
              <a:gd name="connsiteY68" fmla="*/ 1110343 h 1240971"/>
              <a:gd name="connsiteX69" fmla="*/ 1497267 w 5662788"/>
              <a:gd name="connsiteY69" fmla="*/ 1120391 h 1240971"/>
              <a:gd name="connsiteX70" fmla="*/ 1552533 w 5662788"/>
              <a:gd name="connsiteY70" fmla="*/ 1115367 h 1240971"/>
              <a:gd name="connsiteX71" fmla="*/ 1567606 w 5662788"/>
              <a:gd name="connsiteY71" fmla="*/ 1110343 h 1240971"/>
              <a:gd name="connsiteX72" fmla="*/ 1587703 w 5662788"/>
              <a:gd name="connsiteY72" fmla="*/ 1090246 h 1240971"/>
              <a:gd name="connsiteX73" fmla="*/ 1637944 w 5662788"/>
              <a:gd name="connsiteY73" fmla="*/ 1050053 h 1240971"/>
              <a:gd name="connsiteX74" fmla="*/ 1653017 w 5662788"/>
              <a:gd name="connsiteY74" fmla="*/ 1029956 h 1240971"/>
              <a:gd name="connsiteX75" fmla="*/ 1688186 w 5662788"/>
              <a:gd name="connsiteY75" fmla="*/ 1019908 h 1240971"/>
              <a:gd name="connsiteX76" fmla="*/ 1788670 w 5662788"/>
              <a:gd name="connsiteY76" fmla="*/ 1029956 h 1240971"/>
              <a:gd name="connsiteX77" fmla="*/ 1818815 w 5662788"/>
              <a:gd name="connsiteY77" fmla="*/ 1040004 h 1240971"/>
              <a:gd name="connsiteX78" fmla="*/ 1853984 w 5662788"/>
              <a:gd name="connsiteY78" fmla="*/ 1050053 h 1240971"/>
              <a:gd name="connsiteX79" fmla="*/ 1869056 w 5662788"/>
              <a:gd name="connsiteY79" fmla="*/ 1060101 h 1240971"/>
              <a:gd name="connsiteX80" fmla="*/ 1894177 w 5662788"/>
              <a:gd name="connsiteY80" fmla="*/ 1065125 h 1240971"/>
              <a:gd name="connsiteX81" fmla="*/ 1949443 w 5662788"/>
              <a:gd name="connsiteY81" fmla="*/ 1085222 h 1240971"/>
              <a:gd name="connsiteX82" fmla="*/ 1969540 w 5662788"/>
              <a:gd name="connsiteY82" fmla="*/ 1090246 h 1240971"/>
              <a:gd name="connsiteX83" fmla="*/ 2014758 w 5662788"/>
              <a:gd name="connsiteY83" fmla="*/ 1110343 h 1240971"/>
              <a:gd name="connsiteX84" fmla="*/ 2039878 w 5662788"/>
              <a:gd name="connsiteY84" fmla="*/ 1125415 h 1240971"/>
              <a:gd name="connsiteX85" fmla="*/ 2120265 w 5662788"/>
              <a:gd name="connsiteY85" fmla="*/ 1120391 h 1240971"/>
              <a:gd name="connsiteX86" fmla="*/ 2130314 w 5662788"/>
              <a:gd name="connsiteY86" fmla="*/ 1110343 h 1240971"/>
              <a:gd name="connsiteX87" fmla="*/ 2155435 w 5662788"/>
              <a:gd name="connsiteY87" fmla="*/ 1100294 h 1240971"/>
              <a:gd name="connsiteX88" fmla="*/ 2190604 w 5662788"/>
              <a:gd name="connsiteY88" fmla="*/ 1070149 h 1240971"/>
              <a:gd name="connsiteX89" fmla="*/ 2230797 w 5662788"/>
              <a:gd name="connsiteY89" fmla="*/ 1040004 h 1240971"/>
              <a:gd name="connsiteX90" fmla="*/ 2245870 w 5662788"/>
              <a:gd name="connsiteY90" fmla="*/ 1034980 h 1240971"/>
              <a:gd name="connsiteX91" fmla="*/ 2270991 w 5662788"/>
              <a:gd name="connsiteY91" fmla="*/ 1019908 h 1240971"/>
              <a:gd name="connsiteX92" fmla="*/ 2301136 w 5662788"/>
              <a:gd name="connsiteY92" fmla="*/ 994787 h 1240971"/>
              <a:gd name="connsiteX93" fmla="*/ 2316208 w 5662788"/>
              <a:gd name="connsiteY93" fmla="*/ 989763 h 1240971"/>
              <a:gd name="connsiteX94" fmla="*/ 2396595 w 5662788"/>
              <a:gd name="connsiteY94" fmla="*/ 984738 h 1240971"/>
              <a:gd name="connsiteX95" fmla="*/ 2426740 w 5662788"/>
              <a:gd name="connsiteY95" fmla="*/ 989763 h 1240971"/>
              <a:gd name="connsiteX96" fmla="*/ 2461909 w 5662788"/>
              <a:gd name="connsiteY96" fmla="*/ 1024932 h 1240971"/>
              <a:gd name="connsiteX97" fmla="*/ 2476982 w 5662788"/>
              <a:gd name="connsiteY97" fmla="*/ 1029956 h 1240971"/>
              <a:gd name="connsiteX98" fmla="*/ 2487030 w 5662788"/>
              <a:gd name="connsiteY98" fmla="*/ 1045028 h 1240971"/>
              <a:gd name="connsiteX99" fmla="*/ 2497078 w 5662788"/>
              <a:gd name="connsiteY99" fmla="*/ 1055077 h 1240971"/>
              <a:gd name="connsiteX100" fmla="*/ 2532248 w 5662788"/>
              <a:gd name="connsiteY100" fmla="*/ 1095270 h 1240971"/>
              <a:gd name="connsiteX101" fmla="*/ 2567417 w 5662788"/>
              <a:gd name="connsiteY101" fmla="*/ 1135464 h 1240971"/>
              <a:gd name="connsiteX102" fmla="*/ 2582489 w 5662788"/>
              <a:gd name="connsiteY102" fmla="*/ 1145512 h 1240971"/>
              <a:gd name="connsiteX103" fmla="*/ 2622683 w 5662788"/>
              <a:gd name="connsiteY103" fmla="*/ 1170633 h 1240971"/>
              <a:gd name="connsiteX104" fmla="*/ 2657852 w 5662788"/>
              <a:gd name="connsiteY104" fmla="*/ 1160584 h 1240971"/>
              <a:gd name="connsiteX105" fmla="*/ 2682973 w 5662788"/>
              <a:gd name="connsiteY105" fmla="*/ 1145512 h 1240971"/>
              <a:gd name="connsiteX106" fmla="*/ 2713118 w 5662788"/>
              <a:gd name="connsiteY106" fmla="*/ 1130439 h 1240971"/>
              <a:gd name="connsiteX107" fmla="*/ 2728191 w 5662788"/>
              <a:gd name="connsiteY107" fmla="*/ 1120391 h 1240971"/>
              <a:gd name="connsiteX108" fmla="*/ 2748287 w 5662788"/>
              <a:gd name="connsiteY108" fmla="*/ 1115367 h 1240971"/>
              <a:gd name="connsiteX109" fmla="*/ 2778432 w 5662788"/>
              <a:gd name="connsiteY109" fmla="*/ 1105319 h 1240971"/>
              <a:gd name="connsiteX110" fmla="*/ 2868867 w 5662788"/>
              <a:gd name="connsiteY110" fmla="*/ 1075173 h 1240971"/>
              <a:gd name="connsiteX111" fmla="*/ 2893988 w 5662788"/>
              <a:gd name="connsiteY111" fmla="*/ 1070149 h 1240971"/>
              <a:gd name="connsiteX112" fmla="*/ 2919109 w 5662788"/>
              <a:gd name="connsiteY112" fmla="*/ 1075173 h 1240971"/>
              <a:gd name="connsiteX113" fmla="*/ 2934182 w 5662788"/>
              <a:gd name="connsiteY113" fmla="*/ 1080198 h 1240971"/>
              <a:gd name="connsiteX114" fmla="*/ 2944230 w 5662788"/>
              <a:gd name="connsiteY114" fmla="*/ 1110343 h 1240971"/>
              <a:gd name="connsiteX115" fmla="*/ 2959303 w 5662788"/>
              <a:gd name="connsiteY115" fmla="*/ 1125415 h 1240971"/>
              <a:gd name="connsiteX116" fmla="*/ 2979399 w 5662788"/>
              <a:gd name="connsiteY116" fmla="*/ 1155560 h 1240971"/>
              <a:gd name="connsiteX117" fmla="*/ 2994472 w 5662788"/>
              <a:gd name="connsiteY117" fmla="*/ 1160584 h 1240971"/>
              <a:gd name="connsiteX118" fmla="*/ 3014569 w 5662788"/>
              <a:gd name="connsiteY118" fmla="*/ 1180681 h 1240971"/>
              <a:gd name="connsiteX119" fmla="*/ 3024617 w 5662788"/>
              <a:gd name="connsiteY119" fmla="*/ 1190730 h 1240971"/>
              <a:gd name="connsiteX120" fmla="*/ 3069835 w 5662788"/>
              <a:gd name="connsiteY120" fmla="*/ 1215850 h 1240971"/>
              <a:gd name="connsiteX121" fmla="*/ 3079883 w 5662788"/>
              <a:gd name="connsiteY121" fmla="*/ 1225899 h 1240971"/>
              <a:gd name="connsiteX122" fmla="*/ 3099980 w 5662788"/>
              <a:gd name="connsiteY122" fmla="*/ 1230923 h 1240971"/>
              <a:gd name="connsiteX123" fmla="*/ 3130125 w 5662788"/>
              <a:gd name="connsiteY123" fmla="*/ 1240971 h 1240971"/>
              <a:gd name="connsiteX124" fmla="*/ 3180366 w 5662788"/>
              <a:gd name="connsiteY124" fmla="*/ 1235947 h 1240971"/>
              <a:gd name="connsiteX125" fmla="*/ 3195439 w 5662788"/>
              <a:gd name="connsiteY125" fmla="*/ 1225899 h 1240971"/>
              <a:gd name="connsiteX126" fmla="*/ 3220560 w 5662788"/>
              <a:gd name="connsiteY126" fmla="*/ 1215850 h 1240971"/>
              <a:gd name="connsiteX127" fmla="*/ 3255729 w 5662788"/>
              <a:gd name="connsiteY127" fmla="*/ 1185705 h 1240971"/>
              <a:gd name="connsiteX128" fmla="*/ 3295922 w 5662788"/>
              <a:gd name="connsiteY128" fmla="*/ 1160584 h 1240971"/>
              <a:gd name="connsiteX129" fmla="*/ 3310995 w 5662788"/>
              <a:gd name="connsiteY129" fmla="*/ 1145512 h 1240971"/>
              <a:gd name="connsiteX130" fmla="*/ 3351188 w 5662788"/>
              <a:gd name="connsiteY130" fmla="*/ 1140488 h 1240971"/>
              <a:gd name="connsiteX131" fmla="*/ 3406454 w 5662788"/>
              <a:gd name="connsiteY131" fmla="*/ 1155560 h 1240971"/>
              <a:gd name="connsiteX132" fmla="*/ 3426551 w 5662788"/>
              <a:gd name="connsiteY132" fmla="*/ 1165609 h 1240971"/>
              <a:gd name="connsiteX133" fmla="*/ 3441624 w 5662788"/>
              <a:gd name="connsiteY133" fmla="*/ 1175657 h 1240971"/>
              <a:gd name="connsiteX134" fmla="*/ 3456696 w 5662788"/>
              <a:gd name="connsiteY134" fmla="*/ 1180681 h 1240971"/>
              <a:gd name="connsiteX135" fmla="*/ 3466744 w 5662788"/>
              <a:gd name="connsiteY135" fmla="*/ 1195754 h 1240971"/>
              <a:gd name="connsiteX136" fmla="*/ 3527035 w 5662788"/>
              <a:gd name="connsiteY136" fmla="*/ 1200778 h 1240971"/>
              <a:gd name="connsiteX137" fmla="*/ 3542107 w 5662788"/>
              <a:gd name="connsiteY137" fmla="*/ 1190730 h 1240971"/>
              <a:gd name="connsiteX138" fmla="*/ 3567228 w 5662788"/>
              <a:gd name="connsiteY138" fmla="*/ 1180681 h 1240971"/>
              <a:gd name="connsiteX139" fmla="*/ 3587325 w 5662788"/>
              <a:gd name="connsiteY139" fmla="*/ 1150536 h 1240971"/>
              <a:gd name="connsiteX140" fmla="*/ 3617470 w 5662788"/>
              <a:gd name="connsiteY140" fmla="*/ 1125415 h 1240971"/>
              <a:gd name="connsiteX141" fmla="*/ 3632542 w 5662788"/>
              <a:gd name="connsiteY141" fmla="*/ 1105319 h 1240971"/>
              <a:gd name="connsiteX142" fmla="*/ 3662687 w 5662788"/>
              <a:gd name="connsiteY142" fmla="*/ 1085222 h 1240971"/>
              <a:gd name="connsiteX143" fmla="*/ 3697856 w 5662788"/>
              <a:gd name="connsiteY143" fmla="*/ 1070149 h 1240971"/>
              <a:gd name="connsiteX144" fmla="*/ 3707905 w 5662788"/>
              <a:gd name="connsiteY144" fmla="*/ 1060101 h 1240971"/>
              <a:gd name="connsiteX145" fmla="*/ 3743074 w 5662788"/>
              <a:gd name="connsiteY145" fmla="*/ 1040004 h 1240971"/>
              <a:gd name="connsiteX146" fmla="*/ 3813413 w 5662788"/>
              <a:gd name="connsiteY146" fmla="*/ 1024932 h 1240971"/>
              <a:gd name="connsiteX147" fmla="*/ 3833509 w 5662788"/>
              <a:gd name="connsiteY147" fmla="*/ 1014883 h 1240971"/>
              <a:gd name="connsiteX148" fmla="*/ 3858630 w 5662788"/>
              <a:gd name="connsiteY148" fmla="*/ 1009859 h 1240971"/>
              <a:gd name="connsiteX149" fmla="*/ 3873703 w 5662788"/>
              <a:gd name="connsiteY149" fmla="*/ 1004835 h 1240971"/>
              <a:gd name="connsiteX150" fmla="*/ 3923944 w 5662788"/>
              <a:gd name="connsiteY150" fmla="*/ 1014883 h 1240971"/>
              <a:gd name="connsiteX151" fmla="*/ 3933993 w 5662788"/>
              <a:gd name="connsiteY151" fmla="*/ 1029956 h 1240971"/>
              <a:gd name="connsiteX152" fmla="*/ 3964138 w 5662788"/>
              <a:gd name="connsiteY152" fmla="*/ 1075173 h 1240971"/>
              <a:gd name="connsiteX153" fmla="*/ 3969162 w 5662788"/>
              <a:gd name="connsiteY153" fmla="*/ 1100294 h 1240971"/>
              <a:gd name="connsiteX154" fmla="*/ 3979210 w 5662788"/>
              <a:gd name="connsiteY154" fmla="*/ 1110343 h 1240971"/>
              <a:gd name="connsiteX155" fmla="*/ 3984235 w 5662788"/>
              <a:gd name="connsiteY155" fmla="*/ 1130439 h 1240971"/>
              <a:gd name="connsiteX156" fmla="*/ 4019404 w 5662788"/>
              <a:gd name="connsiteY156" fmla="*/ 1165609 h 1240971"/>
              <a:gd name="connsiteX157" fmla="*/ 4064621 w 5662788"/>
              <a:gd name="connsiteY157" fmla="*/ 1150536 h 1240971"/>
              <a:gd name="connsiteX158" fmla="*/ 4079694 w 5662788"/>
              <a:gd name="connsiteY158" fmla="*/ 1125415 h 1240971"/>
              <a:gd name="connsiteX159" fmla="*/ 4099791 w 5662788"/>
              <a:gd name="connsiteY159" fmla="*/ 1105319 h 1240971"/>
              <a:gd name="connsiteX160" fmla="*/ 4129936 w 5662788"/>
              <a:gd name="connsiteY160" fmla="*/ 1075173 h 1240971"/>
              <a:gd name="connsiteX161" fmla="*/ 4150032 w 5662788"/>
              <a:gd name="connsiteY161" fmla="*/ 1040004 h 1240971"/>
              <a:gd name="connsiteX162" fmla="*/ 4160081 w 5662788"/>
              <a:gd name="connsiteY162" fmla="*/ 1019908 h 1240971"/>
              <a:gd name="connsiteX163" fmla="*/ 4165105 w 5662788"/>
              <a:gd name="connsiteY163" fmla="*/ 1004835 h 1240971"/>
              <a:gd name="connsiteX164" fmla="*/ 4185202 w 5662788"/>
              <a:gd name="connsiteY164" fmla="*/ 984738 h 1240971"/>
              <a:gd name="connsiteX165" fmla="*/ 4200274 w 5662788"/>
              <a:gd name="connsiteY165" fmla="*/ 979714 h 1240971"/>
              <a:gd name="connsiteX166" fmla="*/ 4235443 w 5662788"/>
              <a:gd name="connsiteY166" fmla="*/ 954593 h 1240971"/>
              <a:gd name="connsiteX167" fmla="*/ 4275637 w 5662788"/>
              <a:gd name="connsiteY167" fmla="*/ 934497 h 1240971"/>
              <a:gd name="connsiteX168" fmla="*/ 4310806 w 5662788"/>
              <a:gd name="connsiteY168" fmla="*/ 914400 h 1240971"/>
              <a:gd name="connsiteX169" fmla="*/ 4325878 w 5662788"/>
              <a:gd name="connsiteY169" fmla="*/ 904352 h 1240971"/>
              <a:gd name="connsiteX170" fmla="*/ 4381144 w 5662788"/>
              <a:gd name="connsiteY170" fmla="*/ 904352 h 1240971"/>
              <a:gd name="connsiteX171" fmla="*/ 4401241 w 5662788"/>
              <a:gd name="connsiteY171" fmla="*/ 914400 h 1240971"/>
              <a:gd name="connsiteX172" fmla="*/ 4416314 w 5662788"/>
              <a:gd name="connsiteY172" fmla="*/ 919424 h 1240971"/>
              <a:gd name="connsiteX173" fmla="*/ 4431386 w 5662788"/>
              <a:gd name="connsiteY173" fmla="*/ 929472 h 1240971"/>
              <a:gd name="connsiteX174" fmla="*/ 4456507 w 5662788"/>
              <a:gd name="connsiteY174" fmla="*/ 974690 h 1240971"/>
              <a:gd name="connsiteX175" fmla="*/ 4476604 w 5662788"/>
              <a:gd name="connsiteY175" fmla="*/ 999811 h 1240971"/>
              <a:gd name="connsiteX176" fmla="*/ 4567039 w 5662788"/>
              <a:gd name="connsiteY176" fmla="*/ 994787 h 1240971"/>
              <a:gd name="connsiteX177" fmla="*/ 4597184 w 5662788"/>
              <a:gd name="connsiteY177" fmla="*/ 969666 h 1240971"/>
              <a:gd name="connsiteX178" fmla="*/ 4617281 w 5662788"/>
              <a:gd name="connsiteY178" fmla="*/ 959617 h 1240971"/>
              <a:gd name="connsiteX179" fmla="*/ 4632353 w 5662788"/>
              <a:gd name="connsiteY179" fmla="*/ 944545 h 1240971"/>
              <a:gd name="connsiteX180" fmla="*/ 4652450 w 5662788"/>
              <a:gd name="connsiteY180" fmla="*/ 934497 h 1240971"/>
              <a:gd name="connsiteX181" fmla="*/ 4672547 w 5662788"/>
              <a:gd name="connsiteY181" fmla="*/ 919424 h 1240971"/>
              <a:gd name="connsiteX182" fmla="*/ 4737861 w 5662788"/>
              <a:gd name="connsiteY182" fmla="*/ 884255 h 1240971"/>
              <a:gd name="connsiteX183" fmla="*/ 4762982 w 5662788"/>
              <a:gd name="connsiteY183" fmla="*/ 879231 h 1240971"/>
              <a:gd name="connsiteX184" fmla="*/ 4778054 w 5662788"/>
              <a:gd name="connsiteY184" fmla="*/ 874206 h 1240971"/>
              <a:gd name="connsiteX185" fmla="*/ 4819294 w 5662788"/>
              <a:gd name="connsiteY185" fmla="*/ 873944 h 1240971"/>
              <a:gd name="connsiteX186" fmla="*/ 4877465 w 5662788"/>
              <a:gd name="connsiteY186" fmla="*/ 895638 h 1240971"/>
              <a:gd name="connsiteX187" fmla="*/ 4935347 w 5662788"/>
              <a:gd name="connsiteY187" fmla="*/ 934523 h 1240971"/>
              <a:gd name="connsiteX188" fmla="*/ 4995402 w 5662788"/>
              <a:gd name="connsiteY188" fmla="*/ 1006746 h 1240971"/>
              <a:gd name="connsiteX189" fmla="*/ 5024762 w 5662788"/>
              <a:gd name="connsiteY189" fmla="*/ 1051963 h 1240971"/>
              <a:gd name="connsiteX190" fmla="*/ 5092223 w 5662788"/>
              <a:gd name="connsiteY190" fmla="*/ 1016506 h 1240971"/>
              <a:gd name="connsiteX191" fmla="*/ 5144322 w 5662788"/>
              <a:gd name="connsiteY191" fmla="*/ 948261 h 1240971"/>
              <a:gd name="connsiteX192" fmla="*/ 5189252 w 5662788"/>
              <a:gd name="connsiteY192" fmla="*/ 886112 h 1240971"/>
              <a:gd name="connsiteX193" fmla="*/ 5226279 w 5662788"/>
              <a:gd name="connsiteY193" fmla="*/ 856230 h 1240971"/>
              <a:gd name="connsiteX194" fmla="*/ 5260637 w 5662788"/>
              <a:gd name="connsiteY194" fmla="*/ 822918 h 1240971"/>
              <a:gd name="connsiteX195" fmla="*/ 5295282 w 5662788"/>
              <a:gd name="connsiteY195" fmla="*/ 800440 h 1240971"/>
              <a:gd name="connsiteX196" fmla="*/ 5334430 w 5662788"/>
              <a:gd name="connsiteY196" fmla="*/ 794893 h 1240971"/>
              <a:gd name="connsiteX197" fmla="*/ 5412174 w 5662788"/>
              <a:gd name="connsiteY197" fmla="*/ 824252 h 1240971"/>
              <a:gd name="connsiteX198" fmla="*/ 5431197 w 5662788"/>
              <a:gd name="connsiteY198" fmla="*/ 768699 h 1240971"/>
              <a:gd name="connsiteX199" fmla="*/ 5441246 w 5662788"/>
              <a:gd name="connsiteY199" fmla="*/ 753626 h 1240971"/>
              <a:gd name="connsiteX200" fmla="*/ 5456318 w 5662788"/>
              <a:gd name="connsiteY200" fmla="*/ 708409 h 1240971"/>
              <a:gd name="connsiteX201" fmla="*/ 5466366 w 5662788"/>
              <a:gd name="connsiteY201" fmla="*/ 683288 h 1240971"/>
              <a:gd name="connsiteX202" fmla="*/ 5476415 w 5662788"/>
              <a:gd name="connsiteY202" fmla="*/ 643094 h 1240971"/>
              <a:gd name="connsiteX203" fmla="*/ 5491487 w 5662788"/>
              <a:gd name="connsiteY203" fmla="*/ 617973 h 1240971"/>
              <a:gd name="connsiteX204" fmla="*/ 5506560 w 5662788"/>
              <a:gd name="connsiteY204" fmla="*/ 572756 h 1240971"/>
              <a:gd name="connsiteX205" fmla="*/ 5526656 w 5662788"/>
              <a:gd name="connsiteY205" fmla="*/ 522514 h 1240971"/>
              <a:gd name="connsiteX206" fmla="*/ 5546753 w 5662788"/>
              <a:gd name="connsiteY206" fmla="*/ 467248 h 1240971"/>
              <a:gd name="connsiteX207" fmla="*/ 5556802 w 5662788"/>
              <a:gd name="connsiteY207" fmla="*/ 411982 h 1240971"/>
              <a:gd name="connsiteX208" fmla="*/ 5566850 w 5662788"/>
              <a:gd name="connsiteY208" fmla="*/ 381837 h 1240971"/>
              <a:gd name="connsiteX209" fmla="*/ 5576898 w 5662788"/>
              <a:gd name="connsiteY209" fmla="*/ 356716 h 1240971"/>
              <a:gd name="connsiteX210" fmla="*/ 5596995 w 5662788"/>
              <a:gd name="connsiteY210" fmla="*/ 316523 h 1240971"/>
              <a:gd name="connsiteX211" fmla="*/ 5617092 w 5662788"/>
              <a:gd name="connsiteY211" fmla="*/ 246184 h 1240971"/>
              <a:gd name="connsiteX212" fmla="*/ 5622116 w 5662788"/>
              <a:gd name="connsiteY212" fmla="*/ 226088 h 1240971"/>
              <a:gd name="connsiteX213" fmla="*/ 5632164 w 5662788"/>
              <a:gd name="connsiteY213" fmla="*/ 216039 h 1240971"/>
              <a:gd name="connsiteX214" fmla="*/ 5637188 w 5662788"/>
              <a:gd name="connsiteY214" fmla="*/ 200967 h 1240971"/>
              <a:gd name="connsiteX215" fmla="*/ 5642213 w 5662788"/>
              <a:gd name="connsiteY215" fmla="*/ 180870 h 1240971"/>
              <a:gd name="connsiteX216" fmla="*/ 5652261 w 5662788"/>
              <a:gd name="connsiteY216" fmla="*/ 165798 h 1240971"/>
              <a:gd name="connsiteX217" fmla="*/ 5662309 w 5662788"/>
              <a:gd name="connsiteY217" fmla="*/ 115556 h 1240971"/>
              <a:gd name="connsiteX218" fmla="*/ 5657285 w 5662788"/>
              <a:gd name="connsiteY218" fmla="*/ 80387 h 1240971"/>
              <a:gd name="connsiteX219" fmla="*/ 5627140 w 5662788"/>
              <a:gd name="connsiteY219" fmla="*/ 75363 h 1240971"/>
              <a:gd name="connsiteX220" fmla="*/ 5586947 w 5662788"/>
              <a:gd name="connsiteY220" fmla="*/ 65314 h 1240971"/>
              <a:gd name="connsiteX221" fmla="*/ 5470369 w 5662788"/>
              <a:gd name="connsiteY221" fmla="*/ 39381 h 1240971"/>
              <a:gd name="connsiteX222" fmla="*/ 5379124 w 5662788"/>
              <a:gd name="connsiteY222" fmla="*/ 39644 h 1240971"/>
              <a:gd name="connsiteX223" fmla="*/ 5323570 w 5662788"/>
              <a:gd name="connsiteY223" fmla="*/ 61337 h 1240971"/>
              <a:gd name="connsiteX224" fmla="*/ 5238682 w 5662788"/>
              <a:gd name="connsiteY224" fmla="*/ 54455 h 1240971"/>
              <a:gd name="connsiteX225" fmla="*/ 5075554 w 5662788"/>
              <a:gd name="connsiteY225" fmla="*/ 56574 h 1240971"/>
              <a:gd name="connsiteX226" fmla="*/ 4989070 w 5662788"/>
              <a:gd name="connsiteY226" fmla="*/ 65314 h 1240971"/>
              <a:gd name="connsiteX227" fmla="*/ 4943852 w 5662788"/>
              <a:gd name="connsiteY227" fmla="*/ 60290 h 1240971"/>
              <a:gd name="connsiteX228" fmla="*/ 4823272 w 5662788"/>
              <a:gd name="connsiteY228" fmla="*/ 50242 h 1240971"/>
              <a:gd name="connsiteX229" fmla="*/ 4677571 w 5662788"/>
              <a:gd name="connsiteY229" fmla="*/ 55266 h 1240971"/>
              <a:gd name="connsiteX230" fmla="*/ 4647426 w 5662788"/>
              <a:gd name="connsiteY230" fmla="*/ 60290 h 1240971"/>
              <a:gd name="connsiteX231" fmla="*/ 4577087 w 5662788"/>
              <a:gd name="connsiteY231" fmla="*/ 65314 h 1240971"/>
              <a:gd name="connsiteX232" fmla="*/ 4486652 w 5662788"/>
              <a:gd name="connsiteY232" fmla="*/ 75363 h 1240971"/>
              <a:gd name="connsiteX233" fmla="*/ 4139984 w 5662788"/>
              <a:gd name="connsiteY233" fmla="*/ 60290 h 1240971"/>
              <a:gd name="connsiteX234" fmla="*/ 3918920 w 5662788"/>
              <a:gd name="connsiteY234" fmla="*/ 50242 h 1240971"/>
              <a:gd name="connsiteX235" fmla="*/ 3873703 w 5662788"/>
              <a:gd name="connsiteY235" fmla="*/ 45217 h 1240971"/>
              <a:gd name="connsiteX236" fmla="*/ 3687808 w 5662788"/>
              <a:gd name="connsiteY236" fmla="*/ 40193 h 1240971"/>
              <a:gd name="connsiteX237" fmla="*/ 3662687 w 5662788"/>
              <a:gd name="connsiteY237" fmla="*/ 35169 h 1240971"/>
              <a:gd name="connsiteX238" fmla="*/ 3627518 w 5662788"/>
              <a:gd name="connsiteY238" fmla="*/ 25121 h 1240971"/>
              <a:gd name="connsiteX239" fmla="*/ 3547131 w 5662788"/>
              <a:gd name="connsiteY239" fmla="*/ 20097 h 1240971"/>
              <a:gd name="connsiteX240" fmla="*/ 3310995 w 5662788"/>
              <a:gd name="connsiteY240" fmla="*/ 25121 h 1240971"/>
              <a:gd name="connsiteX241" fmla="*/ 3265777 w 5662788"/>
              <a:gd name="connsiteY241" fmla="*/ 30145 h 1240971"/>
              <a:gd name="connsiteX242" fmla="*/ 3175342 w 5662788"/>
              <a:gd name="connsiteY242" fmla="*/ 35169 h 1240971"/>
              <a:gd name="connsiteX243" fmla="*/ 2582489 w 5662788"/>
              <a:gd name="connsiteY243" fmla="*/ 45217 h 1240971"/>
              <a:gd name="connsiteX244" fmla="*/ 2255918 w 5662788"/>
              <a:gd name="connsiteY244" fmla="*/ 40193 h 1240971"/>
              <a:gd name="connsiteX245" fmla="*/ 1974564 w 5662788"/>
              <a:gd name="connsiteY245" fmla="*/ 30145 h 1240971"/>
              <a:gd name="connsiteX246" fmla="*/ 1944419 w 5662788"/>
              <a:gd name="connsiteY246" fmla="*/ 25121 h 1240971"/>
              <a:gd name="connsiteX247" fmla="*/ 1848960 w 5662788"/>
              <a:gd name="connsiteY247" fmla="*/ 20097 h 1240971"/>
              <a:gd name="connsiteX248" fmla="*/ 1768573 w 5662788"/>
              <a:gd name="connsiteY248" fmla="*/ 10048 h 1240971"/>
              <a:gd name="connsiteX249" fmla="*/ 1502292 w 5662788"/>
              <a:gd name="connsiteY249" fmla="*/ 20097 h 1240971"/>
              <a:gd name="connsiteX250" fmla="*/ 1467122 w 5662788"/>
              <a:gd name="connsiteY250" fmla="*/ 25121 h 1240971"/>
              <a:gd name="connsiteX251" fmla="*/ 1426929 w 5662788"/>
              <a:gd name="connsiteY251" fmla="*/ 30145 h 1240971"/>
              <a:gd name="connsiteX252" fmla="*/ 1341518 w 5662788"/>
              <a:gd name="connsiteY252" fmla="*/ 45217 h 1240971"/>
              <a:gd name="connsiteX253" fmla="*/ 1095333 w 5662788"/>
              <a:gd name="connsiteY253" fmla="*/ 35169 h 1240971"/>
              <a:gd name="connsiteX254" fmla="*/ 979777 w 5662788"/>
              <a:gd name="connsiteY254" fmla="*/ 20097 h 1240971"/>
              <a:gd name="connsiteX255" fmla="*/ 939584 w 5662788"/>
              <a:gd name="connsiteY255" fmla="*/ 10048 h 1240971"/>
              <a:gd name="connsiteX256" fmla="*/ 813980 w 5662788"/>
              <a:gd name="connsiteY256" fmla="*/ 0 h 1240971"/>
              <a:gd name="connsiteX257" fmla="*/ 743641 w 5662788"/>
              <a:gd name="connsiteY257" fmla="*/ 5024 h 1240971"/>
              <a:gd name="connsiteX258" fmla="*/ 582867 w 5662788"/>
              <a:gd name="connsiteY258" fmla="*/ 15072 h 1240971"/>
              <a:gd name="connsiteX259" fmla="*/ 432142 w 5662788"/>
              <a:gd name="connsiteY259" fmla="*/ 5024 h 1240971"/>
              <a:gd name="connsiteX260" fmla="*/ 412046 w 5662788"/>
              <a:gd name="connsiteY260" fmla="*/ 0 h 1240971"/>
              <a:gd name="connsiteX261" fmla="*/ 281417 w 5662788"/>
              <a:gd name="connsiteY261" fmla="*/ 10048 h 1240971"/>
              <a:gd name="connsiteX262" fmla="*/ 261320 w 5662788"/>
              <a:gd name="connsiteY262" fmla="*/ 15072 h 1240971"/>
              <a:gd name="connsiteX263" fmla="*/ 100547 w 5662788"/>
              <a:gd name="connsiteY263" fmla="*/ 20097 h 1240971"/>
              <a:gd name="connsiteX264" fmla="*/ 5087 w 5662788"/>
              <a:gd name="connsiteY264" fmla="*/ 30145 h 1240971"/>
              <a:gd name="connsiteX0" fmla="*/ 5087 w 5662407"/>
              <a:gd name="connsiteY0" fmla="*/ 30145 h 1240971"/>
              <a:gd name="connsiteX1" fmla="*/ 15136 w 5662407"/>
              <a:gd name="connsiteY1" fmla="*/ 115556 h 1240971"/>
              <a:gd name="connsiteX2" fmla="*/ 20160 w 5662407"/>
              <a:gd name="connsiteY2" fmla="*/ 150725 h 1240971"/>
              <a:gd name="connsiteX3" fmla="*/ 25184 w 5662407"/>
              <a:gd name="connsiteY3" fmla="*/ 236136 h 1240971"/>
              <a:gd name="connsiteX4" fmla="*/ 35232 w 5662407"/>
              <a:gd name="connsiteY4" fmla="*/ 311499 h 1240971"/>
              <a:gd name="connsiteX5" fmla="*/ 40256 w 5662407"/>
              <a:gd name="connsiteY5" fmla="*/ 783771 h 1240971"/>
              <a:gd name="connsiteX6" fmla="*/ 45281 w 5662407"/>
              <a:gd name="connsiteY6" fmla="*/ 864158 h 1240971"/>
              <a:gd name="connsiteX7" fmla="*/ 35232 w 5662407"/>
              <a:gd name="connsiteY7" fmla="*/ 1034980 h 1240971"/>
              <a:gd name="connsiteX8" fmla="*/ 25184 w 5662407"/>
              <a:gd name="connsiteY8" fmla="*/ 1100294 h 1240971"/>
              <a:gd name="connsiteX9" fmla="*/ 20160 w 5662407"/>
              <a:gd name="connsiteY9" fmla="*/ 1150536 h 1240971"/>
              <a:gd name="connsiteX10" fmla="*/ 25184 w 5662407"/>
              <a:gd name="connsiteY10" fmla="*/ 1170633 h 1240971"/>
              <a:gd name="connsiteX11" fmla="*/ 35232 w 5662407"/>
              <a:gd name="connsiteY11" fmla="*/ 1160584 h 1240971"/>
              <a:gd name="connsiteX12" fmla="*/ 55329 w 5662407"/>
              <a:gd name="connsiteY12" fmla="*/ 1100294 h 1240971"/>
              <a:gd name="connsiteX13" fmla="*/ 60353 w 5662407"/>
              <a:gd name="connsiteY13" fmla="*/ 1085222 h 1240971"/>
              <a:gd name="connsiteX14" fmla="*/ 70402 w 5662407"/>
              <a:gd name="connsiteY14" fmla="*/ 1075173 h 1240971"/>
              <a:gd name="connsiteX15" fmla="*/ 95522 w 5662407"/>
              <a:gd name="connsiteY15" fmla="*/ 1045028 h 1240971"/>
              <a:gd name="connsiteX16" fmla="*/ 110595 w 5662407"/>
              <a:gd name="connsiteY16" fmla="*/ 1040004 h 1240971"/>
              <a:gd name="connsiteX17" fmla="*/ 135716 w 5662407"/>
              <a:gd name="connsiteY17" fmla="*/ 1019908 h 1240971"/>
              <a:gd name="connsiteX18" fmla="*/ 150788 w 5662407"/>
              <a:gd name="connsiteY18" fmla="*/ 1009859 h 1240971"/>
              <a:gd name="connsiteX19" fmla="*/ 175909 w 5662407"/>
              <a:gd name="connsiteY19" fmla="*/ 994787 h 1240971"/>
              <a:gd name="connsiteX20" fmla="*/ 216103 w 5662407"/>
              <a:gd name="connsiteY20" fmla="*/ 984738 h 1240971"/>
              <a:gd name="connsiteX21" fmla="*/ 286441 w 5662407"/>
              <a:gd name="connsiteY21" fmla="*/ 994787 h 1240971"/>
              <a:gd name="connsiteX22" fmla="*/ 301514 w 5662407"/>
              <a:gd name="connsiteY22" fmla="*/ 1004835 h 1240971"/>
              <a:gd name="connsiteX23" fmla="*/ 321610 w 5662407"/>
              <a:gd name="connsiteY23" fmla="*/ 1034980 h 1240971"/>
              <a:gd name="connsiteX24" fmla="*/ 356780 w 5662407"/>
              <a:gd name="connsiteY24" fmla="*/ 1065125 h 1240971"/>
              <a:gd name="connsiteX25" fmla="*/ 366828 w 5662407"/>
              <a:gd name="connsiteY25" fmla="*/ 1080198 h 1240971"/>
              <a:gd name="connsiteX26" fmla="*/ 381900 w 5662407"/>
              <a:gd name="connsiteY26" fmla="*/ 1085222 h 1240971"/>
              <a:gd name="connsiteX27" fmla="*/ 396973 w 5662407"/>
              <a:gd name="connsiteY27" fmla="*/ 1095270 h 1240971"/>
              <a:gd name="connsiteX28" fmla="*/ 407021 w 5662407"/>
              <a:gd name="connsiteY28" fmla="*/ 1105319 h 1240971"/>
              <a:gd name="connsiteX29" fmla="*/ 422094 w 5662407"/>
              <a:gd name="connsiteY29" fmla="*/ 1110343 h 1240971"/>
              <a:gd name="connsiteX30" fmla="*/ 437166 w 5662407"/>
              <a:gd name="connsiteY30" fmla="*/ 1120391 h 1240971"/>
              <a:gd name="connsiteX31" fmla="*/ 467311 w 5662407"/>
              <a:gd name="connsiteY31" fmla="*/ 1130439 h 1240971"/>
              <a:gd name="connsiteX32" fmla="*/ 522577 w 5662407"/>
              <a:gd name="connsiteY32" fmla="*/ 1115367 h 1240971"/>
              <a:gd name="connsiteX33" fmla="*/ 552722 w 5662407"/>
              <a:gd name="connsiteY33" fmla="*/ 1075173 h 1240971"/>
              <a:gd name="connsiteX34" fmla="*/ 567795 w 5662407"/>
              <a:gd name="connsiteY34" fmla="*/ 1070149 h 1240971"/>
              <a:gd name="connsiteX35" fmla="*/ 582867 w 5662407"/>
              <a:gd name="connsiteY35" fmla="*/ 1060101 h 1240971"/>
              <a:gd name="connsiteX36" fmla="*/ 638133 w 5662407"/>
              <a:gd name="connsiteY36" fmla="*/ 1045028 h 1240971"/>
              <a:gd name="connsiteX37" fmla="*/ 653206 w 5662407"/>
              <a:gd name="connsiteY37" fmla="*/ 1040004 h 1240971"/>
              <a:gd name="connsiteX38" fmla="*/ 693399 w 5662407"/>
              <a:gd name="connsiteY38" fmla="*/ 1045028 h 1240971"/>
              <a:gd name="connsiteX39" fmla="*/ 723544 w 5662407"/>
              <a:gd name="connsiteY39" fmla="*/ 1055077 h 1240971"/>
              <a:gd name="connsiteX40" fmla="*/ 733593 w 5662407"/>
              <a:gd name="connsiteY40" fmla="*/ 1065125 h 1240971"/>
              <a:gd name="connsiteX41" fmla="*/ 768762 w 5662407"/>
              <a:gd name="connsiteY41" fmla="*/ 1080198 h 1240971"/>
              <a:gd name="connsiteX42" fmla="*/ 803931 w 5662407"/>
              <a:gd name="connsiteY42" fmla="*/ 1105319 h 1240971"/>
              <a:gd name="connsiteX43" fmla="*/ 834076 w 5662407"/>
              <a:gd name="connsiteY43" fmla="*/ 1130439 h 1240971"/>
              <a:gd name="connsiteX44" fmla="*/ 869246 w 5662407"/>
              <a:gd name="connsiteY44" fmla="*/ 1140488 h 1240971"/>
              <a:gd name="connsiteX45" fmla="*/ 909439 w 5662407"/>
              <a:gd name="connsiteY45" fmla="*/ 1175657 h 1240971"/>
              <a:gd name="connsiteX46" fmla="*/ 939584 w 5662407"/>
              <a:gd name="connsiteY46" fmla="*/ 1185705 h 1240971"/>
              <a:gd name="connsiteX47" fmla="*/ 979777 w 5662407"/>
              <a:gd name="connsiteY47" fmla="*/ 1180681 h 1240971"/>
              <a:gd name="connsiteX48" fmla="*/ 989826 w 5662407"/>
              <a:gd name="connsiteY48" fmla="*/ 1170633 h 1240971"/>
              <a:gd name="connsiteX49" fmla="*/ 1004898 w 5662407"/>
              <a:gd name="connsiteY49" fmla="*/ 1150536 h 1240971"/>
              <a:gd name="connsiteX50" fmla="*/ 1014947 w 5662407"/>
              <a:gd name="connsiteY50" fmla="*/ 1120391 h 1240971"/>
              <a:gd name="connsiteX51" fmla="*/ 1040067 w 5662407"/>
              <a:gd name="connsiteY51" fmla="*/ 1095270 h 1240971"/>
              <a:gd name="connsiteX52" fmla="*/ 1050116 w 5662407"/>
              <a:gd name="connsiteY52" fmla="*/ 1085222 h 1240971"/>
              <a:gd name="connsiteX53" fmla="*/ 1075237 w 5662407"/>
              <a:gd name="connsiteY53" fmla="*/ 1065125 h 1240971"/>
              <a:gd name="connsiteX54" fmla="*/ 1090309 w 5662407"/>
              <a:gd name="connsiteY54" fmla="*/ 1050053 h 1240971"/>
              <a:gd name="connsiteX55" fmla="*/ 1120454 w 5662407"/>
              <a:gd name="connsiteY55" fmla="*/ 1040004 h 1240971"/>
              <a:gd name="connsiteX56" fmla="*/ 1135527 w 5662407"/>
              <a:gd name="connsiteY56" fmla="*/ 1034980 h 1240971"/>
              <a:gd name="connsiteX57" fmla="*/ 1160648 w 5662407"/>
              <a:gd name="connsiteY57" fmla="*/ 1019908 h 1240971"/>
              <a:gd name="connsiteX58" fmla="*/ 1175720 w 5662407"/>
              <a:gd name="connsiteY58" fmla="*/ 1014883 h 1240971"/>
              <a:gd name="connsiteX59" fmla="*/ 1195817 w 5662407"/>
              <a:gd name="connsiteY59" fmla="*/ 1004835 h 1240971"/>
              <a:gd name="connsiteX60" fmla="*/ 1281228 w 5662407"/>
              <a:gd name="connsiteY60" fmla="*/ 1014883 h 1240971"/>
              <a:gd name="connsiteX61" fmla="*/ 1296300 w 5662407"/>
              <a:gd name="connsiteY61" fmla="*/ 1024932 h 1240971"/>
              <a:gd name="connsiteX62" fmla="*/ 1311373 w 5662407"/>
              <a:gd name="connsiteY62" fmla="*/ 1029956 h 1240971"/>
              <a:gd name="connsiteX63" fmla="*/ 1326446 w 5662407"/>
              <a:gd name="connsiteY63" fmla="*/ 1060101 h 1240971"/>
              <a:gd name="connsiteX64" fmla="*/ 1341518 w 5662407"/>
              <a:gd name="connsiteY64" fmla="*/ 1065125 h 1240971"/>
              <a:gd name="connsiteX65" fmla="*/ 1356591 w 5662407"/>
              <a:gd name="connsiteY65" fmla="*/ 1075173 h 1240971"/>
              <a:gd name="connsiteX66" fmla="*/ 1396784 w 5662407"/>
              <a:gd name="connsiteY66" fmla="*/ 1090246 h 1240971"/>
              <a:gd name="connsiteX67" fmla="*/ 1447026 w 5662407"/>
              <a:gd name="connsiteY67" fmla="*/ 1105319 h 1240971"/>
              <a:gd name="connsiteX68" fmla="*/ 1462098 w 5662407"/>
              <a:gd name="connsiteY68" fmla="*/ 1110343 h 1240971"/>
              <a:gd name="connsiteX69" fmla="*/ 1497267 w 5662407"/>
              <a:gd name="connsiteY69" fmla="*/ 1120391 h 1240971"/>
              <a:gd name="connsiteX70" fmla="*/ 1552533 w 5662407"/>
              <a:gd name="connsiteY70" fmla="*/ 1115367 h 1240971"/>
              <a:gd name="connsiteX71" fmla="*/ 1567606 w 5662407"/>
              <a:gd name="connsiteY71" fmla="*/ 1110343 h 1240971"/>
              <a:gd name="connsiteX72" fmla="*/ 1587703 w 5662407"/>
              <a:gd name="connsiteY72" fmla="*/ 1090246 h 1240971"/>
              <a:gd name="connsiteX73" fmla="*/ 1637944 w 5662407"/>
              <a:gd name="connsiteY73" fmla="*/ 1050053 h 1240971"/>
              <a:gd name="connsiteX74" fmla="*/ 1653017 w 5662407"/>
              <a:gd name="connsiteY74" fmla="*/ 1029956 h 1240971"/>
              <a:gd name="connsiteX75" fmla="*/ 1688186 w 5662407"/>
              <a:gd name="connsiteY75" fmla="*/ 1019908 h 1240971"/>
              <a:gd name="connsiteX76" fmla="*/ 1788670 w 5662407"/>
              <a:gd name="connsiteY76" fmla="*/ 1029956 h 1240971"/>
              <a:gd name="connsiteX77" fmla="*/ 1818815 w 5662407"/>
              <a:gd name="connsiteY77" fmla="*/ 1040004 h 1240971"/>
              <a:gd name="connsiteX78" fmla="*/ 1853984 w 5662407"/>
              <a:gd name="connsiteY78" fmla="*/ 1050053 h 1240971"/>
              <a:gd name="connsiteX79" fmla="*/ 1869056 w 5662407"/>
              <a:gd name="connsiteY79" fmla="*/ 1060101 h 1240971"/>
              <a:gd name="connsiteX80" fmla="*/ 1894177 w 5662407"/>
              <a:gd name="connsiteY80" fmla="*/ 1065125 h 1240971"/>
              <a:gd name="connsiteX81" fmla="*/ 1949443 w 5662407"/>
              <a:gd name="connsiteY81" fmla="*/ 1085222 h 1240971"/>
              <a:gd name="connsiteX82" fmla="*/ 1969540 w 5662407"/>
              <a:gd name="connsiteY82" fmla="*/ 1090246 h 1240971"/>
              <a:gd name="connsiteX83" fmla="*/ 2014758 w 5662407"/>
              <a:gd name="connsiteY83" fmla="*/ 1110343 h 1240971"/>
              <a:gd name="connsiteX84" fmla="*/ 2039878 w 5662407"/>
              <a:gd name="connsiteY84" fmla="*/ 1125415 h 1240971"/>
              <a:gd name="connsiteX85" fmla="*/ 2120265 w 5662407"/>
              <a:gd name="connsiteY85" fmla="*/ 1120391 h 1240971"/>
              <a:gd name="connsiteX86" fmla="*/ 2130314 w 5662407"/>
              <a:gd name="connsiteY86" fmla="*/ 1110343 h 1240971"/>
              <a:gd name="connsiteX87" fmla="*/ 2155435 w 5662407"/>
              <a:gd name="connsiteY87" fmla="*/ 1100294 h 1240971"/>
              <a:gd name="connsiteX88" fmla="*/ 2190604 w 5662407"/>
              <a:gd name="connsiteY88" fmla="*/ 1070149 h 1240971"/>
              <a:gd name="connsiteX89" fmla="*/ 2230797 w 5662407"/>
              <a:gd name="connsiteY89" fmla="*/ 1040004 h 1240971"/>
              <a:gd name="connsiteX90" fmla="*/ 2245870 w 5662407"/>
              <a:gd name="connsiteY90" fmla="*/ 1034980 h 1240971"/>
              <a:gd name="connsiteX91" fmla="*/ 2270991 w 5662407"/>
              <a:gd name="connsiteY91" fmla="*/ 1019908 h 1240971"/>
              <a:gd name="connsiteX92" fmla="*/ 2301136 w 5662407"/>
              <a:gd name="connsiteY92" fmla="*/ 994787 h 1240971"/>
              <a:gd name="connsiteX93" fmla="*/ 2316208 w 5662407"/>
              <a:gd name="connsiteY93" fmla="*/ 989763 h 1240971"/>
              <a:gd name="connsiteX94" fmla="*/ 2396595 w 5662407"/>
              <a:gd name="connsiteY94" fmla="*/ 984738 h 1240971"/>
              <a:gd name="connsiteX95" fmla="*/ 2426740 w 5662407"/>
              <a:gd name="connsiteY95" fmla="*/ 989763 h 1240971"/>
              <a:gd name="connsiteX96" fmla="*/ 2461909 w 5662407"/>
              <a:gd name="connsiteY96" fmla="*/ 1024932 h 1240971"/>
              <a:gd name="connsiteX97" fmla="*/ 2476982 w 5662407"/>
              <a:gd name="connsiteY97" fmla="*/ 1029956 h 1240971"/>
              <a:gd name="connsiteX98" fmla="*/ 2487030 w 5662407"/>
              <a:gd name="connsiteY98" fmla="*/ 1045028 h 1240971"/>
              <a:gd name="connsiteX99" fmla="*/ 2497078 w 5662407"/>
              <a:gd name="connsiteY99" fmla="*/ 1055077 h 1240971"/>
              <a:gd name="connsiteX100" fmla="*/ 2532248 w 5662407"/>
              <a:gd name="connsiteY100" fmla="*/ 1095270 h 1240971"/>
              <a:gd name="connsiteX101" fmla="*/ 2567417 w 5662407"/>
              <a:gd name="connsiteY101" fmla="*/ 1135464 h 1240971"/>
              <a:gd name="connsiteX102" fmla="*/ 2582489 w 5662407"/>
              <a:gd name="connsiteY102" fmla="*/ 1145512 h 1240971"/>
              <a:gd name="connsiteX103" fmla="*/ 2622683 w 5662407"/>
              <a:gd name="connsiteY103" fmla="*/ 1170633 h 1240971"/>
              <a:gd name="connsiteX104" fmla="*/ 2657852 w 5662407"/>
              <a:gd name="connsiteY104" fmla="*/ 1160584 h 1240971"/>
              <a:gd name="connsiteX105" fmla="*/ 2682973 w 5662407"/>
              <a:gd name="connsiteY105" fmla="*/ 1145512 h 1240971"/>
              <a:gd name="connsiteX106" fmla="*/ 2713118 w 5662407"/>
              <a:gd name="connsiteY106" fmla="*/ 1130439 h 1240971"/>
              <a:gd name="connsiteX107" fmla="*/ 2728191 w 5662407"/>
              <a:gd name="connsiteY107" fmla="*/ 1120391 h 1240971"/>
              <a:gd name="connsiteX108" fmla="*/ 2748287 w 5662407"/>
              <a:gd name="connsiteY108" fmla="*/ 1115367 h 1240971"/>
              <a:gd name="connsiteX109" fmla="*/ 2778432 w 5662407"/>
              <a:gd name="connsiteY109" fmla="*/ 1105319 h 1240971"/>
              <a:gd name="connsiteX110" fmla="*/ 2868867 w 5662407"/>
              <a:gd name="connsiteY110" fmla="*/ 1075173 h 1240971"/>
              <a:gd name="connsiteX111" fmla="*/ 2893988 w 5662407"/>
              <a:gd name="connsiteY111" fmla="*/ 1070149 h 1240971"/>
              <a:gd name="connsiteX112" fmla="*/ 2919109 w 5662407"/>
              <a:gd name="connsiteY112" fmla="*/ 1075173 h 1240971"/>
              <a:gd name="connsiteX113" fmla="*/ 2934182 w 5662407"/>
              <a:gd name="connsiteY113" fmla="*/ 1080198 h 1240971"/>
              <a:gd name="connsiteX114" fmla="*/ 2944230 w 5662407"/>
              <a:gd name="connsiteY114" fmla="*/ 1110343 h 1240971"/>
              <a:gd name="connsiteX115" fmla="*/ 2959303 w 5662407"/>
              <a:gd name="connsiteY115" fmla="*/ 1125415 h 1240971"/>
              <a:gd name="connsiteX116" fmla="*/ 2979399 w 5662407"/>
              <a:gd name="connsiteY116" fmla="*/ 1155560 h 1240971"/>
              <a:gd name="connsiteX117" fmla="*/ 2994472 w 5662407"/>
              <a:gd name="connsiteY117" fmla="*/ 1160584 h 1240971"/>
              <a:gd name="connsiteX118" fmla="*/ 3014569 w 5662407"/>
              <a:gd name="connsiteY118" fmla="*/ 1180681 h 1240971"/>
              <a:gd name="connsiteX119" fmla="*/ 3024617 w 5662407"/>
              <a:gd name="connsiteY119" fmla="*/ 1190730 h 1240971"/>
              <a:gd name="connsiteX120" fmla="*/ 3069835 w 5662407"/>
              <a:gd name="connsiteY120" fmla="*/ 1215850 h 1240971"/>
              <a:gd name="connsiteX121" fmla="*/ 3079883 w 5662407"/>
              <a:gd name="connsiteY121" fmla="*/ 1225899 h 1240971"/>
              <a:gd name="connsiteX122" fmla="*/ 3099980 w 5662407"/>
              <a:gd name="connsiteY122" fmla="*/ 1230923 h 1240971"/>
              <a:gd name="connsiteX123" fmla="*/ 3130125 w 5662407"/>
              <a:gd name="connsiteY123" fmla="*/ 1240971 h 1240971"/>
              <a:gd name="connsiteX124" fmla="*/ 3180366 w 5662407"/>
              <a:gd name="connsiteY124" fmla="*/ 1235947 h 1240971"/>
              <a:gd name="connsiteX125" fmla="*/ 3195439 w 5662407"/>
              <a:gd name="connsiteY125" fmla="*/ 1225899 h 1240971"/>
              <a:gd name="connsiteX126" fmla="*/ 3220560 w 5662407"/>
              <a:gd name="connsiteY126" fmla="*/ 1215850 h 1240971"/>
              <a:gd name="connsiteX127" fmla="*/ 3255729 w 5662407"/>
              <a:gd name="connsiteY127" fmla="*/ 1185705 h 1240971"/>
              <a:gd name="connsiteX128" fmla="*/ 3295922 w 5662407"/>
              <a:gd name="connsiteY128" fmla="*/ 1160584 h 1240971"/>
              <a:gd name="connsiteX129" fmla="*/ 3310995 w 5662407"/>
              <a:gd name="connsiteY129" fmla="*/ 1145512 h 1240971"/>
              <a:gd name="connsiteX130" fmla="*/ 3351188 w 5662407"/>
              <a:gd name="connsiteY130" fmla="*/ 1140488 h 1240971"/>
              <a:gd name="connsiteX131" fmla="*/ 3406454 w 5662407"/>
              <a:gd name="connsiteY131" fmla="*/ 1155560 h 1240971"/>
              <a:gd name="connsiteX132" fmla="*/ 3426551 w 5662407"/>
              <a:gd name="connsiteY132" fmla="*/ 1165609 h 1240971"/>
              <a:gd name="connsiteX133" fmla="*/ 3441624 w 5662407"/>
              <a:gd name="connsiteY133" fmla="*/ 1175657 h 1240971"/>
              <a:gd name="connsiteX134" fmla="*/ 3456696 w 5662407"/>
              <a:gd name="connsiteY134" fmla="*/ 1180681 h 1240971"/>
              <a:gd name="connsiteX135" fmla="*/ 3466744 w 5662407"/>
              <a:gd name="connsiteY135" fmla="*/ 1195754 h 1240971"/>
              <a:gd name="connsiteX136" fmla="*/ 3527035 w 5662407"/>
              <a:gd name="connsiteY136" fmla="*/ 1200778 h 1240971"/>
              <a:gd name="connsiteX137" fmla="*/ 3542107 w 5662407"/>
              <a:gd name="connsiteY137" fmla="*/ 1190730 h 1240971"/>
              <a:gd name="connsiteX138" fmla="*/ 3567228 w 5662407"/>
              <a:gd name="connsiteY138" fmla="*/ 1180681 h 1240971"/>
              <a:gd name="connsiteX139" fmla="*/ 3587325 w 5662407"/>
              <a:gd name="connsiteY139" fmla="*/ 1150536 h 1240971"/>
              <a:gd name="connsiteX140" fmla="*/ 3617470 w 5662407"/>
              <a:gd name="connsiteY140" fmla="*/ 1125415 h 1240971"/>
              <a:gd name="connsiteX141" fmla="*/ 3632542 w 5662407"/>
              <a:gd name="connsiteY141" fmla="*/ 1105319 h 1240971"/>
              <a:gd name="connsiteX142" fmla="*/ 3662687 w 5662407"/>
              <a:gd name="connsiteY142" fmla="*/ 1085222 h 1240971"/>
              <a:gd name="connsiteX143" fmla="*/ 3697856 w 5662407"/>
              <a:gd name="connsiteY143" fmla="*/ 1070149 h 1240971"/>
              <a:gd name="connsiteX144" fmla="*/ 3707905 w 5662407"/>
              <a:gd name="connsiteY144" fmla="*/ 1060101 h 1240971"/>
              <a:gd name="connsiteX145" fmla="*/ 3743074 w 5662407"/>
              <a:gd name="connsiteY145" fmla="*/ 1040004 h 1240971"/>
              <a:gd name="connsiteX146" fmla="*/ 3813413 w 5662407"/>
              <a:gd name="connsiteY146" fmla="*/ 1024932 h 1240971"/>
              <a:gd name="connsiteX147" fmla="*/ 3833509 w 5662407"/>
              <a:gd name="connsiteY147" fmla="*/ 1014883 h 1240971"/>
              <a:gd name="connsiteX148" fmla="*/ 3858630 w 5662407"/>
              <a:gd name="connsiteY148" fmla="*/ 1009859 h 1240971"/>
              <a:gd name="connsiteX149" fmla="*/ 3873703 w 5662407"/>
              <a:gd name="connsiteY149" fmla="*/ 1004835 h 1240971"/>
              <a:gd name="connsiteX150" fmla="*/ 3923944 w 5662407"/>
              <a:gd name="connsiteY150" fmla="*/ 1014883 h 1240971"/>
              <a:gd name="connsiteX151" fmla="*/ 3933993 w 5662407"/>
              <a:gd name="connsiteY151" fmla="*/ 1029956 h 1240971"/>
              <a:gd name="connsiteX152" fmla="*/ 3964138 w 5662407"/>
              <a:gd name="connsiteY152" fmla="*/ 1075173 h 1240971"/>
              <a:gd name="connsiteX153" fmla="*/ 3969162 w 5662407"/>
              <a:gd name="connsiteY153" fmla="*/ 1100294 h 1240971"/>
              <a:gd name="connsiteX154" fmla="*/ 3979210 w 5662407"/>
              <a:gd name="connsiteY154" fmla="*/ 1110343 h 1240971"/>
              <a:gd name="connsiteX155" fmla="*/ 3984235 w 5662407"/>
              <a:gd name="connsiteY155" fmla="*/ 1130439 h 1240971"/>
              <a:gd name="connsiteX156" fmla="*/ 4019404 w 5662407"/>
              <a:gd name="connsiteY156" fmla="*/ 1165609 h 1240971"/>
              <a:gd name="connsiteX157" fmla="*/ 4064621 w 5662407"/>
              <a:gd name="connsiteY157" fmla="*/ 1150536 h 1240971"/>
              <a:gd name="connsiteX158" fmla="*/ 4079694 w 5662407"/>
              <a:gd name="connsiteY158" fmla="*/ 1125415 h 1240971"/>
              <a:gd name="connsiteX159" fmla="*/ 4099791 w 5662407"/>
              <a:gd name="connsiteY159" fmla="*/ 1105319 h 1240971"/>
              <a:gd name="connsiteX160" fmla="*/ 4129936 w 5662407"/>
              <a:gd name="connsiteY160" fmla="*/ 1075173 h 1240971"/>
              <a:gd name="connsiteX161" fmla="*/ 4150032 w 5662407"/>
              <a:gd name="connsiteY161" fmla="*/ 1040004 h 1240971"/>
              <a:gd name="connsiteX162" fmla="*/ 4160081 w 5662407"/>
              <a:gd name="connsiteY162" fmla="*/ 1019908 h 1240971"/>
              <a:gd name="connsiteX163" fmla="*/ 4165105 w 5662407"/>
              <a:gd name="connsiteY163" fmla="*/ 1004835 h 1240971"/>
              <a:gd name="connsiteX164" fmla="*/ 4185202 w 5662407"/>
              <a:gd name="connsiteY164" fmla="*/ 984738 h 1240971"/>
              <a:gd name="connsiteX165" fmla="*/ 4200274 w 5662407"/>
              <a:gd name="connsiteY165" fmla="*/ 979714 h 1240971"/>
              <a:gd name="connsiteX166" fmla="*/ 4235443 w 5662407"/>
              <a:gd name="connsiteY166" fmla="*/ 954593 h 1240971"/>
              <a:gd name="connsiteX167" fmla="*/ 4275637 w 5662407"/>
              <a:gd name="connsiteY167" fmla="*/ 934497 h 1240971"/>
              <a:gd name="connsiteX168" fmla="*/ 4310806 w 5662407"/>
              <a:gd name="connsiteY168" fmla="*/ 914400 h 1240971"/>
              <a:gd name="connsiteX169" fmla="*/ 4325878 w 5662407"/>
              <a:gd name="connsiteY169" fmla="*/ 904352 h 1240971"/>
              <a:gd name="connsiteX170" fmla="*/ 4381144 w 5662407"/>
              <a:gd name="connsiteY170" fmla="*/ 904352 h 1240971"/>
              <a:gd name="connsiteX171" fmla="*/ 4401241 w 5662407"/>
              <a:gd name="connsiteY171" fmla="*/ 914400 h 1240971"/>
              <a:gd name="connsiteX172" fmla="*/ 4416314 w 5662407"/>
              <a:gd name="connsiteY172" fmla="*/ 919424 h 1240971"/>
              <a:gd name="connsiteX173" fmla="*/ 4431386 w 5662407"/>
              <a:gd name="connsiteY173" fmla="*/ 929472 h 1240971"/>
              <a:gd name="connsiteX174" fmla="*/ 4456507 w 5662407"/>
              <a:gd name="connsiteY174" fmla="*/ 974690 h 1240971"/>
              <a:gd name="connsiteX175" fmla="*/ 4476604 w 5662407"/>
              <a:gd name="connsiteY175" fmla="*/ 999811 h 1240971"/>
              <a:gd name="connsiteX176" fmla="*/ 4567039 w 5662407"/>
              <a:gd name="connsiteY176" fmla="*/ 994787 h 1240971"/>
              <a:gd name="connsiteX177" fmla="*/ 4597184 w 5662407"/>
              <a:gd name="connsiteY177" fmla="*/ 969666 h 1240971"/>
              <a:gd name="connsiteX178" fmla="*/ 4617281 w 5662407"/>
              <a:gd name="connsiteY178" fmla="*/ 959617 h 1240971"/>
              <a:gd name="connsiteX179" fmla="*/ 4632353 w 5662407"/>
              <a:gd name="connsiteY179" fmla="*/ 944545 h 1240971"/>
              <a:gd name="connsiteX180" fmla="*/ 4652450 w 5662407"/>
              <a:gd name="connsiteY180" fmla="*/ 934497 h 1240971"/>
              <a:gd name="connsiteX181" fmla="*/ 4672547 w 5662407"/>
              <a:gd name="connsiteY181" fmla="*/ 919424 h 1240971"/>
              <a:gd name="connsiteX182" fmla="*/ 4737861 w 5662407"/>
              <a:gd name="connsiteY182" fmla="*/ 884255 h 1240971"/>
              <a:gd name="connsiteX183" fmla="*/ 4762982 w 5662407"/>
              <a:gd name="connsiteY183" fmla="*/ 879231 h 1240971"/>
              <a:gd name="connsiteX184" fmla="*/ 4778054 w 5662407"/>
              <a:gd name="connsiteY184" fmla="*/ 874206 h 1240971"/>
              <a:gd name="connsiteX185" fmla="*/ 4819294 w 5662407"/>
              <a:gd name="connsiteY185" fmla="*/ 873944 h 1240971"/>
              <a:gd name="connsiteX186" fmla="*/ 4877465 w 5662407"/>
              <a:gd name="connsiteY186" fmla="*/ 895638 h 1240971"/>
              <a:gd name="connsiteX187" fmla="*/ 4935347 w 5662407"/>
              <a:gd name="connsiteY187" fmla="*/ 934523 h 1240971"/>
              <a:gd name="connsiteX188" fmla="*/ 4995402 w 5662407"/>
              <a:gd name="connsiteY188" fmla="*/ 1006746 h 1240971"/>
              <a:gd name="connsiteX189" fmla="*/ 5024762 w 5662407"/>
              <a:gd name="connsiteY189" fmla="*/ 1051963 h 1240971"/>
              <a:gd name="connsiteX190" fmla="*/ 5092223 w 5662407"/>
              <a:gd name="connsiteY190" fmla="*/ 1016506 h 1240971"/>
              <a:gd name="connsiteX191" fmla="*/ 5144322 w 5662407"/>
              <a:gd name="connsiteY191" fmla="*/ 948261 h 1240971"/>
              <a:gd name="connsiteX192" fmla="*/ 5189252 w 5662407"/>
              <a:gd name="connsiteY192" fmla="*/ 886112 h 1240971"/>
              <a:gd name="connsiteX193" fmla="*/ 5226279 w 5662407"/>
              <a:gd name="connsiteY193" fmla="*/ 856230 h 1240971"/>
              <a:gd name="connsiteX194" fmla="*/ 5260637 w 5662407"/>
              <a:gd name="connsiteY194" fmla="*/ 822918 h 1240971"/>
              <a:gd name="connsiteX195" fmla="*/ 5295282 w 5662407"/>
              <a:gd name="connsiteY195" fmla="*/ 800440 h 1240971"/>
              <a:gd name="connsiteX196" fmla="*/ 5334430 w 5662407"/>
              <a:gd name="connsiteY196" fmla="*/ 794893 h 1240971"/>
              <a:gd name="connsiteX197" fmla="*/ 5412174 w 5662407"/>
              <a:gd name="connsiteY197" fmla="*/ 824252 h 1240971"/>
              <a:gd name="connsiteX198" fmla="*/ 5431197 w 5662407"/>
              <a:gd name="connsiteY198" fmla="*/ 768699 h 1240971"/>
              <a:gd name="connsiteX199" fmla="*/ 5441246 w 5662407"/>
              <a:gd name="connsiteY199" fmla="*/ 753626 h 1240971"/>
              <a:gd name="connsiteX200" fmla="*/ 5456318 w 5662407"/>
              <a:gd name="connsiteY200" fmla="*/ 708409 h 1240971"/>
              <a:gd name="connsiteX201" fmla="*/ 5466366 w 5662407"/>
              <a:gd name="connsiteY201" fmla="*/ 683288 h 1240971"/>
              <a:gd name="connsiteX202" fmla="*/ 5476415 w 5662407"/>
              <a:gd name="connsiteY202" fmla="*/ 643094 h 1240971"/>
              <a:gd name="connsiteX203" fmla="*/ 5491487 w 5662407"/>
              <a:gd name="connsiteY203" fmla="*/ 617973 h 1240971"/>
              <a:gd name="connsiteX204" fmla="*/ 5506560 w 5662407"/>
              <a:gd name="connsiteY204" fmla="*/ 572756 h 1240971"/>
              <a:gd name="connsiteX205" fmla="*/ 5526656 w 5662407"/>
              <a:gd name="connsiteY205" fmla="*/ 522514 h 1240971"/>
              <a:gd name="connsiteX206" fmla="*/ 5546753 w 5662407"/>
              <a:gd name="connsiteY206" fmla="*/ 467248 h 1240971"/>
              <a:gd name="connsiteX207" fmla="*/ 5556802 w 5662407"/>
              <a:gd name="connsiteY207" fmla="*/ 411982 h 1240971"/>
              <a:gd name="connsiteX208" fmla="*/ 5566850 w 5662407"/>
              <a:gd name="connsiteY208" fmla="*/ 381837 h 1240971"/>
              <a:gd name="connsiteX209" fmla="*/ 5576898 w 5662407"/>
              <a:gd name="connsiteY209" fmla="*/ 356716 h 1240971"/>
              <a:gd name="connsiteX210" fmla="*/ 5596995 w 5662407"/>
              <a:gd name="connsiteY210" fmla="*/ 316523 h 1240971"/>
              <a:gd name="connsiteX211" fmla="*/ 5617092 w 5662407"/>
              <a:gd name="connsiteY211" fmla="*/ 246184 h 1240971"/>
              <a:gd name="connsiteX212" fmla="*/ 5622116 w 5662407"/>
              <a:gd name="connsiteY212" fmla="*/ 226088 h 1240971"/>
              <a:gd name="connsiteX213" fmla="*/ 5632164 w 5662407"/>
              <a:gd name="connsiteY213" fmla="*/ 216039 h 1240971"/>
              <a:gd name="connsiteX214" fmla="*/ 5637188 w 5662407"/>
              <a:gd name="connsiteY214" fmla="*/ 200967 h 1240971"/>
              <a:gd name="connsiteX215" fmla="*/ 5642213 w 5662407"/>
              <a:gd name="connsiteY215" fmla="*/ 180870 h 1240971"/>
              <a:gd name="connsiteX216" fmla="*/ 5652261 w 5662407"/>
              <a:gd name="connsiteY216" fmla="*/ 165798 h 1240971"/>
              <a:gd name="connsiteX217" fmla="*/ 5662309 w 5662407"/>
              <a:gd name="connsiteY217" fmla="*/ 115556 h 1240971"/>
              <a:gd name="connsiteX218" fmla="*/ 5657285 w 5662407"/>
              <a:gd name="connsiteY218" fmla="*/ 80387 h 1240971"/>
              <a:gd name="connsiteX219" fmla="*/ 5624759 w 5662407"/>
              <a:gd name="connsiteY219" fmla="*/ 46788 h 1240971"/>
              <a:gd name="connsiteX220" fmla="*/ 5586947 w 5662407"/>
              <a:gd name="connsiteY220" fmla="*/ 65314 h 1240971"/>
              <a:gd name="connsiteX221" fmla="*/ 5470369 w 5662407"/>
              <a:gd name="connsiteY221" fmla="*/ 39381 h 1240971"/>
              <a:gd name="connsiteX222" fmla="*/ 5379124 w 5662407"/>
              <a:gd name="connsiteY222" fmla="*/ 39644 h 1240971"/>
              <a:gd name="connsiteX223" fmla="*/ 5323570 w 5662407"/>
              <a:gd name="connsiteY223" fmla="*/ 61337 h 1240971"/>
              <a:gd name="connsiteX224" fmla="*/ 5238682 w 5662407"/>
              <a:gd name="connsiteY224" fmla="*/ 54455 h 1240971"/>
              <a:gd name="connsiteX225" fmla="*/ 5075554 w 5662407"/>
              <a:gd name="connsiteY225" fmla="*/ 56574 h 1240971"/>
              <a:gd name="connsiteX226" fmla="*/ 4989070 w 5662407"/>
              <a:gd name="connsiteY226" fmla="*/ 65314 h 1240971"/>
              <a:gd name="connsiteX227" fmla="*/ 4943852 w 5662407"/>
              <a:gd name="connsiteY227" fmla="*/ 60290 h 1240971"/>
              <a:gd name="connsiteX228" fmla="*/ 4823272 w 5662407"/>
              <a:gd name="connsiteY228" fmla="*/ 50242 h 1240971"/>
              <a:gd name="connsiteX229" fmla="*/ 4677571 w 5662407"/>
              <a:gd name="connsiteY229" fmla="*/ 55266 h 1240971"/>
              <a:gd name="connsiteX230" fmla="*/ 4647426 w 5662407"/>
              <a:gd name="connsiteY230" fmla="*/ 60290 h 1240971"/>
              <a:gd name="connsiteX231" fmla="*/ 4577087 w 5662407"/>
              <a:gd name="connsiteY231" fmla="*/ 65314 h 1240971"/>
              <a:gd name="connsiteX232" fmla="*/ 4486652 w 5662407"/>
              <a:gd name="connsiteY232" fmla="*/ 75363 h 1240971"/>
              <a:gd name="connsiteX233" fmla="*/ 4139984 w 5662407"/>
              <a:gd name="connsiteY233" fmla="*/ 60290 h 1240971"/>
              <a:gd name="connsiteX234" fmla="*/ 3918920 w 5662407"/>
              <a:gd name="connsiteY234" fmla="*/ 50242 h 1240971"/>
              <a:gd name="connsiteX235" fmla="*/ 3873703 w 5662407"/>
              <a:gd name="connsiteY235" fmla="*/ 45217 h 1240971"/>
              <a:gd name="connsiteX236" fmla="*/ 3687808 w 5662407"/>
              <a:gd name="connsiteY236" fmla="*/ 40193 h 1240971"/>
              <a:gd name="connsiteX237" fmla="*/ 3662687 w 5662407"/>
              <a:gd name="connsiteY237" fmla="*/ 35169 h 1240971"/>
              <a:gd name="connsiteX238" fmla="*/ 3627518 w 5662407"/>
              <a:gd name="connsiteY238" fmla="*/ 25121 h 1240971"/>
              <a:gd name="connsiteX239" fmla="*/ 3547131 w 5662407"/>
              <a:gd name="connsiteY239" fmla="*/ 20097 h 1240971"/>
              <a:gd name="connsiteX240" fmla="*/ 3310995 w 5662407"/>
              <a:gd name="connsiteY240" fmla="*/ 25121 h 1240971"/>
              <a:gd name="connsiteX241" fmla="*/ 3265777 w 5662407"/>
              <a:gd name="connsiteY241" fmla="*/ 30145 h 1240971"/>
              <a:gd name="connsiteX242" fmla="*/ 3175342 w 5662407"/>
              <a:gd name="connsiteY242" fmla="*/ 35169 h 1240971"/>
              <a:gd name="connsiteX243" fmla="*/ 2582489 w 5662407"/>
              <a:gd name="connsiteY243" fmla="*/ 45217 h 1240971"/>
              <a:gd name="connsiteX244" fmla="*/ 2255918 w 5662407"/>
              <a:gd name="connsiteY244" fmla="*/ 40193 h 1240971"/>
              <a:gd name="connsiteX245" fmla="*/ 1974564 w 5662407"/>
              <a:gd name="connsiteY245" fmla="*/ 30145 h 1240971"/>
              <a:gd name="connsiteX246" fmla="*/ 1944419 w 5662407"/>
              <a:gd name="connsiteY246" fmla="*/ 25121 h 1240971"/>
              <a:gd name="connsiteX247" fmla="*/ 1848960 w 5662407"/>
              <a:gd name="connsiteY247" fmla="*/ 20097 h 1240971"/>
              <a:gd name="connsiteX248" fmla="*/ 1768573 w 5662407"/>
              <a:gd name="connsiteY248" fmla="*/ 10048 h 1240971"/>
              <a:gd name="connsiteX249" fmla="*/ 1502292 w 5662407"/>
              <a:gd name="connsiteY249" fmla="*/ 20097 h 1240971"/>
              <a:gd name="connsiteX250" fmla="*/ 1467122 w 5662407"/>
              <a:gd name="connsiteY250" fmla="*/ 25121 h 1240971"/>
              <a:gd name="connsiteX251" fmla="*/ 1426929 w 5662407"/>
              <a:gd name="connsiteY251" fmla="*/ 30145 h 1240971"/>
              <a:gd name="connsiteX252" fmla="*/ 1341518 w 5662407"/>
              <a:gd name="connsiteY252" fmla="*/ 45217 h 1240971"/>
              <a:gd name="connsiteX253" fmla="*/ 1095333 w 5662407"/>
              <a:gd name="connsiteY253" fmla="*/ 35169 h 1240971"/>
              <a:gd name="connsiteX254" fmla="*/ 979777 w 5662407"/>
              <a:gd name="connsiteY254" fmla="*/ 20097 h 1240971"/>
              <a:gd name="connsiteX255" fmla="*/ 939584 w 5662407"/>
              <a:gd name="connsiteY255" fmla="*/ 10048 h 1240971"/>
              <a:gd name="connsiteX256" fmla="*/ 813980 w 5662407"/>
              <a:gd name="connsiteY256" fmla="*/ 0 h 1240971"/>
              <a:gd name="connsiteX257" fmla="*/ 743641 w 5662407"/>
              <a:gd name="connsiteY257" fmla="*/ 5024 h 1240971"/>
              <a:gd name="connsiteX258" fmla="*/ 582867 w 5662407"/>
              <a:gd name="connsiteY258" fmla="*/ 15072 h 1240971"/>
              <a:gd name="connsiteX259" fmla="*/ 432142 w 5662407"/>
              <a:gd name="connsiteY259" fmla="*/ 5024 h 1240971"/>
              <a:gd name="connsiteX260" fmla="*/ 412046 w 5662407"/>
              <a:gd name="connsiteY260" fmla="*/ 0 h 1240971"/>
              <a:gd name="connsiteX261" fmla="*/ 281417 w 5662407"/>
              <a:gd name="connsiteY261" fmla="*/ 10048 h 1240971"/>
              <a:gd name="connsiteX262" fmla="*/ 261320 w 5662407"/>
              <a:gd name="connsiteY262" fmla="*/ 15072 h 1240971"/>
              <a:gd name="connsiteX263" fmla="*/ 100547 w 5662407"/>
              <a:gd name="connsiteY263" fmla="*/ 20097 h 1240971"/>
              <a:gd name="connsiteX264" fmla="*/ 5087 w 5662407"/>
              <a:gd name="connsiteY264" fmla="*/ 30145 h 1240971"/>
              <a:gd name="connsiteX0" fmla="*/ 5087 w 5662407"/>
              <a:gd name="connsiteY0" fmla="*/ 30145 h 1240971"/>
              <a:gd name="connsiteX1" fmla="*/ 15136 w 5662407"/>
              <a:gd name="connsiteY1" fmla="*/ 115556 h 1240971"/>
              <a:gd name="connsiteX2" fmla="*/ 20160 w 5662407"/>
              <a:gd name="connsiteY2" fmla="*/ 150725 h 1240971"/>
              <a:gd name="connsiteX3" fmla="*/ 25184 w 5662407"/>
              <a:gd name="connsiteY3" fmla="*/ 236136 h 1240971"/>
              <a:gd name="connsiteX4" fmla="*/ 35232 w 5662407"/>
              <a:gd name="connsiteY4" fmla="*/ 311499 h 1240971"/>
              <a:gd name="connsiteX5" fmla="*/ 40256 w 5662407"/>
              <a:gd name="connsiteY5" fmla="*/ 783771 h 1240971"/>
              <a:gd name="connsiteX6" fmla="*/ 45281 w 5662407"/>
              <a:gd name="connsiteY6" fmla="*/ 864158 h 1240971"/>
              <a:gd name="connsiteX7" fmla="*/ 35232 w 5662407"/>
              <a:gd name="connsiteY7" fmla="*/ 1034980 h 1240971"/>
              <a:gd name="connsiteX8" fmla="*/ 25184 w 5662407"/>
              <a:gd name="connsiteY8" fmla="*/ 1100294 h 1240971"/>
              <a:gd name="connsiteX9" fmla="*/ 20160 w 5662407"/>
              <a:gd name="connsiteY9" fmla="*/ 1150536 h 1240971"/>
              <a:gd name="connsiteX10" fmla="*/ 25184 w 5662407"/>
              <a:gd name="connsiteY10" fmla="*/ 1170633 h 1240971"/>
              <a:gd name="connsiteX11" fmla="*/ 35232 w 5662407"/>
              <a:gd name="connsiteY11" fmla="*/ 1160584 h 1240971"/>
              <a:gd name="connsiteX12" fmla="*/ 55329 w 5662407"/>
              <a:gd name="connsiteY12" fmla="*/ 1100294 h 1240971"/>
              <a:gd name="connsiteX13" fmla="*/ 60353 w 5662407"/>
              <a:gd name="connsiteY13" fmla="*/ 1085222 h 1240971"/>
              <a:gd name="connsiteX14" fmla="*/ 70402 w 5662407"/>
              <a:gd name="connsiteY14" fmla="*/ 1075173 h 1240971"/>
              <a:gd name="connsiteX15" fmla="*/ 95522 w 5662407"/>
              <a:gd name="connsiteY15" fmla="*/ 1045028 h 1240971"/>
              <a:gd name="connsiteX16" fmla="*/ 110595 w 5662407"/>
              <a:gd name="connsiteY16" fmla="*/ 1040004 h 1240971"/>
              <a:gd name="connsiteX17" fmla="*/ 135716 w 5662407"/>
              <a:gd name="connsiteY17" fmla="*/ 1019908 h 1240971"/>
              <a:gd name="connsiteX18" fmla="*/ 150788 w 5662407"/>
              <a:gd name="connsiteY18" fmla="*/ 1009859 h 1240971"/>
              <a:gd name="connsiteX19" fmla="*/ 175909 w 5662407"/>
              <a:gd name="connsiteY19" fmla="*/ 994787 h 1240971"/>
              <a:gd name="connsiteX20" fmla="*/ 216103 w 5662407"/>
              <a:gd name="connsiteY20" fmla="*/ 984738 h 1240971"/>
              <a:gd name="connsiteX21" fmla="*/ 286441 w 5662407"/>
              <a:gd name="connsiteY21" fmla="*/ 994787 h 1240971"/>
              <a:gd name="connsiteX22" fmla="*/ 301514 w 5662407"/>
              <a:gd name="connsiteY22" fmla="*/ 1004835 h 1240971"/>
              <a:gd name="connsiteX23" fmla="*/ 321610 w 5662407"/>
              <a:gd name="connsiteY23" fmla="*/ 1034980 h 1240971"/>
              <a:gd name="connsiteX24" fmla="*/ 356780 w 5662407"/>
              <a:gd name="connsiteY24" fmla="*/ 1065125 h 1240971"/>
              <a:gd name="connsiteX25" fmla="*/ 366828 w 5662407"/>
              <a:gd name="connsiteY25" fmla="*/ 1080198 h 1240971"/>
              <a:gd name="connsiteX26" fmla="*/ 381900 w 5662407"/>
              <a:gd name="connsiteY26" fmla="*/ 1085222 h 1240971"/>
              <a:gd name="connsiteX27" fmla="*/ 396973 w 5662407"/>
              <a:gd name="connsiteY27" fmla="*/ 1095270 h 1240971"/>
              <a:gd name="connsiteX28" fmla="*/ 407021 w 5662407"/>
              <a:gd name="connsiteY28" fmla="*/ 1105319 h 1240971"/>
              <a:gd name="connsiteX29" fmla="*/ 422094 w 5662407"/>
              <a:gd name="connsiteY29" fmla="*/ 1110343 h 1240971"/>
              <a:gd name="connsiteX30" fmla="*/ 437166 w 5662407"/>
              <a:gd name="connsiteY30" fmla="*/ 1120391 h 1240971"/>
              <a:gd name="connsiteX31" fmla="*/ 467311 w 5662407"/>
              <a:gd name="connsiteY31" fmla="*/ 1130439 h 1240971"/>
              <a:gd name="connsiteX32" fmla="*/ 522577 w 5662407"/>
              <a:gd name="connsiteY32" fmla="*/ 1115367 h 1240971"/>
              <a:gd name="connsiteX33" fmla="*/ 552722 w 5662407"/>
              <a:gd name="connsiteY33" fmla="*/ 1075173 h 1240971"/>
              <a:gd name="connsiteX34" fmla="*/ 567795 w 5662407"/>
              <a:gd name="connsiteY34" fmla="*/ 1070149 h 1240971"/>
              <a:gd name="connsiteX35" fmla="*/ 582867 w 5662407"/>
              <a:gd name="connsiteY35" fmla="*/ 1060101 h 1240971"/>
              <a:gd name="connsiteX36" fmla="*/ 638133 w 5662407"/>
              <a:gd name="connsiteY36" fmla="*/ 1045028 h 1240971"/>
              <a:gd name="connsiteX37" fmla="*/ 653206 w 5662407"/>
              <a:gd name="connsiteY37" fmla="*/ 1040004 h 1240971"/>
              <a:gd name="connsiteX38" fmla="*/ 693399 w 5662407"/>
              <a:gd name="connsiteY38" fmla="*/ 1045028 h 1240971"/>
              <a:gd name="connsiteX39" fmla="*/ 723544 w 5662407"/>
              <a:gd name="connsiteY39" fmla="*/ 1055077 h 1240971"/>
              <a:gd name="connsiteX40" fmla="*/ 733593 w 5662407"/>
              <a:gd name="connsiteY40" fmla="*/ 1065125 h 1240971"/>
              <a:gd name="connsiteX41" fmla="*/ 768762 w 5662407"/>
              <a:gd name="connsiteY41" fmla="*/ 1080198 h 1240971"/>
              <a:gd name="connsiteX42" fmla="*/ 803931 w 5662407"/>
              <a:gd name="connsiteY42" fmla="*/ 1105319 h 1240971"/>
              <a:gd name="connsiteX43" fmla="*/ 834076 w 5662407"/>
              <a:gd name="connsiteY43" fmla="*/ 1130439 h 1240971"/>
              <a:gd name="connsiteX44" fmla="*/ 869246 w 5662407"/>
              <a:gd name="connsiteY44" fmla="*/ 1140488 h 1240971"/>
              <a:gd name="connsiteX45" fmla="*/ 909439 w 5662407"/>
              <a:gd name="connsiteY45" fmla="*/ 1175657 h 1240971"/>
              <a:gd name="connsiteX46" fmla="*/ 939584 w 5662407"/>
              <a:gd name="connsiteY46" fmla="*/ 1185705 h 1240971"/>
              <a:gd name="connsiteX47" fmla="*/ 979777 w 5662407"/>
              <a:gd name="connsiteY47" fmla="*/ 1180681 h 1240971"/>
              <a:gd name="connsiteX48" fmla="*/ 989826 w 5662407"/>
              <a:gd name="connsiteY48" fmla="*/ 1170633 h 1240971"/>
              <a:gd name="connsiteX49" fmla="*/ 1004898 w 5662407"/>
              <a:gd name="connsiteY49" fmla="*/ 1150536 h 1240971"/>
              <a:gd name="connsiteX50" fmla="*/ 1014947 w 5662407"/>
              <a:gd name="connsiteY50" fmla="*/ 1120391 h 1240971"/>
              <a:gd name="connsiteX51" fmla="*/ 1040067 w 5662407"/>
              <a:gd name="connsiteY51" fmla="*/ 1095270 h 1240971"/>
              <a:gd name="connsiteX52" fmla="*/ 1050116 w 5662407"/>
              <a:gd name="connsiteY52" fmla="*/ 1085222 h 1240971"/>
              <a:gd name="connsiteX53" fmla="*/ 1075237 w 5662407"/>
              <a:gd name="connsiteY53" fmla="*/ 1065125 h 1240971"/>
              <a:gd name="connsiteX54" fmla="*/ 1090309 w 5662407"/>
              <a:gd name="connsiteY54" fmla="*/ 1050053 h 1240971"/>
              <a:gd name="connsiteX55" fmla="*/ 1120454 w 5662407"/>
              <a:gd name="connsiteY55" fmla="*/ 1040004 h 1240971"/>
              <a:gd name="connsiteX56" fmla="*/ 1135527 w 5662407"/>
              <a:gd name="connsiteY56" fmla="*/ 1034980 h 1240971"/>
              <a:gd name="connsiteX57" fmla="*/ 1160648 w 5662407"/>
              <a:gd name="connsiteY57" fmla="*/ 1019908 h 1240971"/>
              <a:gd name="connsiteX58" fmla="*/ 1175720 w 5662407"/>
              <a:gd name="connsiteY58" fmla="*/ 1014883 h 1240971"/>
              <a:gd name="connsiteX59" fmla="*/ 1195817 w 5662407"/>
              <a:gd name="connsiteY59" fmla="*/ 1004835 h 1240971"/>
              <a:gd name="connsiteX60" fmla="*/ 1281228 w 5662407"/>
              <a:gd name="connsiteY60" fmla="*/ 1014883 h 1240971"/>
              <a:gd name="connsiteX61" fmla="*/ 1296300 w 5662407"/>
              <a:gd name="connsiteY61" fmla="*/ 1024932 h 1240971"/>
              <a:gd name="connsiteX62" fmla="*/ 1311373 w 5662407"/>
              <a:gd name="connsiteY62" fmla="*/ 1029956 h 1240971"/>
              <a:gd name="connsiteX63" fmla="*/ 1326446 w 5662407"/>
              <a:gd name="connsiteY63" fmla="*/ 1060101 h 1240971"/>
              <a:gd name="connsiteX64" fmla="*/ 1341518 w 5662407"/>
              <a:gd name="connsiteY64" fmla="*/ 1065125 h 1240971"/>
              <a:gd name="connsiteX65" fmla="*/ 1356591 w 5662407"/>
              <a:gd name="connsiteY65" fmla="*/ 1075173 h 1240971"/>
              <a:gd name="connsiteX66" fmla="*/ 1396784 w 5662407"/>
              <a:gd name="connsiteY66" fmla="*/ 1090246 h 1240971"/>
              <a:gd name="connsiteX67" fmla="*/ 1447026 w 5662407"/>
              <a:gd name="connsiteY67" fmla="*/ 1105319 h 1240971"/>
              <a:gd name="connsiteX68" fmla="*/ 1462098 w 5662407"/>
              <a:gd name="connsiteY68" fmla="*/ 1110343 h 1240971"/>
              <a:gd name="connsiteX69" fmla="*/ 1497267 w 5662407"/>
              <a:gd name="connsiteY69" fmla="*/ 1120391 h 1240971"/>
              <a:gd name="connsiteX70" fmla="*/ 1552533 w 5662407"/>
              <a:gd name="connsiteY70" fmla="*/ 1115367 h 1240971"/>
              <a:gd name="connsiteX71" fmla="*/ 1567606 w 5662407"/>
              <a:gd name="connsiteY71" fmla="*/ 1110343 h 1240971"/>
              <a:gd name="connsiteX72" fmla="*/ 1587703 w 5662407"/>
              <a:gd name="connsiteY72" fmla="*/ 1090246 h 1240971"/>
              <a:gd name="connsiteX73" fmla="*/ 1637944 w 5662407"/>
              <a:gd name="connsiteY73" fmla="*/ 1050053 h 1240971"/>
              <a:gd name="connsiteX74" fmla="*/ 1653017 w 5662407"/>
              <a:gd name="connsiteY74" fmla="*/ 1029956 h 1240971"/>
              <a:gd name="connsiteX75" fmla="*/ 1688186 w 5662407"/>
              <a:gd name="connsiteY75" fmla="*/ 1019908 h 1240971"/>
              <a:gd name="connsiteX76" fmla="*/ 1788670 w 5662407"/>
              <a:gd name="connsiteY76" fmla="*/ 1029956 h 1240971"/>
              <a:gd name="connsiteX77" fmla="*/ 1818815 w 5662407"/>
              <a:gd name="connsiteY77" fmla="*/ 1040004 h 1240971"/>
              <a:gd name="connsiteX78" fmla="*/ 1853984 w 5662407"/>
              <a:gd name="connsiteY78" fmla="*/ 1050053 h 1240971"/>
              <a:gd name="connsiteX79" fmla="*/ 1869056 w 5662407"/>
              <a:gd name="connsiteY79" fmla="*/ 1060101 h 1240971"/>
              <a:gd name="connsiteX80" fmla="*/ 1894177 w 5662407"/>
              <a:gd name="connsiteY80" fmla="*/ 1065125 h 1240971"/>
              <a:gd name="connsiteX81" fmla="*/ 1949443 w 5662407"/>
              <a:gd name="connsiteY81" fmla="*/ 1085222 h 1240971"/>
              <a:gd name="connsiteX82" fmla="*/ 1969540 w 5662407"/>
              <a:gd name="connsiteY82" fmla="*/ 1090246 h 1240971"/>
              <a:gd name="connsiteX83" fmla="*/ 2014758 w 5662407"/>
              <a:gd name="connsiteY83" fmla="*/ 1110343 h 1240971"/>
              <a:gd name="connsiteX84" fmla="*/ 2039878 w 5662407"/>
              <a:gd name="connsiteY84" fmla="*/ 1125415 h 1240971"/>
              <a:gd name="connsiteX85" fmla="*/ 2120265 w 5662407"/>
              <a:gd name="connsiteY85" fmla="*/ 1120391 h 1240971"/>
              <a:gd name="connsiteX86" fmla="*/ 2130314 w 5662407"/>
              <a:gd name="connsiteY86" fmla="*/ 1110343 h 1240971"/>
              <a:gd name="connsiteX87" fmla="*/ 2155435 w 5662407"/>
              <a:gd name="connsiteY87" fmla="*/ 1100294 h 1240971"/>
              <a:gd name="connsiteX88" fmla="*/ 2190604 w 5662407"/>
              <a:gd name="connsiteY88" fmla="*/ 1070149 h 1240971"/>
              <a:gd name="connsiteX89" fmla="*/ 2230797 w 5662407"/>
              <a:gd name="connsiteY89" fmla="*/ 1040004 h 1240971"/>
              <a:gd name="connsiteX90" fmla="*/ 2245870 w 5662407"/>
              <a:gd name="connsiteY90" fmla="*/ 1034980 h 1240971"/>
              <a:gd name="connsiteX91" fmla="*/ 2270991 w 5662407"/>
              <a:gd name="connsiteY91" fmla="*/ 1019908 h 1240971"/>
              <a:gd name="connsiteX92" fmla="*/ 2301136 w 5662407"/>
              <a:gd name="connsiteY92" fmla="*/ 994787 h 1240971"/>
              <a:gd name="connsiteX93" fmla="*/ 2316208 w 5662407"/>
              <a:gd name="connsiteY93" fmla="*/ 989763 h 1240971"/>
              <a:gd name="connsiteX94" fmla="*/ 2396595 w 5662407"/>
              <a:gd name="connsiteY94" fmla="*/ 984738 h 1240971"/>
              <a:gd name="connsiteX95" fmla="*/ 2426740 w 5662407"/>
              <a:gd name="connsiteY95" fmla="*/ 989763 h 1240971"/>
              <a:gd name="connsiteX96" fmla="*/ 2461909 w 5662407"/>
              <a:gd name="connsiteY96" fmla="*/ 1024932 h 1240971"/>
              <a:gd name="connsiteX97" fmla="*/ 2476982 w 5662407"/>
              <a:gd name="connsiteY97" fmla="*/ 1029956 h 1240971"/>
              <a:gd name="connsiteX98" fmla="*/ 2487030 w 5662407"/>
              <a:gd name="connsiteY98" fmla="*/ 1045028 h 1240971"/>
              <a:gd name="connsiteX99" fmla="*/ 2497078 w 5662407"/>
              <a:gd name="connsiteY99" fmla="*/ 1055077 h 1240971"/>
              <a:gd name="connsiteX100" fmla="*/ 2532248 w 5662407"/>
              <a:gd name="connsiteY100" fmla="*/ 1095270 h 1240971"/>
              <a:gd name="connsiteX101" fmla="*/ 2567417 w 5662407"/>
              <a:gd name="connsiteY101" fmla="*/ 1135464 h 1240971"/>
              <a:gd name="connsiteX102" fmla="*/ 2582489 w 5662407"/>
              <a:gd name="connsiteY102" fmla="*/ 1145512 h 1240971"/>
              <a:gd name="connsiteX103" fmla="*/ 2622683 w 5662407"/>
              <a:gd name="connsiteY103" fmla="*/ 1170633 h 1240971"/>
              <a:gd name="connsiteX104" fmla="*/ 2657852 w 5662407"/>
              <a:gd name="connsiteY104" fmla="*/ 1160584 h 1240971"/>
              <a:gd name="connsiteX105" fmla="*/ 2682973 w 5662407"/>
              <a:gd name="connsiteY105" fmla="*/ 1145512 h 1240971"/>
              <a:gd name="connsiteX106" fmla="*/ 2713118 w 5662407"/>
              <a:gd name="connsiteY106" fmla="*/ 1130439 h 1240971"/>
              <a:gd name="connsiteX107" fmla="*/ 2728191 w 5662407"/>
              <a:gd name="connsiteY107" fmla="*/ 1120391 h 1240971"/>
              <a:gd name="connsiteX108" fmla="*/ 2748287 w 5662407"/>
              <a:gd name="connsiteY108" fmla="*/ 1115367 h 1240971"/>
              <a:gd name="connsiteX109" fmla="*/ 2778432 w 5662407"/>
              <a:gd name="connsiteY109" fmla="*/ 1105319 h 1240971"/>
              <a:gd name="connsiteX110" fmla="*/ 2868867 w 5662407"/>
              <a:gd name="connsiteY110" fmla="*/ 1075173 h 1240971"/>
              <a:gd name="connsiteX111" fmla="*/ 2893988 w 5662407"/>
              <a:gd name="connsiteY111" fmla="*/ 1070149 h 1240971"/>
              <a:gd name="connsiteX112" fmla="*/ 2919109 w 5662407"/>
              <a:gd name="connsiteY112" fmla="*/ 1075173 h 1240971"/>
              <a:gd name="connsiteX113" fmla="*/ 2934182 w 5662407"/>
              <a:gd name="connsiteY113" fmla="*/ 1080198 h 1240971"/>
              <a:gd name="connsiteX114" fmla="*/ 2944230 w 5662407"/>
              <a:gd name="connsiteY114" fmla="*/ 1110343 h 1240971"/>
              <a:gd name="connsiteX115" fmla="*/ 2959303 w 5662407"/>
              <a:gd name="connsiteY115" fmla="*/ 1125415 h 1240971"/>
              <a:gd name="connsiteX116" fmla="*/ 2979399 w 5662407"/>
              <a:gd name="connsiteY116" fmla="*/ 1155560 h 1240971"/>
              <a:gd name="connsiteX117" fmla="*/ 2994472 w 5662407"/>
              <a:gd name="connsiteY117" fmla="*/ 1160584 h 1240971"/>
              <a:gd name="connsiteX118" fmla="*/ 3014569 w 5662407"/>
              <a:gd name="connsiteY118" fmla="*/ 1180681 h 1240971"/>
              <a:gd name="connsiteX119" fmla="*/ 3024617 w 5662407"/>
              <a:gd name="connsiteY119" fmla="*/ 1190730 h 1240971"/>
              <a:gd name="connsiteX120" fmla="*/ 3069835 w 5662407"/>
              <a:gd name="connsiteY120" fmla="*/ 1215850 h 1240971"/>
              <a:gd name="connsiteX121" fmla="*/ 3079883 w 5662407"/>
              <a:gd name="connsiteY121" fmla="*/ 1225899 h 1240971"/>
              <a:gd name="connsiteX122" fmla="*/ 3099980 w 5662407"/>
              <a:gd name="connsiteY122" fmla="*/ 1230923 h 1240971"/>
              <a:gd name="connsiteX123" fmla="*/ 3130125 w 5662407"/>
              <a:gd name="connsiteY123" fmla="*/ 1240971 h 1240971"/>
              <a:gd name="connsiteX124" fmla="*/ 3180366 w 5662407"/>
              <a:gd name="connsiteY124" fmla="*/ 1235947 h 1240971"/>
              <a:gd name="connsiteX125" fmla="*/ 3195439 w 5662407"/>
              <a:gd name="connsiteY125" fmla="*/ 1225899 h 1240971"/>
              <a:gd name="connsiteX126" fmla="*/ 3220560 w 5662407"/>
              <a:gd name="connsiteY126" fmla="*/ 1215850 h 1240971"/>
              <a:gd name="connsiteX127" fmla="*/ 3255729 w 5662407"/>
              <a:gd name="connsiteY127" fmla="*/ 1185705 h 1240971"/>
              <a:gd name="connsiteX128" fmla="*/ 3295922 w 5662407"/>
              <a:gd name="connsiteY128" fmla="*/ 1160584 h 1240971"/>
              <a:gd name="connsiteX129" fmla="*/ 3310995 w 5662407"/>
              <a:gd name="connsiteY129" fmla="*/ 1145512 h 1240971"/>
              <a:gd name="connsiteX130" fmla="*/ 3351188 w 5662407"/>
              <a:gd name="connsiteY130" fmla="*/ 1140488 h 1240971"/>
              <a:gd name="connsiteX131" fmla="*/ 3406454 w 5662407"/>
              <a:gd name="connsiteY131" fmla="*/ 1155560 h 1240971"/>
              <a:gd name="connsiteX132" fmla="*/ 3426551 w 5662407"/>
              <a:gd name="connsiteY132" fmla="*/ 1165609 h 1240971"/>
              <a:gd name="connsiteX133" fmla="*/ 3441624 w 5662407"/>
              <a:gd name="connsiteY133" fmla="*/ 1175657 h 1240971"/>
              <a:gd name="connsiteX134" fmla="*/ 3456696 w 5662407"/>
              <a:gd name="connsiteY134" fmla="*/ 1180681 h 1240971"/>
              <a:gd name="connsiteX135" fmla="*/ 3466744 w 5662407"/>
              <a:gd name="connsiteY135" fmla="*/ 1195754 h 1240971"/>
              <a:gd name="connsiteX136" fmla="*/ 3527035 w 5662407"/>
              <a:gd name="connsiteY136" fmla="*/ 1200778 h 1240971"/>
              <a:gd name="connsiteX137" fmla="*/ 3542107 w 5662407"/>
              <a:gd name="connsiteY137" fmla="*/ 1190730 h 1240971"/>
              <a:gd name="connsiteX138" fmla="*/ 3567228 w 5662407"/>
              <a:gd name="connsiteY138" fmla="*/ 1180681 h 1240971"/>
              <a:gd name="connsiteX139" fmla="*/ 3587325 w 5662407"/>
              <a:gd name="connsiteY139" fmla="*/ 1150536 h 1240971"/>
              <a:gd name="connsiteX140" fmla="*/ 3617470 w 5662407"/>
              <a:gd name="connsiteY140" fmla="*/ 1125415 h 1240971"/>
              <a:gd name="connsiteX141" fmla="*/ 3632542 w 5662407"/>
              <a:gd name="connsiteY141" fmla="*/ 1105319 h 1240971"/>
              <a:gd name="connsiteX142" fmla="*/ 3662687 w 5662407"/>
              <a:gd name="connsiteY142" fmla="*/ 1085222 h 1240971"/>
              <a:gd name="connsiteX143" fmla="*/ 3697856 w 5662407"/>
              <a:gd name="connsiteY143" fmla="*/ 1070149 h 1240971"/>
              <a:gd name="connsiteX144" fmla="*/ 3707905 w 5662407"/>
              <a:gd name="connsiteY144" fmla="*/ 1060101 h 1240971"/>
              <a:gd name="connsiteX145" fmla="*/ 3743074 w 5662407"/>
              <a:gd name="connsiteY145" fmla="*/ 1040004 h 1240971"/>
              <a:gd name="connsiteX146" fmla="*/ 3813413 w 5662407"/>
              <a:gd name="connsiteY146" fmla="*/ 1024932 h 1240971"/>
              <a:gd name="connsiteX147" fmla="*/ 3833509 w 5662407"/>
              <a:gd name="connsiteY147" fmla="*/ 1014883 h 1240971"/>
              <a:gd name="connsiteX148" fmla="*/ 3858630 w 5662407"/>
              <a:gd name="connsiteY148" fmla="*/ 1009859 h 1240971"/>
              <a:gd name="connsiteX149" fmla="*/ 3873703 w 5662407"/>
              <a:gd name="connsiteY149" fmla="*/ 1004835 h 1240971"/>
              <a:gd name="connsiteX150" fmla="*/ 3923944 w 5662407"/>
              <a:gd name="connsiteY150" fmla="*/ 1014883 h 1240971"/>
              <a:gd name="connsiteX151" fmla="*/ 3933993 w 5662407"/>
              <a:gd name="connsiteY151" fmla="*/ 1029956 h 1240971"/>
              <a:gd name="connsiteX152" fmla="*/ 3964138 w 5662407"/>
              <a:gd name="connsiteY152" fmla="*/ 1075173 h 1240971"/>
              <a:gd name="connsiteX153" fmla="*/ 3969162 w 5662407"/>
              <a:gd name="connsiteY153" fmla="*/ 1100294 h 1240971"/>
              <a:gd name="connsiteX154" fmla="*/ 3979210 w 5662407"/>
              <a:gd name="connsiteY154" fmla="*/ 1110343 h 1240971"/>
              <a:gd name="connsiteX155" fmla="*/ 3984235 w 5662407"/>
              <a:gd name="connsiteY155" fmla="*/ 1130439 h 1240971"/>
              <a:gd name="connsiteX156" fmla="*/ 4019404 w 5662407"/>
              <a:gd name="connsiteY156" fmla="*/ 1165609 h 1240971"/>
              <a:gd name="connsiteX157" fmla="*/ 4064621 w 5662407"/>
              <a:gd name="connsiteY157" fmla="*/ 1150536 h 1240971"/>
              <a:gd name="connsiteX158" fmla="*/ 4079694 w 5662407"/>
              <a:gd name="connsiteY158" fmla="*/ 1125415 h 1240971"/>
              <a:gd name="connsiteX159" fmla="*/ 4099791 w 5662407"/>
              <a:gd name="connsiteY159" fmla="*/ 1105319 h 1240971"/>
              <a:gd name="connsiteX160" fmla="*/ 4129936 w 5662407"/>
              <a:gd name="connsiteY160" fmla="*/ 1075173 h 1240971"/>
              <a:gd name="connsiteX161" fmla="*/ 4150032 w 5662407"/>
              <a:gd name="connsiteY161" fmla="*/ 1040004 h 1240971"/>
              <a:gd name="connsiteX162" fmla="*/ 4160081 w 5662407"/>
              <a:gd name="connsiteY162" fmla="*/ 1019908 h 1240971"/>
              <a:gd name="connsiteX163" fmla="*/ 4165105 w 5662407"/>
              <a:gd name="connsiteY163" fmla="*/ 1004835 h 1240971"/>
              <a:gd name="connsiteX164" fmla="*/ 4185202 w 5662407"/>
              <a:gd name="connsiteY164" fmla="*/ 984738 h 1240971"/>
              <a:gd name="connsiteX165" fmla="*/ 4200274 w 5662407"/>
              <a:gd name="connsiteY165" fmla="*/ 979714 h 1240971"/>
              <a:gd name="connsiteX166" fmla="*/ 4235443 w 5662407"/>
              <a:gd name="connsiteY166" fmla="*/ 954593 h 1240971"/>
              <a:gd name="connsiteX167" fmla="*/ 4275637 w 5662407"/>
              <a:gd name="connsiteY167" fmla="*/ 934497 h 1240971"/>
              <a:gd name="connsiteX168" fmla="*/ 4310806 w 5662407"/>
              <a:gd name="connsiteY168" fmla="*/ 914400 h 1240971"/>
              <a:gd name="connsiteX169" fmla="*/ 4325878 w 5662407"/>
              <a:gd name="connsiteY169" fmla="*/ 904352 h 1240971"/>
              <a:gd name="connsiteX170" fmla="*/ 4381144 w 5662407"/>
              <a:gd name="connsiteY170" fmla="*/ 904352 h 1240971"/>
              <a:gd name="connsiteX171" fmla="*/ 4401241 w 5662407"/>
              <a:gd name="connsiteY171" fmla="*/ 914400 h 1240971"/>
              <a:gd name="connsiteX172" fmla="*/ 4416314 w 5662407"/>
              <a:gd name="connsiteY172" fmla="*/ 919424 h 1240971"/>
              <a:gd name="connsiteX173" fmla="*/ 4431386 w 5662407"/>
              <a:gd name="connsiteY173" fmla="*/ 929472 h 1240971"/>
              <a:gd name="connsiteX174" fmla="*/ 4456507 w 5662407"/>
              <a:gd name="connsiteY174" fmla="*/ 974690 h 1240971"/>
              <a:gd name="connsiteX175" fmla="*/ 4476604 w 5662407"/>
              <a:gd name="connsiteY175" fmla="*/ 999811 h 1240971"/>
              <a:gd name="connsiteX176" fmla="*/ 4567039 w 5662407"/>
              <a:gd name="connsiteY176" fmla="*/ 994787 h 1240971"/>
              <a:gd name="connsiteX177" fmla="*/ 4597184 w 5662407"/>
              <a:gd name="connsiteY177" fmla="*/ 969666 h 1240971"/>
              <a:gd name="connsiteX178" fmla="*/ 4617281 w 5662407"/>
              <a:gd name="connsiteY178" fmla="*/ 959617 h 1240971"/>
              <a:gd name="connsiteX179" fmla="*/ 4632353 w 5662407"/>
              <a:gd name="connsiteY179" fmla="*/ 944545 h 1240971"/>
              <a:gd name="connsiteX180" fmla="*/ 4652450 w 5662407"/>
              <a:gd name="connsiteY180" fmla="*/ 934497 h 1240971"/>
              <a:gd name="connsiteX181" fmla="*/ 4672547 w 5662407"/>
              <a:gd name="connsiteY181" fmla="*/ 919424 h 1240971"/>
              <a:gd name="connsiteX182" fmla="*/ 4737861 w 5662407"/>
              <a:gd name="connsiteY182" fmla="*/ 884255 h 1240971"/>
              <a:gd name="connsiteX183" fmla="*/ 4762982 w 5662407"/>
              <a:gd name="connsiteY183" fmla="*/ 879231 h 1240971"/>
              <a:gd name="connsiteX184" fmla="*/ 4778054 w 5662407"/>
              <a:gd name="connsiteY184" fmla="*/ 874206 h 1240971"/>
              <a:gd name="connsiteX185" fmla="*/ 4819294 w 5662407"/>
              <a:gd name="connsiteY185" fmla="*/ 873944 h 1240971"/>
              <a:gd name="connsiteX186" fmla="*/ 4877465 w 5662407"/>
              <a:gd name="connsiteY186" fmla="*/ 895638 h 1240971"/>
              <a:gd name="connsiteX187" fmla="*/ 4935347 w 5662407"/>
              <a:gd name="connsiteY187" fmla="*/ 934523 h 1240971"/>
              <a:gd name="connsiteX188" fmla="*/ 4995402 w 5662407"/>
              <a:gd name="connsiteY188" fmla="*/ 1006746 h 1240971"/>
              <a:gd name="connsiteX189" fmla="*/ 5024762 w 5662407"/>
              <a:gd name="connsiteY189" fmla="*/ 1051963 h 1240971"/>
              <a:gd name="connsiteX190" fmla="*/ 5092223 w 5662407"/>
              <a:gd name="connsiteY190" fmla="*/ 1016506 h 1240971"/>
              <a:gd name="connsiteX191" fmla="*/ 5144322 w 5662407"/>
              <a:gd name="connsiteY191" fmla="*/ 948261 h 1240971"/>
              <a:gd name="connsiteX192" fmla="*/ 5189252 w 5662407"/>
              <a:gd name="connsiteY192" fmla="*/ 886112 h 1240971"/>
              <a:gd name="connsiteX193" fmla="*/ 5226279 w 5662407"/>
              <a:gd name="connsiteY193" fmla="*/ 856230 h 1240971"/>
              <a:gd name="connsiteX194" fmla="*/ 5260637 w 5662407"/>
              <a:gd name="connsiteY194" fmla="*/ 822918 h 1240971"/>
              <a:gd name="connsiteX195" fmla="*/ 5295282 w 5662407"/>
              <a:gd name="connsiteY195" fmla="*/ 800440 h 1240971"/>
              <a:gd name="connsiteX196" fmla="*/ 5334430 w 5662407"/>
              <a:gd name="connsiteY196" fmla="*/ 794893 h 1240971"/>
              <a:gd name="connsiteX197" fmla="*/ 5412174 w 5662407"/>
              <a:gd name="connsiteY197" fmla="*/ 824252 h 1240971"/>
              <a:gd name="connsiteX198" fmla="*/ 5431197 w 5662407"/>
              <a:gd name="connsiteY198" fmla="*/ 768699 h 1240971"/>
              <a:gd name="connsiteX199" fmla="*/ 5441246 w 5662407"/>
              <a:gd name="connsiteY199" fmla="*/ 753626 h 1240971"/>
              <a:gd name="connsiteX200" fmla="*/ 5456318 w 5662407"/>
              <a:gd name="connsiteY200" fmla="*/ 708409 h 1240971"/>
              <a:gd name="connsiteX201" fmla="*/ 5466366 w 5662407"/>
              <a:gd name="connsiteY201" fmla="*/ 683288 h 1240971"/>
              <a:gd name="connsiteX202" fmla="*/ 5476415 w 5662407"/>
              <a:gd name="connsiteY202" fmla="*/ 643094 h 1240971"/>
              <a:gd name="connsiteX203" fmla="*/ 5491487 w 5662407"/>
              <a:gd name="connsiteY203" fmla="*/ 617973 h 1240971"/>
              <a:gd name="connsiteX204" fmla="*/ 5506560 w 5662407"/>
              <a:gd name="connsiteY204" fmla="*/ 572756 h 1240971"/>
              <a:gd name="connsiteX205" fmla="*/ 5526656 w 5662407"/>
              <a:gd name="connsiteY205" fmla="*/ 522514 h 1240971"/>
              <a:gd name="connsiteX206" fmla="*/ 5546753 w 5662407"/>
              <a:gd name="connsiteY206" fmla="*/ 467248 h 1240971"/>
              <a:gd name="connsiteX207" fmla="*/ 5556802 w 5662407"/>
              <a:gd name="connsiteY207" fmla="*/ 411982 h 1240971"/>
              <a:gd name="connsiteX208" fmla="*/ 5566850 w 5662407"/>
              <a:gd name="connsiteY208" fmla="*/ 381837 h 1240971"/>
              <a:gd name="connsiteX209" fmla="*/ 5576898 w 5662407"/>
              <a:gd name="connsiteY209" fmla="*/ 356716 h 1240971"/>
              <a:gd name="connsiteX210" fmla="*/ 5596995 w 5662407"/>
              <a:gd name="connsiteY210" fmla="*/ 316523 h 1240971"/>
              <a:gd name="connsiteX211" fmla="*/ 5617092 w 5662407"/>
              <a:gd name="connsiteY211" fmla="*/ 246184 h 1240971"/>
              <a:gd name="connsiteX212" fmla="*/ 5622116 w 5662407"/>
              <a:gd name="connsiteY212" fmla="*/ 226088 h 1240971"/>
              <a:gd name="connsiteX213" fmla="*/ 5632164 w 5662407"/>
              <a:gd name="connsiteY213" fmla="*/ 216039 h 1240971"/>
              <a:gd name="connsiteX214" fmla="*/ 5637188 w 5662407"/>
              <a:gd name="connsiteY214" fmla="*/ 200967 h 1240971"/>
              <a:gd name="connsiteX215" fmla="*/ 5642213 w 5662407"/>
              <a:gd name="connsiteY215" fmla="*/ 180870 h 1240971"/>
              <a:gd name="connsiteX216" fmla="*/ 5652261 w 5662407"/>
              <a:gd name="connsiteY216" fmla="*/ 165798 h 1240971"/>
              <a:gd name="connsiteX217" fmla="*/ 5662309 w 5662407"/>
              <a:gd name="connsiteY217" fmla="*/ 115556 h 1240971"/>
              <a:gd name="connsiteX218" fmla="*/ 5657285 w 5662407"/>
              <a:gd name="connsiteY218" fmla="*/ 80387 h 1240971"/>
              <a:gd name="connsiteX219" fmla="*/ 5624759 w 5662407"/>
              <a:gd name="connsiteY219" fmla="*/ 46788 h 1240971"/>
              <a:gd name="connsiteX220" fmla="*/ 5575040 w 5662407"/>
              <a:gd name="connsiteY220" fmla="*/ 39120 h 1240971"/>
              <a:gd name="connsiteX221" fmla="*/ 5470369 w 5662407"/>
              <a:gd name="connsiteY221" fmla="*/ 39381 h 1240971"/>
              <a:gd name="connsiteX222" fmla="*/ 5379124 w 5662407"/>
              <a:gd name="connsiteY222" fmla="*/ 39644 h 1240971"/>
              <a:gd name="connsiteX223" fmla="*/ 5323570 w 5662407"/>
              <a:gd name="connsiteY223" fmla="*/ 61337 h 1240971"/>
              <a:gd name="connsiteX224" fmla="*/ 5238682 w 5662407"/>
              <a:gd name="connsiteY224" fmla="*/ 54455 h 1240971"/>
              <a:gd name="connsiteX225" fmla="*/ 5075554 w 5662407"/>
              <a:gd name="connsiteY225" fmla="*/ 56574 h 1240971"/>
              <a:gd name="connsiteX226" fmla="*/ 4989070 w 5662407"/>
              <a:gd name="connsiteY226" fmla="*/ 65314 h 1240971"/>
              <a:gd name="connsiteX227" fmla="*/ 4943852 w 5662407"/>
              <a:gd name="connsiteY227" fmla="*/ 60290 h 1240971"/>
              <a:gd name="connsiteX228" fmla="*/ 4823272 w 5662407"/>
              <a:gd name="connsiteY228" fmla="*/ 50242 h 1240971"/>
              <a:gd name="connsiteX229" fmla="*/ 4677571 w 5662407"/>
              <a:gd name="connsiteY229" fmla="*/ 55266 h 1240971"/>
              <a:gd name="connsiteX230" fmla="*/ 4647426 w 5662407"/>
              <a:gd name="connsiteY230" fmla="*/ 60290 h 1240971"/>
              <a:gd name="connsiteX231" fmla="*/ 4577087 w 5662407"/>
              <a:gd name="connsiteY231" fmla="*/ 65314 h 1240971"/>
              <a:gd name="connsiteX232" fmla="*/ 4486652 w 5662407"/>
              <a:gd name="connsiteY232" fmla="*/ 75363 h 1240971"/>
              <a:gd name="connsiteX233" fmla="*/ 4139984 w 5662407"/>
              <a:gd name="connsiteY233" fmla="*/ 60290 h 1240971"/>
              <a:gd name="connsiteX234" fmla="*/ 3918920 w 5662407"/>
              <a:gd name="connsiteY234" fmla="*/ 50242 h 1240971"/>
              <a:gd name="connsiteX235" fmla="*/ 3873703 w 5662407"/>
              <a:gd name="connsiteY235" fmla="*/ 45217 h 1240971"/>
              <a:gd name="connsiteX236" fmla="*/ 3687808 w 5662407"/>
              <a:gd name="connsiteY236" fmla="*/ 40193 h 1240971"/>
              <a:gd name="connsiteX237" fmla="*/ 3662687 w 5662407"/>
              <a:gd name="connsiteY237" fmla="*/ 35169 h 1240971"/>
              <a:gd name="connsiteX238" fmla="*/ 3627518 w 5662407"/>
              <a:gd name="connsiteY238" fmla="*/ 25121 h 1240971"/>
              <a:gd name="connsiteX239" fmla="*/ 3547131 w 5662407"/>
              <a:gd name="connsiteY239" fmla="*/ 20097 h 1240971"/>
              <a:gd name="connsiteX240" fmla="*/ 3310995 w 5662407"/>
              <a:gd name="connsiteY240" fmla="*/ 25121 h 1240971"/>
              <a:gd name="connsiteX241" fmla="*/ 3265777 w 5662407"/>
              <a:gd name="connsiteY241" fmla="*/ 30145 h 1240971"/>
              <a:gd name="connsiteX242" fmla="*/ 3175342 w 5662407"/>
              <a:gd name="connsiteY242" fmla="*/ 35169 h 1240971"/>
              <a:gd name="connsiteX243" fmla="*/ 2582489 w 5662407"/>
              <a:gd name="connsiteY243" fmla="*/ 45217 h 1240971"/>
              <a:gd name="connsiteX244" fmla="*/ 2255918 w 5662407"/>
              <a:gd name="connsiteY244" fmla="*/ 40193 h 1240971"/>
              <a:gd name="connsiteX245" fmla="*/ 1974564 w 5662407"/>
              <a:gd name="connsiteY245" fmla="*/ 30145 h 1240971"/>
              <a:gd name="connsiteX246" fmla="*/ 1944419 w 5662407"/>
              <a:gd name="connsiteY246" fmla="*/ 25121 h 1240971"/>
              <a:gd name="connsiteX247" fmla="*/ 1848960 w 5662407"/>
              <a:gd name="connsiteY247" fmla="*/ 20097 h 1240971"/>
              <a:gd name="connsiteX248" fmla="*/ 1768573 w 5662407"/>
              <a:gd name="connsiteY248" fmla="*/ 10048 h 1240971"/>
              <a:gd name="connsiteX249" fmla="*/ 1502292 w 5662407"/>
              <a:gd name="connsiteY249" fmla="*/ 20097 h 1240971"/>
              <a:gd name="connsiteX250" fmla="*/ 1467122 w 5662407"/>
              <a:gd name="connsiteY250" fmla="*/ 25121 h 1240971"/>
              <a:gd name="connsiteX251" fmla="*/ 1426929 w 5662407"/>
              <a:gd name="connsiteY251" fmla="*/ 30145 h 1240971"/>
              <a:gd name="connsiteX252" fmla="*/ 1341518 w 5662407"/>
              <a:gd name="connsiteY252" fmla="*/ 45217 h 1240971"/>
              <a:gd name="connsiteX253" fmla="*/ 1095333 w 5662407"/>
              <a:gd name="connsiteY253" fmla="*/ 35169 h 1240971"/>
              <a:gd name="connsiteX254" fmla="*/ 979777 w 5662407"/>
              <a:gd name="connsiteY254" fmla="*/ 20097 h 1240971"/>
              <a:gd name="connsiteX255" fmla="*/ 939584 w 5662407"/>
              <a:gd name="connsiteY255" fmla="*/ 10048 h 1240971"/>
              <a:gd name="connsiteX256" fmla="*/ 813980 w 5662407"/>
              <a:gd name="connsiteY256" fmla="*/ 0 h 1240971"/>
              <a:gd name="connsiteX257" fmla="*/ 743641 w 5662407"/>
              <a:gd name="connsiteY257" fmla="*/ 5024 h 1240971"/>
              <a:gd name="connsiteX258" fmla="*/ 582867 w 5662407"/>
              <a:gd name="connsiteY258" fmla="*/ 15072 h 1240971"/>
              <a:gd name="connsiteX259" fmla="*/ 432142 w 5662407"/>
              <a:gd name="connsiteY259" fmla="*/ 5024 h 1240971"/>
              <a:gd name="connsiteX260" fmla="*/ 412046 w 5662407"/>
              <a:gd name="connsiteY260" fmla="*/ 0 h 1240971"/>
              <a:gd name="connsiteX261" fmla="*/ 281417 w 5662407"/>
              <a:gd name="connsiteY261" fmla="*/ 10048 h 1240971"/>
              <a:gd name="connsiteX262" fmla="*/ 261320 w 5662407"/>
              <a:gd name="connsiteY262" fmla="*/ 15072 h 1240971"/>
              <a:gd name="connsiteX263" fmla="*/ 100547 w 5662407"/>
              <a:gd name="connsiteY263" fmla="*/ 20097 h 1240971"/>
              <a:gd name="connsiteX264" fmla="*/ 5087 w 5662407"/>
              <a:gd name="connsiteY264" fmla="*/ 30145 h 1240971"/>
              <a:gd name="connsiteX0" fmla="*/ 5087 w 5693265"/>
              <a:gd name="connsiteY0" fmla="*/ 30145 h 1240971"/>
              <a:gd name="connsiteX1" fmla="*/ 15136 w 5693265"/>
              <a:gd name="connsiteY1" fmla="*/ 115556 h 1240971"/>
              <a:gd name="connsiteX2" fmla="*/ 20160 w 5693265"/>
              <a:gd name="connsiteY2" fmla="*/ 150725 h 1240971"/>
              <a:gd name="connsiteX3" fmla="*/ 25184 w 5693265"/>
              <a:gd name="connsiteY3" fmla="*/ 236136 h 1240971"/>
              <a:gd name="connsiteX4" fmla="*/ 35232 w 5693265"/>
              <a:gd name="connsiteY4" fmla="*/ 311499 h 1240971"/>
              <a:gd name="connsiteX5" fmla="*/ 40256 w 5693265"/>
              <a:gd name="connsiteY5" fmla="*/ 783771 h 1240971"/>
              <a:gd name="connsiteX6" fmla="*/ 45281 w 5693265"/>
              <a:gd name="connsiteY6" fmla="*/ 864158 h 1240971"/>
              <a:gd name="connsiteX7" fmla="*/ 35232 w 5693265"/>
              <a:gd name="connsiteY7" fmla="*/ 1034980 h 1240971"/>
              <a:gd name="connsiteX8" fmla="*/ 25184 w 5693265"/>
              <a:gd name="connsiteY8" fmla="*/ 1100294 h 1240971"/>
              <a:gd name="connsiteX9" fmla="*/ 20160 w 5693265"/>
              <a:gd name="connsiteY9" fmla="*/ 1150536 h 1240971"/>
              <a:gd name="connsiteX10" fmla="*/ 25184 w 5693265"/>
              <a:gd name="connsiteY10" fmla="*/ 1170633 h 1240971"/>
              <a:gd name="connsiteX11" fmla="*/ 35232 w 5693265"/>
              <a:gd name="connsiteY11" fmla="*/ 1160584 h 1240971"/>
              <a:gd name="connsiteX12" fmla="*/ 55329 w 5693265"/>
              <a:gd name="connsiteY12" fmla="*/ 1100294 h 1240971"/>
              <a:gd name="connsiteX13" fmla="*/ 60353 w 5693265"/>
              <a:gd name="connsiteY13" fmla="*/ 1085222 h 1240971"/>
              <a:gd name="connsiteX14" fmla="*/ 70402 w 5693265"/>
              <a:gd name="connsiteY14" fmla="*/ 1075173 h 1240971"/>
              <a:gd name="connsiteX15" fmla="*/ 95522 w 5693265"/>
              <a:gd name="connsiteY15" fmla="*/ 1045028 h 1240971"/>
              <a:gd name="connsiteX16" fmla="*/ 110595 w 5693265"/>
              <a:gd name="connsiteY16" fmla="*/ 1040004 h 1240971"/>
              <a:gd name="connsiteX17" fmla="*/ 135716 w 5693265"/>
              <a:gd name="connsiteY17" fmla="*/ 1019908 h 1240971"/>
              <a:gd name="connsiteX18" fmla="*/ 150788 w 5693265"/>
              <a:gd name="connsiteY18" fmla="*/ 1009859 h 1240971"/>
              <a:gd name="connsiteX19" fmla="*/ 175909 w 5693265"/>
              <a:gd name="connsiteY19" fmla="*/ 994787 h 1240971"/>
              <a:gd name="connsiteX20" fmla="*/ 216103 w 5693265"/>
              <a:gd name="connsiteY20" fmla="*/ 984738 h 1240971"/>
              <a:gd name="connsiteX21" fmla="*/ 286441 w 5693265"/>
              <a:gd name="connsiteY21" fmla="*/ 994787 h 1240971"/>
              <a:gd name="connsiteX22" fmla="*/ 301514 w 5693265"/>
              <a:gd name="connsiteY22" fmla="*/ 1004835 h 1240971"/>
              <a:gd name="connsiteX23" fmla="*/ 321610 w 5693265"/>
              <a:gd name="connsiteY23" fmla="*/ 1034980 h 1240971"/>
              <a:gd name="connsiteX24" fmla="*/ 356780 w 5693265"/>
              <a:gd name="connsiteY24" fmla="*/ 1065125 h 1240971"/>
              <a:gd name="connsiteX25" fmla="*/ 366828 w 5693265"/>
              <a:gd name="connsiteY25" fmla="*/ 1080198 h 1240971"/>
              <a:gd name="connsiteX26" fmla="*/ 381900 w 5693265"/>
              <a:gd name="connsiteY26" fmla="*/ 1085222 h 1240971"/>
              <a:gd name="connsiteX27" fmla="*/ 396973 w 5693265"/>
              <a:gd name="connsiteY27" fmla="*/ 1095270 h 1240971"/>
              <a:gd name="connsiteX28" fmla="*/ 407021 w 5693265"/>
              <a:gd name="connsiteY28" fmla="*/ 1105319 h 1240971"/>
              <a:gd name="connsiteX29" fmla="*/ 422094 w 5693265"/>
              <a:gd name="connsiteY29" fmla="*/ 1110343 h 1240971"/>
              <a:gd name="connsiteX30" fmla="*/ 437166 w 5693265"/>
              <a:gd name="connsiteY30" fmla="*/ 1120391 h 1240971"/>
              <a:gd name="connsiteX31" fmla="*/ 467311 w 5693265"/>
              <a:gd name="connsiteY31" fmla="*/ 1130439 h 1240971"/>
              <a:gd name="connsiteX32" fmla="*/ 522577 w 5693265"/>
              <a:gd name="connsiteY32" fmla="*/ 1115367 h 1240971"/>
              <a:gd name="connsiteX33" fmla="*/ 552722 w 5693265"/>
              <a:gd name="connsiteY33" fmla="*/ 1075173 h 1240971"/>
              <a:gd name="connsiteX34" fmla="*/ 567795 w 5693265"/>
              <a:gd name="connsiteY34" fmla="*/ 1070149 h 1240971"/>
              <a:gd name="connsiteX35" fmla="*/ 582867 w 5693265"/>
              <a:gd name="connsiteY35" fmla="*/ 1060101 h 1240971"/>
              <a:gd name="connsiteX36" fmla="*/ 638133 w 5693265"/>
              <a:gd name="connsiteY36" fmla="*/ 1045028 h 1240971"/>
              <a:gd name="connsiteX37" fmla="*/ 653206 w 5693265"/>
              <a:gd name="connsiteY37" fmla="*/ 1040004 h 1240971"/>
              <a:gd name="connsiteX38" fmla="*/ 693399 w 5693265"/>
              <a:gd name="connsiteY38" fmla="*/ 1045028 h 1240971"/>
              <a:gd name="connsiteX39" fmla="*/ 723544 w 5693265"/>
              <a:gd name="connsiteY39" fmla="*/ 1055077 h 1240971"/>
              <a:gd name="connsiteX40" fmla="*/ 733593 w 5693265"/>
              <a:gd name="connsiteY40" fmla="*/ 1065125 h 1240971"/>
              <a:gd name="connsiteX41" fmla="*/ 768762 w 5693265"/>
              <a:gd name="connsiteY41" fmla="*/ 1080198 h 1240971"/>
              <a:gd name="connsiteX42" fmla="*/ 803931 w 5693265"/>
              <a:gd name="connsiteY42" fmla="*/ 1105319 h 1240971"/>
              <a:gd name="connsiteX43" fmla="*/ 834076 w 5693265"/>
              <a:gd name="connsiteY43" fmla="*/ 1130439 h 1240971"/>
              <a:gd name="connsiteX44" fmla="*/ 869246 w 5693265"/>
              <a:gd name="connsiteY44" fmla="*/ 1140488 h 1240971"/>
              <a:gd name="connsiteX45" fmla="*/ 909439 w 5693265"/>
              <a:gd name="connsiteY45" fmla="*/ 1175657 h 1240971"/>
              <a:gd name="connsiteX46" fmla="*/ 939584 w 5693265"/>
              <a:gd name="connsiteY46" fmla="*/ 1185705 h 1240971"/>
              <a:gd name="connsiteX47" fmla="*/ 979777 w 5693265"/>
              <a:gd name="connsiteY47" fmla="*/ 1180681 h 1240971"/>
              <a:gd name="connsiteX48" fmla="*/ 989826 w 5693265"/>
              <a:gd name="connsiteY48" fmla="*/ 1170633 h 1240971"/>
              <a:gd name="connsiteX49" fmla="*/ 1004898 w 5693265"/>
              <a:gd name="connsiteY49" fmla="*/ 1150536 h 1240971"/>
              <a:gd name="connsiteX50" fmla="*/ 1014947 w 5693265"/>
              <a:gd name="connsiteY50" fmla="*/ 1120391 h 1240971"/>
              <a:gd name="connsiteX51" fmla="*/ 1040067 w 5693265"/>
              <a:gd name="connsiteY51" fmla="*/ 1095270 h 1240971"/>
              <a:gd name="connsiteX52" fmla="*/ 1050116 w 5693265"/>
              <a:gd name="connsiteY52" fmla="*/ 1085222 h 1240971"/>
              <a:gd name="connsiteX53" fmla="*/ 1075237 w 5693265"/>
              <a:gd name="connsiteY53" fmla="*/ 1065125 h 1240971"/>
              <a:gd name="connsiteX54" fmla="*/ 1090309 w 5693265"/>
              <a:gd name="connsiteY54" fmla="*/ 1050053 h 1240971"/>
              <a:gd name="connsiteX55" fmla="*/ 1120454 w 5693265"/>
              <a:gd name="connsiteY55" fmla="*/ 1040004 h 1240971"/>
              <a:gd name="connsiteX56" fmla="*/ 1135527 w 5693265"/>
              <a:gd name="connsiteY56" fmla="*/ 1034980 h 1240971"/>
              <a:gd name="connsiteX57" fmla="*/ 1160648 w 5693265"/>
              <a:gd name="connsiteY57" fmla="*/ 1019908 h 1240971"/>
              <a:gd name="connsiteX58" fmla="*/ 1175720 w 5693265"/>
              <a:gd name="connsiteY58" fmla="*/ 1014883 h 1240971"/>
              <a:gd name="connsiteX59" fmla="*/ 1195817 w 5693265"/>
              <a:gd name="connsiteY59" fmla="*/ 1004835 h 1240971"/>
              <a:gd name="connsiteX60" fmla="*/ 1281228 w 5693265"/>
              <a:gd name="connsiteY60" fmla="*/ 1014883 h 1240971"/>
              <a:gd name="connsiteX61" fmla="*/ 1296300 w 5693265"/>
              <a:gd name="connsiteY61" fmla="*/ 1024932 h 1240971"/>
              <a:gd name="connsiteX62" fmla="*/ 1311373 w 5693265"/>
              <a:gd name="connsiteY62" fmla="*/ 1029956 h 1240971"/>
              <a:gd name="connsiteX63" fmla="*/ 1326446 w 5693265"/>
              <a:gd name="connsiteY63" fmla="*/ 1060101 h 1240971"/>
              <a:gd name="connsiteX64" fmla="*/ 1341518 w 5693265"/>
              <a:gd name="connsiteY64" fmla="*/ 1065125 h 1240971"/>
              <a:gd name="connsiteX65" fmla="*/ 1356591 w 5693265"/>
              <a:gd name="connsiteY65" fmla="*/ 1075173 h 1240971"/>
              <a:gd name="connsiteX66" fmla="*/ 1396784 w 5693265"/>
              <a:gd name="connsiteY66" fmla="*/ 1090246 h 1240971"/>
              <a:gd name="connsiteX67" fmla="*/ 1447026 w 5693265"/>
              <a:gd name="connsiteY67" fmla="*/ 1105319 h 1240971"/>
              <a:gd name="connsiteX68" fmla="*/ 1462098 w 5693265"/>
              <a:gd name="connsiteY68" fmla="*/ 1110343 h 1240971"/>
              <a:gd name="connsiteX69" fmla="*/ 1497267 w 5693265"/>
              <a:gd name="connsiteY69" fmla="*/ 1120391 h 1240971"/>
              <a:gd name="connsiteX70" fmla="*/ 1552533 w 5693265"/>
              <a:gd name="connsiteY70" fmla="*/ 1115367 h 1240971"/>
              <a:gd name="connsiteX71" fmla="*/ 1567606 w 5693265"/>
              <a:gd name="connsiteY71" fmla="*/ 1110343 h 1240971"/>
              <a:gd name="connsiteX72" fmla="*/ 1587703 w 5693265"/>
              <a:gd name="connsiteY72" fmla="*/ 1090246 h 1240971"/>
              <a:gd name="connsiteX73" fmla="*/ 1637944 w 5693265"/>
              <a:gd name="connsiteY73" fmla="*/ 1050053 h 1240971"/>
              <a:gd name="connsiteX74" fmla="*/ 1653017 w 5693265"/>
              <a:gd name="connsiteY74" fmla="*/ 1029956 h 1240971"/>
              <a:gd name="connsiteX75" fmla="*/ 1688186 w 5693265"/>
              <a:gd name="connsiteY75" fmla="*/ 1019908 h 1240971"/>
              <a:gd name="connsiteX76" fmla="*/ 1788670 w 5693265"/>
              <a:gd name="connsiteY76" fmla="*/ 1029956 h 1240971"/>
              <a:gd name="connsiteX77" fmla="*/ 1818815 w 5693265"/>
              <a:gd name="connsiteY77" fmla="*/ 1040004 h 1240971"/>
              <a:gd name="connsiteX78" fmla="*/ 1853984 w 5693265"/>
              <a:gd name="connsiteY78" fmla="*/ 1050053 h 1240971"/>
              <a:gd name="connsiteX79" fmla="*/ 1869056 w 5693265"/>
              <a:gd name="connsiteY79" fmla="*/ 1060101 h 1240971"/>
              <a:gd name="connsiteX80" fmla="*/ 1894177 w 5693265"/>
              <a:gd name="connsiteY80" fmla="*/ 1065125 h 1240971"/>
              <a:gd name="connsiteX81" fmla="*/ 1949443 w 5693265"/>
              <a:gd name="connsiteY81" fmla="*/ 1085222 h 1240971"/>
              <a:gd name="connsiteX82" fmla="*/ 1969540 w 5693265"/>
              <a:gd name="connsiteY82" fmla="*/ 1090246 h 1240971"/>
              <a:gd name="connsiteX83" fmla="*/ 2014758 w 5693265"/>
              <a:gd name="connsiteY83" fmla="*/ 1110343 h 1240971"/>
              <a:gd name="connsiteX84" fmla="*/ 2039878 w 5693265"/>
              <a:gd name="connsiteY84" fmla="*/ 1125415 h 1240971"/>
              <a:gd name="connsiteX85" fmla="*/ 2120265 w 5693265"/>
              <a:gd name="connsiteY85" fmla="*/ 1120391 h 1240971"/>
              <a:gd name="connsiteX86" fmla="*/ 2130314 w 5693265"/>
              <a:gd name="connsiteY86" fmla="*/ 1110343 h 1240971"/>
              <a:gd name="connsiteX87" fmla="*/ 2155435 w 5693265"/>
              <a:gd name="connsiteY87" fmla="*/ 1100294 h 1240971"/>
              <a:gd name="connsiteX88" fmla="*/ 2190604 w 5693265"/>
              <a:gd name="connsiteY88" fmla="*/ 1070149 h 1240971"/>
              <a:gd name="connsiteX89" fmla="*/ 2230797 w 5693265"/>
              <a:gd name="connsiteY89" fmla="*/ 1040004 h 1240971"/>
              <a:gd name="connsiteX90" fmla="*/ 2245870 w 5693265"/>
              <a:gd name="connsiteY90" fmla="*/ 1034980 h 1240971"/>
              <a:gd name="connsiteX91" fmla="*/ 2270991 w 5693265"/>
              <a:gd name="connsiteY91" fmla="*/ 1019908 h 1240971"/>
              <a:gd name="connsiteX92" fmla="*/ 2301136 w 5693265"/>
              <a:gd name="connsiteY92" fmla="*/ 994787 h 1240971"/>
              <a:gd name="connsiteX93" fmla="*/ 2316208 w 5693265"/>
              <a:gd name="connsiteY93" fmla="*/ 989763 h 1240971"/>
              <a:gd name="connsiteX94" fmla="*/ 2396595 w 5693265"/>
              <a:gd name="connsiteY94" fmla="*/ 984738 h 1240971"/>
              <a:gd name="connsiteX95" fmla="*/ 2426740 w 5693265"/>
              <a:gd name="connsiteY95" fmla="*/ 989763 h 1240971"/>
              <a:gd name="connsiteX96" fmla="*/ 2461909 w 5693265"/>
              <a:gd name="connsiteY96" fmla="*/ 1024932 h 1240971"/>
              <a:gd name="connsiteX97" fmla="*/ 2476982 w 5693265"/>
              <a:gd name="connsiteY97" fmla="*/ 1029956 h 1240971"/>
              <a:gd name="connsiteX98" fmla="*/ 2487030 w 5693265"/>
              <a:gd name="connsiteY98" fmla="*/ 1045028 h 1240971"/>
              <a:gd name="connsiteX99" fmla="*/ 2497078 w 5693265"/>
              <a:gd name="connsiteY99" fmla="*/ 1055077 h 1240971"/>
              <a:gd name="connsiteX100" fmla="*/ 2532248 w 5693265"/>
              <a:gd name="connsiteY100" fmla="*/ 1095270 h 1240971"/>
              <a:gd name="connsiteX101" fmla="*/ 2567417 w 5693265"/>
              <a:gd name="connsiteY101" fmla="*/ 1135464 h 1240971"/>
              <a:gd name="connsiteX102" fmla="*/ 2582489 w 5693265"/>
              <a:gd name="connsiteY102" fmla="*/ 1145512 h 1240971"/>
              <a:gd name="connsiteX103" fmla="*/ 2622683 w 5693265"/>
              <a:gd name="connsiteY103" fmla="*/ 1170633 h 1240971"/>
              <a:gd name="connsiteX104" fmla="*/ 2657852 w 5693265"/>
              <a:gd name="connsiteY104" fmla="*/ 1160584 h 1240971"/>
              <a:gd name="connsiteX105" fmla="*/ 2682973 w 5693265"/>
              <a:gd name="connsiteY105" fmla="*/ 1145512 h 1240971"/>
              <a:gd name="connsiteX106" fmla="*/ 2713118 w 5693265"/>
              <a:gd name="connsiteY106" fmla="*/ 1130439 h 1240971"/>
              <a:gd name="connsiteX107" fmla="*/ 2728191 w 5693265"/>
              <a:gd name="connsiteY107" fmla="*/ 1120391 h 1240971"/>
              <a:gd name="connsiteX108" fmla="*/ 2748287 w 5693265"/>
              <a:gd name="connsiteY108" fmla="*/ 1115367 h 1240971"/>
              <a:gd name="connsiteX109" fmla="*/ 2778432 w 5693265"/>
              <a:gd name="connsiteY109" fmla="*/ 1105319 h 1240971"/>
              <a:gd name="connsiteX110" fmla="*/ 2868867 w 5693265"/>
              <a:gd name="connsiteY110" fmla="*/ 1075173 h 1240971"/>
              <a:gd name="connsiteX111" fmla="*/ 2893988 w 5693265"/>
              <a:gd name="connsiteY111" fmla="*/ 1070149 h 1240971"/>
              <a:gd name="connsiteX112" fmla="*/ 2919109 w 5693265"/>
              <a:gd name="connsiteY112" fmla="*/ 1075173 h 1240971"/>
              <a:gd name="connsiteX113" fmla="*/ 2934182 w 5693265"/>
              <a:gd name="connsiteY113" fmla="*/ 1080198 h 1240971"/>
              <a:gd name="connsiteX114" fmla="*/ 2944230 w 5693265"/>
              <a:gd name="connsiteY114" fmla="*/ 1110343 h 1240971"/>
              <a:gd name="connsiteX115" fmla="*/ 2959303 w 5693265"/>
              <a:gd name="connsiteY115" fmla="*/ 1125415 h 1240971"/>
              <a:gd name="connsiteX116" fmla="*/ 2979399 w 5693265"/>
              <a:gd name="connsiteY116" fmla="*/ 1155560 h 1240971"/>
              <a:gd name="connsiteX117" fmla="*/ 2994472 w 5693265"/>
              <a:gd name="connsiteY117" fmla="*/ 1160584 h 1240971"/>
              <a:gd name="connsiteX118" fmla="*/ 3014569 w 5693265"/>
              <a:gd name="connsiteY118" fmla="*/ 1180681 h 1240971"/>
              <a:gd name="connsiteX119" fmla="*/ 3024617 w 5693265"/>
              <a:gd name="connsiteY119" fmla="*/ 1190730 h 1240971"/>
              <a:gd name="connsiteX120" fmla="*/ 3069835 w 5693265"/>
              <a:gd name="connsiteY120" fmla="*/ 1215850 h 1240971"/>
              <a:gd name="connsiteX121" fmla="*/ 3079883 w 5693265"/>
              <a:gd name="connsiteY121" fmla="*/ 1225899 h 1240971"/>
              <a:gd name="connsiteX122" fmla="*/ 3099980 w 5693265"/>
              <a:gd name="connsiteY122" fmla="*/ 1230923 h 1240971"/>
              <a:gd name="connsiteX123" fmla="*/ 3130125 w 5693265"/>
              <a:gd name="connsiteY123" fmla="*/ 1240971 h 1240971"/>
              <a:gd name="connsiteX124" fmla="*/ 3180366 w 5693265"/>
              <a:gd name="connsiteY124" fmla="*/ 1235947 h 1240971"/>
              <a:gd name="connsiteX125" fmla="*/ 3195439 w 5693265"/>
              <a:gd name="connsiteY125" fmla="*/ 1225899 h 1240971"/>
              <a:gd name="connsiteX126" fmla="*/ 3220560 w 5693265"/>
              <a:gd name="connsiteY126" fmla="*/ 1215850 h 1240971"/>
              <a:gd name="connsiteX127" fmla="*/ 3255729 w 5693265"/>
              <a:gd name="connsiteY127" fmla="*/ 1185705 h 1240971"/>
              <a:gd name="connsiteX128" fmla="*/ 3295922 w 5693265"/>
              <a:gd name="connsiteY128" fmla="*/ 1160584 h 1240971"/>
              <a:gd name="connsiteX129" fmla="*/ 3310995 w 5693265"/>
              <a:gd name="connsiteY129" fmla="*/ 1145512 h 1240971"/>
              <a:gd name="connsiteX130" fmla="*/ 3351188 w 5693265"/>
              <a:gd name="connsiteY130" fmla="*/ 1140488 h 1240971"/>
              <a:gd name="connsiteX131" fmla="*/ 3406454 w 5693265"/>
              <a:gd name="connsiteY131" fmla="*/ 1155560 h 1240971"/>
              <a:gd name="connsiteX132" fmla="*/ 3426551 w 5693265"/>
              <a:gd name="connsiteY132" fmla="*/ 1165609 h 1240971"/>
              <a:gd name="connsiteX133" fmla="*/ 3441624 w 5693265"/>
              <a:gd name="connsiteY133" fmla="*/ 1175657 h 1240971"/>
              <a:gd name="connsiteX134" fmla="*/ 3456696 w 5693265"/>
              <a:gd name="connsiteY134" fmla="*/ 1180681 h 1240971"/>
              <a:gd name="connsiteX135" fmla="*/ 3466744 w 5693265"/>
              <a:gd name="connsiteY135" fmla="*/ 1195754 h 1240971"/>
              <a:gd name="connsiteX136" fmla="*/ 3527035 w 5693265"/>
              <a:gd name="connsiteY136" fmla="*/ 1200778 h 1240971"/>
              <a:gd name="connsiteX137" fmla="*/ 3542107 w 5693265"/>
              <a:gd name="connsiteY137" fmla="*/ 1190730 h 1240971"/>
              <a:gd name="connsiteX138" fmla="*/ 3567228 w 5693265"/>
              <a:gd name="connsiteY138" fmla="*/ 1180681 h 1240971"/>
              <a:gd name="connsiteX139" fmla="*/ 3587325 w 5693265"/>
              <a:gd name="connsiteY139" fmla="*/ 1150536 h 1240971"/>
              <a:gd name="connsiteX140" fmla="*/ 3617470 w 5693265"/>
              <a:gd name="connsiteY140" fmla="*/ 1125415 h 1240971"/>
              <a:gd name="connsiteX141" fmla="*/ 3632542 w 5693265"/>
              <a:gd name="connsiteY141" fmla="*/ 1105319 h 1240971"/>
              <a:gd name="connsiteX142" fmla="*/ 3662687 w 5693265"/>
              <a:gd name="connsiteY142" fmla="*/ 1085222 h 1240971"/>
              <a:gd name="connsiteX143" fmla="*/ 3697856 w 5693265"/>
              <a:gd name="connsiteY143" fmla="*/ 1070149 h 1240971"/>
              <a:gd name="connsiteX144" fmla="*/ 3707905 w 5693265"/>
              <a:gd name="connsiteY144" fmla="*/ 1060101 h 1240971"/>
              <a:gd name="connsiteX145" fmla="*/ 3743074 w 5693265"/>
              <a:gd name="connsiteY145" fmla="*/ 1040004 h 1240971"/>
              <a:gd name="connsiteX146" fmla="*/ 3813413 w 5693265"/>
              <a:gd name="connsiteY146" fmla="*/ 1024932 h 1240971"/>
              <a:gd name="connsiteX147" fmla="*/ 3833509 w 5693265"/>
              <a:gd name="connsiteY147" fmla="*/ 1014883 h 1240971"/>
              <a:gd name="connsiteX148" fmla="*/ 3858630 w 5693265"/>
              <a:gd name="connsiteY148" fmla="*/ 1009859 h 1240971"/>
              <a:gd name="connsiteX149" fmla="*/ 3873703 w 5693265"/>
              <a:gd name="connsiteY149" fmla="*/ 1004835 h 1240971"/>
              <a:gd name="connsiteX150" fmla="*/ 3923944 w 5693265"/>
              <a:gd name="connsiteY150" fmla="*/ 1014883 h 1240971"/>
              <a:gd name="connsiteX151" fmla="*/ 3933993 w 5693265"/>
              <a:gd name="connsiteY151" fmla="*/ 1029956 h 1240971"/>
              <a:gd name="connsiteX152" fmla="*/ 3964138 w 5693265"/>
              <a:gd name="connsiteY152" fmla="*/ 1075173 h 1240971"/>
              <a:gd name="connsiteX153" fmla="*/ 3969162 w 5693265"/>
              <a:gd name="connsiteY153" fmla="*/ 1100294 h 1240971"/>
              <a:gd name="connsiteX154" fmla="*/ 3979210 w 5693265"/>
              <a:gd name="connsiteY154" fmla="*/ 1110343 h 1240971"/>
              <a:gd name="connsiteX155" fmla="*/ 3984235 w 5693265"/>
              <a:gd name="connsiteY155" fmla="*/ 1130439 h 1240971"/>
              <a:gd name="connsiteX156" fmla="*/ 4019404 w 5693265"/>
              <a:gd name="connsiteY156" fmla="*/ 1165609 h 1240971"/>
              <a:gd name="connsiteX157" fmla="*/ 4064621 w 5693265"/>
              <a:gd name="connsiteY157" fmla="*/ 1150536 h 1240971"/>
              <a:gd name="connsiteX158" fmla="*/ 4079694 w 5693265"/>
              <a:gd name="connsiteY158" fmla="*/ 1125415 h 1240971"/>
              <a:gd name="connsiteX159" fmla="*/ 4099791 w 5693265"/>
              <a:gd name="connsiteY159" fmla="*/ 1105319 h 1240971"/>
              <a:gd name="connsiteX160" fmla="*/ 4129936 w 5693265"/>
              <a:gd name="connsiteY160" fmla="*/ 1075173 h 1240971"/>
              <a:gd name="connsiteX161" fmla="*/ 4150032 w 5693265"/>
              <a:gd name="connsiteY161" fmla="*/ 1040004 h 1240971"/>
              <a:gd name="connsiteX162" fmla="*/ 4160081 w 5693265"/>
              <a:gd name="connsiteY162" fmla="*/ 1019908 h 1240971"/>
              <a:gd name="connsiteX163" fmla="*/ 4165105 w 5693265"/>
              <a:gd name="connsiteY163" fmla="*/ 1004835 h 1240971"/>
              <a:gd name="connsiteX164" fmla="*/ 4185202 w 5693265"/>
              <a:gd name="connsiteY164" fmla="*/ 984738 h 1240971"/>
              <a:gd name="connsiteX165" fmla="*/ 4200274 w 5693265"/>
              <a:gd name="connsiteY165" fmla="*/ 979714 h 1240971"/>
              <a:gd name="connsiteX166" fmla="*/ 4235443 w 5693265"/>
              <a:gd name="connsiteY166" fmla="*/ 954593 h 1240971"/>
              <a:gd name="connsiteX167" fmla="*/ 4275637 w 5693265"/>
              <a:gd name="connsiteY167" fmla="*/ 934497 h 1240971"/>
              <a:gd name="connsiteX168" fmla="*/ 4310806 w 5693265"/>
              <a:gd name="connsiteY168" fmla="*/ 914400 h 1240971"/>
              <a:gd name="connsiteX169" fmla="*/ 4325878 w 5693265"/>
              <a:gd name="connsiteY169" fmla="*/ 904352 h 1240971"/>
              <a:gd name="connsiteX170" fmla="*/ 4381144 w 5693265"/>
              <a:gd name="connsiteY170" fmla="*/ 904352 h 1240971"/>
              <a:gd name="connsiteX171" fmla="*/ 4401241 w 5693265"/>
              <a:gd name="connsiteY171" fmla="*/ 914400 h 1240971"/>
              <a:gd name="connsiteX172" fmla="*/ 4416314 w 5693265"/>
              <a:gd name="connsiteY172" fmla="*/ 919424 h 1240971"/>
              <a:gd name="connsiteX173" fmla="*/ 4431386 w 5693265"/>
              <a:gd name="connsiteY173" fmla="*/ 929472 h 1240971"/>
              <a:gd name="connsiteX174" fmla="*/ 4456507 w 5693265"/>
              <a:gd name="connsiteY174" fmla="*/ 974690 h 1240971"/>
              <a:gd name="connsiteX175" fmla="*/ 4476604 w 5693265"/>
              <a:gd name="connsiteY175" fmla="*/ 999811 h 1240971"/>
              <a:gd name="connsiteX176" fmla="*/ 4567039 w 5693265"/>
              <a:gd name="connsiteY176" fmla="*/ 994787 h 1240971"/>
              <a:gd name="connsiteX177" fmla="*/ 4597184 w 5693265"/>
              <a:gd name="connsiteY177" fmla="*/ 969666 h 1240971"/>
              <a:gd name="connsiteX178" fmla="*/ 4617281 w 5693265"/>
              <a:gd name="connsiteY178" fmla="*/ 959617 h 1240971"/>
              <a:gd name="connsiteX179" fmla="*/ 4632353 w 5693265"/>
              <a:gd name="connsiteY179" fmla="*/ 944545 h 1240971"/>
              <a:gd name="connsiteX180" fmla="*/ 4652450 w 5693265"/>
              <a:gd name="connsiteY180" fmla="*/ 934497 h 1240971"/>
              <a:gd name="connsiteX181" fmla="*/ 4672547 w 5693265"/>
              <a:gd name="connsiteY181" fmla="*/ 919424 h 1240971"/>
              <a:gd name="connsiteX182" fmla="*/ 4737861 w 5693265"/>
              <a:gd name="connsiteY182" fmla="*/ 884255 h 1240971"/>
              <a:gd name="connsiteX183" fmla="*/ 4762982 w 5693265"/>
              <a:gd name="connsiteY183" fmla="*/ 879231 h 1240971"/>
              <a:gd name="connsiteX184" fmla="*/ 4778054 w 5693265"/>
              <a:gd name="connsiteY184" fmla="*/ 874206 h 1240971"/>
              <a:gd name="connsiteX185" fmla="*/ 4819294 w 5693265"/>
              <a:gd name="connsiteY185" fmla="*/ 873944 h 1240971"/>
              <a:gd name="connsiteX186" fmla="*/ 4877465 w 5693265"/>
              <a:gd name="connsiteY186" fmla="*/ 895638 h 1240971"/>
              <a:gd name="connsiteX187" fmla="*/ 4935347 w 5693265"/>
              <a:gd name="connsiteY187" fmla="*/ 934523 h 1240971"/>
              <a:gd name="connsiteX188" fmla="*/ 4995402 w 5693265"/>
              <a:gd name="connsiteY188" fmla="*/ 1006746 h 1240971"/>
              <a:gd name="connsiteX189" fmla="*/ 5024762 w 5693265"/>
              <a:gd name="connsiteY189" fmla="*/ 1051963 h 1240971"/>
              <a:gd name="connsiteX190" fmla="*/ 5092223 w 5693265"/>
              <a:gd name="connsiteY190" fmla="*/ 1016506 h 1240971"/>
              <a:gd name="connsiteX191" fmla="*/ 5144322 w 5693265"/>
              <a:gd name="connsiteY191" fmla="*/ 948261 h 1240971"/>
              <a:gd name="connsiteX192" fmla="*/ 5189252 w 5693265"/>
              <a:gd name="connsiteY192" fmla="*/ 886112 h 1240971"/>
              <a:gd name="connsiteX193" fmla="*/ 5226279 w 5693265"/>
              <a:gd name="connsiteY193" fmla="*/ 856230 h 1240971"/>
              <a:gd name="connsiteX194" fmla="*/ 5260637 w 5693265"/>
              <a:gd name="connsiteY194" fmla="*/ 822918 h 1240971"/>
              <a:gd name="connsiteX195" fmla="*/ 5295282 w 5693265"/>
              <a:gd name="connsiteY195" fmla="*/ 800440 h 1240971"/>
              <a:gd name="connsiteX196" fmla="*/ 5334430 w 5693265"/>
              <a:gd name="connsiteY196" fmla="*/ 794893 h 1240971"/>
              <a:gd name="connsiteX197" fmla="*/ 5412174 w 5693265"/>
              <a:gd name="connsiteY197" fmla="*/ 824252 h 1240971"/>
              <a:gd name="connsiteX198" fmla="*/ 5431197 w 5693265"/>
              <a:gd name="connsiteY198" fmla="*/ 768699 h 1240971"/>
              <a:gd name="connsiteX199" fmla="*/ 5441246 w 5693265"/>
              <a:gd name="connsiteY199" fmla="*/ 753626 h 1240971"/>
              <a:gd name="connsiteX200" fmla="*/ 5456318 w 5693265"/>
              <a:gd name="connsiteY200" fmla="*/ 708409 h 1240971"/>
              <a:gd name="connsiteX201" fmla="*/ 5466366 w 5693265"/>
              <a:gd name="connsiteY201" fmla="*/ 683288 h 1240971"/>
              <a:gd name="connsiteX202" fmla="*/ 5476415 w 5693265"/>
              <a:gd name="connsiteY202" fmla="*/ 643094 h 1240971"/>
              <a:gd name="connsiteX203" fmla="*/ 5491487 w 5693265"/>
              <a:gd name="connsiteY203" fmla="*/ 617973 h 1240971"/>
              <a:gd name="connsiteX204" fmla="*/ 5506560 w 5693265"/>
              <a:gd name="connsiteY204" fmla="*/ 572756 h 1240971"/>
              <a:gd name="connsiteX205" fmla="*/ 5526656 w 5693265"/>
              <a:gd name="connsiteY205" fmla="*/ 522514 h 1240971"/>
              <a:gd name="connsiteX206" fmla="*/ 5546753 w 5693265"/>
              <a:gd name="connsiteY206" fmla="*/ 467248 h 1240971"/>
              <a:gd name="connsiteX207" fmla="*/ 5556802 w 5693265"/>
              <a:gd name="connsiteY207" fmla="*/ 411982 h 1240971"/>
              <a:gd name="connsiteX208" fmla="*/ 5566850 w 5693265"/>
              <a:gd name="connsiteY208" fmla="*/ 381837 h 1240971"/>
              <a:gd name="connsiteX209" fmla="*/ 5576898 w 5693265"/>
              <a:gd name="connsiteY209" fmla="*/ 356716 h 1240971"/>
              <a:gd name="connsiteX210" fmla="*/ 5596995 w 5693265"/>
              <a:gd name="connsiteY210" fmla="*/ 316523 h 1240971"/>
              <a:gd name="connsiteX211" fmla="*/ 5617092 w 5693265"/>
              <a:gd name="connsiteY211" fmla="*/ 246184 h 1240971"/>
              <a:gd name="connsiteX212" fmla="*/ 5622116 w 5693265"/>
              <a:gd name="connsiteY212" fmla="*/ 226088 h 1240971"/>
              <a:gd name="connsiteX213" fmla="*/ 5632164 w 5693265"/>
              <a:gd name="connsiteY213" fmla="*/ 216039 h 1240971"/>
              <a:gd name="connsiteX214" fmla="*/ 5637188 w 5693265"/>
              <a:gd name="connsiteY214" fmla="*/ 200967 h 1240971"/>
              <a:gd name="connsiteX215" fmla="*/ 5642213 w 5693265"/>
              <a:gd name="connsiteY215" fmla="*/ 180870 h 1240971"/>
              <a:gd name="connsiteX216" fmla="*/ 5652261 w 5693265"/>
              <a:gd name="connsiteY216" fmla="*/ 165798 h 1240971"/>
              <a:gd name="connsiteX217" fmla="*/ 5693265 w 5693265"/>
              <a:gd name="connsiteY217" fmla="*/ 101268 h 1240971"/>
              <a:gd name="connsiteX218" fmla="*/ 5657285 w 5693265"/>
              <a:gd name="connsiteY218" fmla="*/ 80387 h 1240971"/>
              <a:gd name="connsiteX219" fmla="*/ 5624759 w 5693265"/>
              <a:gd name="connsiteY219" fmla="*/ 46788 h 1240971"/>
              <a:gd name="connsiteX220" fmla="*/ 5575040 w 5693265"/>
              <a:gd name="connsiteY220" fmla="*/ 39120 h 1240971"/>
              <a:gd name="connsiteX221" fmla="*/ 5470369 w 5693265"/>
              <a:gd name="connsiteY221" fmla="*/ 39381 h 1240971"/>
              <a:gd name="connsiteX222" fmla="*/ 5379124 w 5693265"/>
              <a:gd name="connsiteY222" fmla="*/ 39644 h 1240971"/>
              <a:gd name="connsiteX223" fmla="*/ 5323570 w 5693265"/>
              <a:gd name="connsiteY223" fmla="*/ 61337 h 1240971"/>
              <a:gd name="connsiteX224" fmla="*/ 5238682 w 5693265"/>
              <a:gd name="connsiteY224" fmla="*/ 54455 h 1240971"/>
              <a:gd name="connsiteX225" fmla="*/ 5075554 w 5693265"/>
              <a:gd name="connsiteY225" fmla="*/ 56574 h 1240971"/>
              <a:gd name="connsiteX226" fmla="*/ 4989070 w 5693265"/>
              <a:gd name="connsiteY226" fmla="*/ 65314 h 1240971"/>
              <a:gd name="connsiteX227" fmla="*/ 4943852 w 5693265"/>
              <a:gd name="connsiteY227" fmla="*/ 60290 h 1240971"/>
              <a:gd name="connsiteX228" fmla="*/ 4823272 w 5693265"/>
              <a:gd name="connsiteY228" fmla="*/ 50242 h 1240971"/>
              <a:gd name="connsiteX229" fmla="*/ 4677571 w 5693265"/>
              <a:gd name="connsiteY229" fmla="*/ 55266 h 1240971"/>
              <a:gd name="connsiteX230" fmla="*/ 4647426 w 5693265"/>
              <a:gd name="connsiteY230" fmla="*/ 60290 h 1240971"/>
              <a:gd name="connsiteX231" fmla="*/ 4577087 w 5693265"/>
              <a:gd name="connsiteY231" fmla="*/ 65314 h 1240971"/>
              <a:gd name="connsiteX232" fmla="*/ 4486652 w 5693265"/>
              <a:gd name="connsiteY232" fmla="*/ 75363 h 1240971"/>
              <a:gd name="connsiteX233" fmla="*/ 4139984 w 5693265"/>
              <a:gd name="connsiteY233" fmla="*/ 60290 h 1240971"/>
              <a:gd name="connsiteX234" fmla="*/ 3918920 w 5693265"/>
              <a:gd name="connsiteY234" fmla="*/ 50242 h 1240971"/>
              <a:gd name="connsiteX235" fmla="*/ 3873703 w 5693265"/>
              <a:gd name="connsiteY235" fmla="*/ 45217 h 1240971"/>
              <a:gd name="connsiteX236" fmla="*/ 3687808 w 5693265"/>
              <a:gd name="connsiteY236" fmla="*/ 40193 h 1240971"/>
              <a:gd name="connsiteX237" fmla="*/ 3662687 w 5693265"/>
              <a:gd name="connsiteY237" fmla="*/ 35169 h 1240971"/>
              <a:gd name="connsiteX238" fmla="*/ 3627518 w 5693265"/>
              <a:gd name="connsiteY238" fmla="*/ 25121 h 1240971"/>
              <a:gd name="connsiteX239" fmla="*/ 3547131 w 5693265"/>
              <a:gd name="connsiteY239" fmla="*/ 20097 h 1240971"/>
              <a:gd name="connsiteX240" fmla="*/ 3310995 w 5693265"/>
              <a:gd name="connsiteY240" fmla="*/ 25121 h 1240971"/>
              <a:gd name="connsiteX241" fmla="*/ 3265777 w 5693265"/>
              <a:gd name="connsiteY241" fmla="*/ 30145 h 1240971"/>
              <a:gd name="connsiteX242" fmla="*/ 3175342 w 5693265"/>
              <a:gd name="connsiteY242" fmla="*/ 35169 h 1240971"/>
              <a:gd name="connsiteX243" fmla="*/ 2582489 w 5693265"/>
              <a:gd name="connsiteY243" fmla="*/ 45217 h 1240971"/>
              <a:gd name="connsiteX244" fmla="*/ 2255918 w 5693265"/>
              <a:gd name="connsiteY244" fmla="*/ 40193 h 1240971"/>
              <a:gd name="connsiteX245" fmla="*/ 1974564 w 5693265"/>
              <a:gd name="connsiteY245" fmla="*/ 30145 h 1240971"/>
              <a:gd name="connsiteX246" fmla="*/ 1944419 w 5693265"/>
              <a:gd name="connsiteY246" fmla="*/ 25121 h 1240971"/>
              <a:gd name="connsiteX247" fmla="*/ 1848960 w 5693265"/>
              <a:gd name="connsiteY247" fmla="*/ 20097 h 1240971"/>
              <a:gd name="connsiteX248" fmla="*/ 1768573 w 5693265"/>
              <a:gd name="connsiteY248" fmla="*/ 10048 h 1240971"/>
              <a:gd name="connsiteX249" fmla="*/ 1502292 w 5693265"/>
              <a:gd name="connsiteY249" fmla="*/ 20097 h 1240971"/>
              <a:gd name="connsiteX250" fmla="*/ 1467122 w 5693265"/>
              <a:gd name="connsiteY250" fmla="*/ 25121 h 1240971"/>
              <a:gd name="connsiteX251" fmla="*/ 1426929 w 5693265"/>
              <a:gd name="connsiteY251" fmla="*/ 30145 h 1240971"/>
              <a:gd name="connsiteX252" fmla="*/ 1341518 w 5693265"/>
              <a:gd name="connsiteY252" fmla="*/ 45217 h 1240971"/>
              <a:gd name="connsiteX253" fmla="*/ 1095333 w 5693265"/>
              <a:gd name="connsiteY253" fmla="*/ 35169 h 1240971"/>
              <a:gd name="connsiteX254" fmla="*/ 979777 w 5693265"/>
              <a:gd name="connsiteY254" fmla="*/ 20097 h 1240971"/>
              <a:gd name="connsiteX255" fmla="*/ 939584 w 5693265"/>
              <a:gd name="connsiteY255" fmla="*/ 10048 h 1240971"/>
              <a:gd name="connsiteX256" fmla="*/ 813980 w 5693265"/>
              <a:gd name="connsiteY256" fmla="*/ 0 h 1240971"/>
              <a:gd name="connsiteX257" fmla="*/ 743641 w 5693265"/>
              <a:gd name="connsiteY257" fmla="*/ 5024 h 1240971"/>
              <a:gd name="connsiteX258" fmla="*/ 582867 w 5693265"/>
              <a:gd name="connsiteY258" fmla="*/ 15072 h 1240971"/>
              <a:gd name="connsiteX259" fmla="*/ 432142 w 5693265"/>
              <a:gd name="connsiteY259" fmla="*/ 5024 h 1240971"/>
              <a:gd name="connsiteX260" fmla="*/ 412046 w 5693265"/>
              <a:gd name="connsiteY260" fmla="*/ 0 h 1240971"/>
              <a:gd name="connsiteX261" fmla="*/ 281417 w 5693265"/>
              <a:gd name="connsiteY261" fmla="*/ 10048 h 1240971"/>
              <a:gd name="connsiteX262" fmla="*/ 261320 w 5693265"/>
              <a:gd name="connsiteY262" fmla="*/ 15072 h 1240971"/>
              <a:gd name="connsiteX263" fmla="*/ 100547 w 5693265"/>
              <a:gd name="connsiteY263" fmla="*/ 20097 h 1240971"/>
              <a:gd name="connsiteX264" fmla="*/ 5087 w 5693265"/>
              <a:gd name="connsiteY264" fmla="*/ 30145 h 1240971"/>
              <a:gd name="connsiteX0" fmla="*/ 5087 w 5731022"/>
              <a:gd name="connsiteY0" fmla="*/ 30145 h 1240971"/>
              <a:gd name="connsiteX1" fmla="*/ 15136 w 5731022"/>
              <a:gd name="connsiteY1" fmla="*/ 115556 h 1240971"/>
              <a:gd name="connsiteX2" fmla="*/ 20160 w 5731022"/>
              <a:gd name="connsiteY2" fmla="*/ 150725 h 1240971"/>
              <a:gd name="connsiteX3" fmla="*/ 25184 w 5731022"/>
              <a:gd name="connsiteY3" fmla="*/ 236136 h 1240971"/>
              <a:gd name="connsiteX4" fmla="*/ 35232 w 5731022"/>
              <a:gd name="connsiteY4" fmla="*/ 311499 h 1240971"/>
              <a:gd name="connsiteX5" fmla="*/ 40256 w 5731022"/>
              <a:gd name="connsiteY5" fmla="*/ 783771 h 1240971"/>
              <a:gd name="connsiteX6" fmla="*/ 45281 w 5731022"/>
              <a:gd name="connsiteY6" fmla="*/ 864158 h 1240971"/>
              <a:gd name="connsiteX7" fmla="*/ 35232 w 5731022"/>
              <a:gd name="connsiteY7" fmla="*/ 1034980 h 1240971"/>
              <a:gd name="connsiteX8" fmla="*/ 25184 w 5731022"/>
              <a:gd name="connsiteY8" fmla="*/ 1100294 h 1240971"/>
              <a:gd name="connsiteX9" fmla="*/ 20160 w 5731022"/>
              <a:gd name="connsiteY9" fmla="*/ 1150536 h 1240971"/>
              <a:gd name="connsiteX10" fmla="*/ 25184 w 5731022"/>
              <a:gd name="connsiteY10" fmla="*/ 1170633 h 1240971"/>
              <a:gd name="connsiteX11" fmla="*/ 35232 w 5731022"/>
              <a:gd name="connsiteY11" fmla="*/ 1160584 h 1240971"/>
              <a:gd name="connsiteX12" fmla="*/ 55329 w 5731022"/>
              <a:gd name="connsiteY12" fmla="*/ 1100294 h 1240971"/>
              <a:gd name="connsiteX13" fmla="*/ 60353 w 5731022"/>
              <a:gd name="connsiteY13" fmla="*/ 1085222 h 1240971"/>
              <a:gd name="connsiteX14" fmla="*/ 70402 w 5731022"/>
              <a:gd name="connsiteY14" fmla="*/ 1075173 h 1240971"/>
              <a:gd name="connsiteX15" fmla="*/ 95522 w 5731022"/>
              <a:gd name="connsiteY15" fmla="*/ 1045028 h 1240971"/>
              <a:gd name="connsiteX16" fmla="*/ 110595 w 5731022"/>
              <a:gd name="connsiteY16" fmla="*/ 1040004 h 1240971"/>
              <a:gd name="connsiteX17" fmla="*/ 135716 w 5731022"/>
              <a:gd name="connsiteY17" fmla="*/ 1019908 h 1240971"/>
              <a:gd name="connsiteX18" fmla="*/ 150788 w 5731022"/>
              <a:gd name="connsiteY18" fmla="*/ 1009859 h 1240971"/>
              <a:gd name="connsiteX19" fmla="*/ 175909 w 5731022"/>
              <a:gd name="connsiteY19" fmla="*/ 994787 h 1240971"/>
              <a:gd name="connsiteX20" fmla="*/ 216103 w 5731022"/>
              <a:gd name="connsiteY20" fmla="*/ 984738 h 1240971"/>
              <a:gd name="connsiteX21" fmla="*/ 286441 w 5731022"/>
              <a:gd name="connsiteY21" fmla="*/ 994787 h 1240971"/>
              <a:gd name="connsiteX22" fmla="*/ 301514 w 5731022"/>
              <a:gd name="connsiteY22" fmla="*/ 1004835 h 1240971"/>
              <a:gd name="connsiteX23" fmla="*/ 321610 w 5731022"/>
              <a:gd name="connsiteY23" fmla="*/ 1034980 h 1240971"/>
              <a:gd name="connsiteX24" fmla="*/ 356780 w 5731022"/>
              <a:gd name="connsiteY24" fmla="*/ 1065125 h 1240971"/>
              <a:gd name="connsiteX25" fmla="*/ 366828 w 5731022"/>
              <a:gd name="connsiteY25" fmla="*/ 1080198 h 1240971"/>
              <a:gd name="connsiteX26" fmla="*/ 381900 w 5731022"/>
              <a:gd name="connsiteY26" fmla="*/ 1085222 h 1240971"/>
              <a:gd name="connsiteX27" fmla="*/ 396973 w 5731022"/>
              <a:gd name="connsiteY27" fmla="*/ 1095270 h 1240971"/>
              <a:gd name="connsiteX28" fmla="*/ 407021 w 5731022"/>
              <a:gd name="connsiteY28" fmla="*/ 1105319 h 1240971"/>
              <a:gd name="connsiteX29" fmla="*/ 422094 w 5731022"/>
              <a:gd name="connsiteY29" fmla="*/ 1110343 h 1240971"/>
              <a:gd name="connsiteX30" fmla="*/ 437166 w 5731022"/>
              <a:gd name="connsiteY30" fmla="*/ 1120391 h 1240971"/>
              <a:gd name="connsiteX31" fmla="*/ 467311 w 5731022"/>
              <a:gd name="connsiteY31" fmla="*/ 1130439 h 1240971"/>
              <a:gd name="connsiteX32" fmla="*/ 522577 w 5731022"/>
              <a:gd name="connsiteY32" fmla="*/ 1115367 h 1240971"/>
              <a:gd name="connsiteX33" fmla="*/ 552722 w 5731022"/>
              <a:gd name="connsiteY33" fmla="*/ 1075173 h 1240971"/>
              <a:gd name="connsiteX34" fmla="*/ 567795 w 5731022"/>
              <a:gd name="connsiteY34" fmla="*/ 1070149 h 1240971"/>
              <a:gd name="connsiteX35" fmla="*/ 582867 w 5731022"/>
              <a:gd name="connsiteY35" fmla="*/ 1060101 h 1240971"/>
              <a:gd name="connsiteX36" fmla="*/ 638133 w 5731022"/>
              <a:gd name="connsiteY36" fmla="*/ 1045028 h 1240971"/>
              <a:gd name="connsiteX37" fmla="*/ 653206 w 5731022"/>
              <a:gd name="connsiteY37" fmla="*/ 1040004 h 1240971"/>
              <a:gd name="connsiteX38" fmla="*/ 693399 w 5731022"/>
              <a:gd name="connsiteY38" fmla="*/ 1045028 h 1240971"/>
              <a:gd name="connsiteX39" fmla="*/ 723544 w 5731022"/>
              <a:gd name="connsiteY39" fmla="*/ 1055077 h 1240971"/>
              <a:gd name="connsiteX40" fmla="*/ 733593 w 5731022"/>
              <a:gd name="connsiteY40" fmla="*/ 1065125 h 1240971"/>
              <a:gd name="connsiteX41" fmla="*/ 768762 w 5731022"/>
              <a:gd name="connsiteY41" fmla="*/ 1080198 h 1240971"/>
              <a:gd name="connsiteX42" fmla="*/ 803931 w 5731022"/>
              <a:gd name="connsiteY42" fmla="*/ 1105319 h 1240971"/>
              <a:gd name="connsiteX43" fmla="*/ 834076 w 5731022"/>
              <a:gd name="connsiteY43" fmla="*/ 1130439 h 1240971"/>
              <a:gd name="connsiteX44" fmla="*/ 869246 w 5731022"/>
              <a:gd name="connsiteY44" fmla="*/ 1140488 h 1240971"/>
              <a:gd name="connsiteX45" fmla="*/ 909439 w 5731022"/>
              <a:gd name="connsiteY45" fmla="*/ 1175657 h 1240971"/>
              <a:gd name="connsiteX46" fmla="*/ 939584 w 5731022"/>
              <a:gd name="connsiteY46" fmla="*/ 1185705 h 1240971"/>
              <a:gd name="connsiteX47" fmla="*/ 979777 w 5731022"/>
              <a:gd name="connsiteY47" fmla="*/ 1180681 h 1240971"/>
              <a:gd name="connsiteX48" fmla="*/ 989826 w 5731022"/>
              <a:gd name="connsiteY48" fmla="*/ 1170633 h 1240971"/>
              <a:gd name="connsiteX49" fmla="*/ 1004898 w 5731022"/>
              <a:gd name="connsiteY49" fmla="*/ 1150536 h 1240971"/>
              <a:gd name="connsiteX50" fmla="*/ 1014947 w 5731022"/>
              <a:gd name="connsiteY50" fmla="*/ 1120391 h 1240971"/>
              <a:gd name="connsiteX51" fmla="*/ 1040067 w 5731022"/>
              <a:gd name="connsiteY51" fmla="*/ 1095270 h 1240971"/>
              <a:gd name="connsiteX52" fmla="*/ 1050116 w 5731022"/>
              <a:gd name="connsiteY52" fmla="*/ 1085222 h 1240971"/>
              <a:gd name="connsiteX53" fmla="*/ 1075237 w 5731022"/>
              <a:gd name="connsiteY53" fmla="*/ 1065125 h 1240971"/>
              <a:gd name="connsiteX54" fmla="*/ 1090309 w 5731022"/>
              <a:gd name="connsiteY54" fmla="*/ 1050053 h 1240971"/>
              <a:gd name="connsiteX55" fmla="*/ 1120454 w 5731022"/>
              <a:gd name="connsiteY55" fmla="*/ 1040004 h 1240971"/>
              <a:gd name="connsiteX56" fmla="*/ 1135527 w 5731022"/>
              <a:gd name="connsiteY56" fmla="*/ 1034980 h 1240971"/>
              <a:gd name="connsiteX57" fmla="*/ 1160648 w 5731022"/>
              <a:gd name="connsiteY57" fmla="*/ 1019908 h 1240971"/>
              <a:gd name="connsiteX58" fmla="*/ 1175720 w 5731022"/>
              <a:gd name="connsiteY58" fmla="*/ 1014883 h 1240971"/>
              <a:gd name="connsiteX59" fmla="*/ 1195817 w 5731022"/>
              <a:gd name="connsiteY59" fmla="*/ 1004835 h 1240971"/>
              <a:gd name="connsiteX60" fmla="*/ 1281228 w 5731022"/>
              <a:gd name="connsiteY60" fmla="*/ 1014883 h 1240971"/>
              <a:gd name="connsiteX61" fmla="*/ 1296300 w 5731022"/>
              <a:gd name="connsiteY61" fmla="*/ 1024932 h 1240971"/>
              <a:gd name="connsiteX62" fmla="*/ 1311373 w 5731022"/>
              <a:gd name="connsiteY62" fmla="*/ 1029956 h 1240971"/>
              <a:gd name="connsiteX63" fmla="*/ 1326446 w 5731022"/>
              <a:gd name="connsiteY63" fmla="*/ 1060101 h 1240971"/>
              <a:gd name="connsiteX64" fmla="*/ 1341518 w 5731022"/>
              <a:gd name="connsiteY64" fmla="*/ 1065125 h 1240971"/>
              <a:gd name="connsiteX65" fmla="*/ 1356591 w 5731022"/>
              <a:gd name="connsiteY65" fmla="*/ 1075173 h 1240971"/>
              <a:gd name="connsiteX66" fmla="*/ 1396784 w 5731022"/>
              <a:gd name="connsiteY66" fmla="*/ 1090246 h 1240971"/>
              <a:gd name="connsiteX67" fmla="*/ 1447026 w 5731022"/>
              <a:gd name="connsiteY67" fmla="*/ 1105319 h 1240971"/>
              <a:gd name="connsiteX68" fmla="*/ 1462098 w 5731022"/>
              <a:gd name="connsiteY68" fmla="*/ 1110343 h 1240971"/>
              <a:gd name="connsiteX69" fmla="*/ 1497267 w 5731022"/>
              <a:gd name="connsiteY69" fmla="*/ 1120391 h 1240971"/>
              <a:gd name="connsiteX70" fmla="*/ 1552533 w 5731022"/>
              <a:gd name="connsiteY70" fmla="*/ 1115367 h 1240971"/>
              <a:gd name="connsiteX71" fmla="*/ 1567606 w 5731022"/>
              <a:gd name="connsiteY71" fmla="*/ 1110343 h 1240971"/>
              <a:gd name="connsiteX72" fmla="*/ 1587703 w 5731022"/>
              <a:gd name="connsiteY72" fmla="*/ 1090246 h 1240971"/>
              <a:gd name="connsiteX73" fmla="*/ 1637944 w 5731022"/>
              <a:gd name="connsiteY73" fmla="*/ 1050053 h 1240971"/>
              <a:gd name="connsiteX74" fmla="*/ 1653017 w 5731022"/>
              <a:gd name="connsiteY74" fmla="*/ 1029956 h 1240971"/>
              <a:gd name="connsiteX75" fmla="*/ 1688186 w 5731022"/>
              <a:gd name="connsiteY75" fmla="*/ 1019908 h 1240971"/>
              <a:gd name="connsiteX76" fmla="*/ 1788670 w 5731022"/>
              <a:gd name="connsiteY76" fmla="*/ 1029956 h 1240971"/>
              <a:gd name="connsiteX77" fmla="*/ 1818815 w 5731022"/>
              <a:gd name="connsiteY77" fmla="*/ 1040004 h 1240971"/>
              <a:gd name="connsiteX78" fmla="*/ 1853984 w 5731022"/>
              <a:gd name="connsiteY78" fmla="*/ 1050053 h 1240971"/>
              <a:gd name="connsiteX79" fmla="*/ 1869056 w 5731022"/>
              <a:gd name="connsiteY79" fmla="*/ 1060101 h 1240971"/>
              <a:gd name="connsiteX80" fmla="*/ 1894177 w 5731022"/>
              <a:gd name="connsiteY80" fmla="*/ 1065125 h 1240971"/>
              <a:gd name="connsiteX81" fmla="*/ 1949443 w 5731022"/>
              <a:gd name="connsiteY81" fmla="*/ 1085222 h 1240971"/>
              <a:gd name="connsiteX82" fmla="*/ 1969540 w 5731022"/>
              <a:gd name="connsiteY82" fmla="*/ 1090246 h 1240971"/>
              <a:gd name="connsiteX83" fmla="*/ 2014758 w 5731022"/>
              <a:gd name="connsiteY83" fmla="*/ 1110343 h 1240971"/>
              <a:gd name="connsiteX84" fmla="*/ 2039878 w 5731022"/>
              <a:gd name="connsiteY84" fmla="*/ 1125415 h 1240971"/>
              <a:gd name="connsiteX85" fmla="*/ 2120265 w 5731022"/>
              <a:gd name="connsiteY85" fmla="*/ 1120391 h 1240971"/>
              <a:gd name="connsiteX86" fmla="*/ 2130314 w 5731022"/>
              <a:gd name="connsiteY86" fmla="*/ 1110343 h 1240971"/>
              <a:gd name="connsiteX87" fmla="*/ 2155435 w 5731022"/>
              <a:gd name="connsiteY87" fmla="*/ 1100294 h 1240971"/>
              <a:gd name="connsiteX88" fmla="*/ 2190604 w 5731022"/>
              <a:gd name="connsiteY88" fmla="*/ 1070149 h 1240971"/>
              <a:gd name="connsiteX89" fmla="*/ 2230797 w 5731022"/>
              <a:gd name="connsiteY89" fmla="*/ 1040004 h 1240971"/>
              <a:gd name="connsiteX90" fmla="*/ 2245870 w 5731022"/>
              <a:gd name="connsiteY90" fmla="*/ 1034980 h 1240971"/>
              <a:gd name="connsiteX91" fmla="*/ 2270991 w 5731022"/>
              <a:gd name="connsiteY91" fmla="*/ 1019908 h 1240971"/>
              <a:gd name="connsiteX92" fmla="*/ 2301136 w 5731022"/>
              <a:gd name="connsiteY92" fmla="*/ 994787 h 1240971"/>
              <a:gd name="connsiteX93" fmla="*/ 2316208 w 5731022"/>
              <a:gd name="connsiteY93" fmla="*/ 989763 h 1240971"/>
              <a:gd name="connsiteX94" fmla="*/ 2396595 w 5731022"/>
              <a:gd name="connsiteY94" fmla="*/ 984738 h 1240971"/>
              <a:gd name="connsiteX95" fmla="*/ 2426740 w 5731022"/>
              <a:gd name="connsiteY95" fmla="*/ 989763 h 1240971"/>
              <a:gd name="connsiteX96" fmla="*/ 2461909 w 5731022"/>
              <a:gd name="connsiteY96" fmla="*/ 1024932 h 1240971"/>
              <a:gd name="connsiteX97" fmla="*/ 2476982 w 5731022"/>
              <a:gd name="connsiteY97" fmla="*/ 1029956 h 1240971"/>
              <a:gd name="connsiteX98" fmla="*/ 2487030 w 5731022"/>
              <a:gd name="connsiteY98" fmla="*/ 1045028 h 1240971"/>
              <a:gd name="connsiteX99" fmla="*/ 2497078 w 5731022"/>
              <a:gd name="connsiteY99" fmla="*/ 1055077 h 1240971"/>
              <a:gd name="connsiteX100" fmla="*/ 2532248 w 5731022"/>
              <a:gd name="connsiteY100" fmla="*/ 1095270 h 1240971"/>
              <a:gd name="connsiteX101" fmla="*/ 2567417 w 5731022"/>
              <a:gd name="connsiteY101" fmla="*/ 1135464 h 1240971"/>
              <a:gd name="connsiteX102" fmla="*/ 2582489 w 5731022"/>
              <a:gd name="connsiteY102" fmla="*/ 1145512 h 1240971"/>
              <a:gd name="connsiteX103" fmla="*/ 2622683 w 5731022"/>
              <a:gd name="connsiteY103" fmla="*/ 1170633 h 1240971"/>
              <a:gd name="connsiteX104" fmla="*/ 2657852 w 5731022"/>
              <a:gd name="connsiteY104" fmla="*/ 1160584 h 1240971"/>
              <a:gd name="connsiteX105" fmla="*/ 2682973 w 5731022"/>
              <a:gd name="connsiteY105" fmla="*/ 1145512 h 1240971"/>
              <a:gd name="connsiteX106" fmla="*/ 2713118 w 5731022"/>
              <a:gd name="connsiteY106" fmla="*/ 1130439 h 1240971"/>
              <a:gd name="connsiteX107" fmla="*/ 2728191 w 5731022"/>
              <a:gd name="connsiteY107" fmla="*/ 1120391 h 1240971"/>
              <a:gd name="connsiteX108" fmla="*/ 2748287 w 5731022"/>
              <a:gd name="connsiteY108" fmla="*/ 1115367 h 1240971"/>
              <a:gd name="connsiteX109" fmla="*/ 2778432 w 5731022"/>
              <a:gd name="connsiteY109" fmla="*/ 1105319 h 1240971"/>
              <a:gd name="connsiteX110" fmla="*/ 2868867 w 5731022"/>
              <a:gd name="connsiteY110" fmla="*/ 1075173 h 1240971"/>
              <a:gd name="connsiteX111" fmla="*/ 2893988 w 5731022"/>
              <a:gd name="connsiteY111" fmla="*/ 1070149 h 1240971"/>
              <a:gd name="connsiteX112" fmla="*/ 2919109 w 5731022"/>
              <a:gd name="connsiteY112" fmla="*/ 1075173 h 1240971"/>
              <a:gd name="connsiteX113" fmla="*/ 2934182 w 5731022"/>
              <a:gd name="connsiteY113" fmla="*/ 1080198 h 1240971"/>
              <a:gd name="connsiteX114" fmla="*/ 2944230 w 5731022"/>
              <a:gd name="connsiteY114" fmla="*/ 1110343 h 1240971"/>
              <a:gd name="connsiteX115" fmla="*/ 2959303 w 5731022"/>
              <a:gd name="connsiteY115" fmla="*/ 1125415 h 1240971"/>
              <a:gd name="connsiteX116" fmla="*/ 2979399 w 5731022"/>
              <a:gd name="connsiteY116" fmla="*/ 1155560 h 1240971"/>
              <a:gd name="connsiteX117" fmla="*/ 2994472 w 5731022"/>
              <a:gd name="connsiteY117" fmla="*/ 1160584 h 1240971"/>
              <a:gd name="connsiteX118" fmla="*/ 3014569 w 5731022"/>
              <a:gd name="connsiteY118" fmla="*/ 1180681 h 1240971"/>
              <a:gd name="connsiteX119" fmla="*/ 3024617 w 5731022"/>
              <a:gd name="connsiteY119" fmla="*/ 1190730 h 1240971"/>
              <a:gd name="connsiteX120" fmla="*/ 3069835 w 5731022"/>
              <a:gd name="connsiteY120" fmla="*/ 1215850 h 1240971"/>
              <a:gd name="connsiteX121" fmla="*/ 3079883 w 5731022"/>
              <a:gd name="connsiteY121" fmla="*/ 1225899 h 1240971"/>
              <a:gd name="connsiteX122" fmla="*/ 3099980 w 5731022"/>
              <a:gd name="connsiteY122" fmla="*/ 1230923 h 1240971"/>
              <a:gd name="connsiteX123" fmla="*/ 3130125 w 5731022"/>
              <a:gd name="connsiteY123" fmla="*/ 1240971 h 1240971"/>
              <a:gd name="connsiteX124" fmla="*/ 3180366 w 5731022"/>
              <a:gd name="connsiteY124" fmla="*/ 1235947 h 1240971"/>
              <a:gd name="connsiteX125" fmla="*/ 3195439 w 5731022"/>
              <a:gd name="connsiteY125" fmla="*/ 1225899 h 1240971"/>
              <a:gd name="connsiteX126" fmla="*/ 3220560 w 5731022"/>
              <a:gd name="connsiteY126" fmla="*/ 1215850 h 1240971"/>
              <a:gd name="connsiteX127" fmla="*/ 3255729 w 5731022"/>
              <a:gd name="connsiteY127" fmla="*/ 1185705 h 1240971"/>
              <a:gd name="connsiteX128" fmla="*/ 3295922 w 5731022"/>
              <a:gd name="connsiteY128" fmla="*/ 1160584 h 1240971"/>
              <a:gd name="connsiteX129" fmla="*/ 3310995 w 5731022"/>
              <a:gd name="connsiteY129" fmla="*/ 1145512 h 1240971"/>
              <a:gd name="connsiteX130" fmla="*/ 3351188 w 5731022"/>
              <a:gd name="connsiteY130" fmla="*/ 1140488 h 1240971"/>
              <a:gd name="connsiteX131" fmla="*/ 3406454 w 5731022"/>
              <a:gd name="connsiteY131" fmla="*/ 1155560 h 1240971"/>
              <a:gd name="connsiteX132" fmla="*/ 3426551 w 5731022"/>
              <a:gd name="connsiteY132" fmla="*/ 1165609 h 1240971"/>
              <a:gd name="connsiteX133" fmla="*/ 3441624 w 5731022"/>
              <a:gd name="connsiteY133" fmla="*/ 1175657 h 1240971"/>
              <a:gd name="connsiteX134" fmla="*/ 3456696 w 5731022"/>
              <a:gd name="connsiteY134" fmla="*/ 1180681 h 1240971"/>
              <a:gd name="connsiteX135" fmla="*/ 3466744 w 5731022"/>
              <a:gd name="connsiteY135" fmla="*/ 1195754 h 1240971"/>
              <a:gd name="connsiteX136" fmla="*/ 3527035 w 5731022"/>
              <a:gd name="connsiteY136" fmla="*/ 1200778 h 1240971"/>
              <a:gd name="connsiteX137" fmla="*/ 3542107 w 5731022"/>
              <a:gd name="connsiteY137" fmla="*/ 1190730 h 1240971"/>
              <a:gd name="connsiteX138" fmla="*/ 3567228 w 5731022"/>
              <a:gd name="connsiteY138" fmla="*/ 1180681 h 1240971"/>
              <a:gd name="connsiteX139" fmla="*/ 3587325 w 5731022"/>
              <a:gd name="connsiteY139" fmla="*/ 1150536 h 1240971"/>
              <a:gd name="connsiteX140" fmla="*/ 3617470 w 5731022"/>
              <a:gd name="connsiteY140" fmla="*/ 1125415 h 1240971"/>
              <a:gd name="connsiteX141" fmla="*/ 3632542 w 5731022"/>
              <a:gd name="connsiteY141" fmla="*/ 1105319 h 1240971"/>
              <a:gd name="connsiteX142" fmla="*/ 3662687 w 5731022"/>
              <a:gd name="connsiteY142" fmla="*/ 1085222 h 1240971"/>
              <a:gd name="connsiteX143" fmla="*/ 3697856 w 5731022"/>
              <a:gd name="connsiteY143" fmla="*/ 1070149 h 1240971"/>
              <a:gd name="connsiteX144" fmla="*/ 3707905 w 5731022"/>
              <a:gd name="connsiteY144" fmla="*/ 1060101 h 1240971"/>
              <a:gd name="connsiteX145" fmla="*/ 3743074 w 5731022"/>
              <a:gd name="connsiteY145" fmla="*/ 1040004 h 1240971"/>
              <a:gd name="connsiteX146" fmla="*/ 3813413 w 5731022"/>
              <a:gd name="connsiteY146" fmla="*/ 1024932 h 1240971"/>
              <a:gd name="connsiteX147" fmla="*/ 3833509 w 5731022"/>
              <a:gd name="connsiteY147" fmla="*/ 1014883 h 1240971"/>
              <a:gd name="connsiteX148" fmla="*/ 3858630 w 5731022"/>
              <a:gd name="connsiteY148" fmla="*/ 1009859 h 1240971"/>
              <a:gd name="connsiteX149" fmla="*/ 3873703 w 5731022"/>
              <a:gd name="connsiteY149" fmla="*/ 1004835 h 1240971"/>
              <a:gd name="connsiteX150" fmla="*/ 3923944 w 5731022"/>
              <a:gd name="connsiteY150" fmla="*/ 1014883 h 1240971"/>
              <a:gd name="connsiteX151" fmla="*/ 3933993 w 5731022"/>
              <a:gd name="connsiteY151" fmla="*/ 1029956 h 1240971"/>
              <a:gd name="connsiteX152" fmla="*/ 3964138 w 5731022"/>
              <a:gd name="connsiteY152" fmla="*/ 1075173 h 1240971"/>
              <a:gd name="connsiteX153" fmla="*/ 3969162 w 5731022"/>
              <a:gd name="connsiteY153" fmla="*/ 1100294 h 1240971"/>
              <a:gd name="connsiteX154" fmla="*/ 3979210 w 5731022"/>
              <a:gd name="connsiteY154" fmla="*/ 1110343 h 1240971"/>
              <a:gd name="connsiteX155" fmla="*/ 3984235 w 5731022"/>
              <a:gd name="connsiteY155" fmla="*/ 1130439 h 1240971"/>
              <a:gd name="connsiteX156" fmla="*/ 4019404 w 5731022"/>
              <a:gd name="connsiteY156" fmla="*/ 1165609 h 1240971"/>
              <a:gd name="connsiteX157" fmla="*/ 4064621 w 5731022"/>
              <a:gd name="connsiteY157" fmla="*/ 1150536 h 1240971"/>
              <a:gd name="connsiteX158" fmla="*/ 4079694 w 5731022"/>
              <a:gd name="connsiteY158" fmla="*/ 1125415 h 1240971"/>
              <a:gd name="connsiteX159" fmla="*/ 4099791 w 5731022"/>
              <a:gd name="connsiteY159" fmla="*/ 1105319 h 1240971"/>
              <a:gd name="connsiteX160" fmla="*/ 4129936 w 5731022"/>
              <a:gd name="connsiteY160" fmla="*/ 1075173 h 1240971"/>
              <a:gd name="connsiteX161" fmla="*/ 4150032 w 5731022"/>
              <a:gd name="connsiteY161" fmla="*/ 1040004 h 1240971"/>
              <a:gd name="connsiteX162" fmla="*/ 4160081 w 5731022"/>
              <a:gd name="connsiteY162" fmla="*/ 1019908 h 1240971"/>
              <a:gd name="connsiteX163" fmla="*/ 4165105 w 5731022"/>
              <a:gd name="connsiteY163" fmla="*/ 1004835 h 1240971"/>
              <a:gd name="connsiteX164" fmla="*/ 4185202 w 5731022"/>
              <a:gd name="connsiteY164" fmla="*/ 984738 h 1240971"/>
              <a:gd name="connsiteX165" fmla="*/ 4200274 w 5731022"/>
              <a:gd name="connsiteY165" fmla="*/ 979714 h 1240971"/>
              <a:gd name="connsiteX166" fmla="*/ 4235443 w 5731022"/>
              <a:gd name="connsiteY166" fmla="*/ 954593 h 1240971"/>
              <a:gd name="connsiteX167" fmla="*/ 4275637 w 5731022"/>
              <a:gd name="connsiteY167" fmla="*/ 934497 h 1240971"/>
              <a:gd name="connsiteX168" fmla="*/ 4310806 w 5731022"/>
              <a:gd name="connsiteY168" fmla="*/ 914400 h 1240971"/>
              <a:gd name="connsiteX169" fmla="*/ 4325878 w 5731022"/>
              <a:gd name="connsiteY169" fmla="*/ 904352 h 1240971"/>
              <a:gd name="connsiteX170" fmla="*/ 4381144 w 5731022"/>
              <a:gd name="connsiteY170" fmla="*/ 904352 h 1240971"/>
              <a:gd name="connsiteX171" fmla="*/ 4401241 w 5731022"/>
              <a:gd name="connsiteY171" fmla="*/ 914400 h 1240971"/>
              <a:gd name="connsiteX172" fmla="*/ 4416314 w 5731022"/>
              <a:gd name="connsiteY172" fmla="*/ 919424 h 1240971"/>
              <a:gd name="connsiteX173" fmla="*/ 4431386 w 5731022"/>
              <a:gd name="connsiteY173" fmla="*/ 929472 h 1240971"/>
              <a:gd name="connsiteX174" fmla="*/ 4456507 w 5731022"/>
              <a:gd name="connsiteY174" fmla="*/ 974690 h 1240971"/>
              <a:gd name="connsiteX175" fmla="*/ 4476604 w 5731022"/>
              <a:gd name="connsiteY175" fmla="*/ 999811 h 1240971"/>
              <a:gd name="connsiteX176" fmla="*/ 4567039 w 5731022"/>
              <a:gd name="connsiteY176" fmla="*/ 994787 h 1240971"/>
              <a:gd name="connsiteX177" fmla="*/ 4597184 w 5731022"/>
              <a:gd name="connsiteY177" fmla="*/ 969666 h 1240971"/>
              <a:gd name="connsiteX178" fmla="*/ 4617281 w 5731022"/>
              <a:gd name="connsiteY178" fmla="*/ 959617 h 1240971"/>
              <a:gd name="connsiteX179" fmla="*/ 4632353 w 5731022"/>
              <a:gd name="connsiteY179" fmla="*/ 944545 h 1240971"/>
              <a:gd name="connsiteX180" fmla="*/ 4652450 w 5731022"/>
              <a:gd name="connsiteY180" fmla="*/ 934497 h 1240971"/>
              <a:gd name="connsiteX181" fmla="*/ 4672547 w 5731022"/>
              <a:gd name="connsiteY181" fmla="*/ 919424 h 1240971"/>
              <a:gd name="connsiteX182" fmla="*/ 4737861 w 5731022"/>
              <a:gd name="connsiteY182" fmla="*/ 884255 h 1240971"/>
              <a:gd name="connsiteX183" fmla="*/ 4762982 w 5731022"/>
              <a:gd name="connsiteY183" fmla="*/ 879231 h 1240971"/>
              <a:gd name="connsiteX184" fmla="*/ 4778054 w 5731022"/>
              <a:gd name="connsiteY184" fmla="*/ 874206 h 1240971"/>
              <a:gd name="connsiteX185" fmla="*/ 4819294 w 5731022"/>
              <a:gd name="connsiteY185" fmla="*/ 873944 h 1240971"/>
              <a:gd name="connsiteX186" fmla="*/ 4877465 w 5731022"/>
              <a:gd name="connsiteY186" fmla="*/ 895638 h 1240971"/>
              <a:gd name="connsiteX187" fmla="*/ 4935347 w 5731022"/>
              <a:gd name="connsiteY187" fmla="*/ 934523 h 1240971"/>
              <a:gd name="connsiteX188" fmla="*/ 4995402 w 5731022"/>
              <a:gd name="connsiteY188" fmla="*/ 1006746 h 1240971"/>
              <a:gd name="connsiteX189" fmla="*/ 5024762 w 5731022"/>
              <a:gd name="connsiteY189" fmla="*/ 1051963 h 1240971"/>
              <a:gd name="connsiteX190" fmla="*/ 5092223 w 5731022"/>
              <a:gd name="connsiteY190" fmla="*/ 1016506 h 1240971"/>
              <a:gd name="connsiteX191" fmla="*/ 5144322 w 5731022"/>
              <a:gd name="connsiteY191" fmla="*/ 948261 h 1240971"/>
              <a:gd name="connsiteX192" fmla="*/ 5189252 w 5731022"/>
              <a:gd name="connsiteY192" fmla="*/ 886112 h 1240971"/>
              <a:gd name="connsiteX193" fmla="*/ 5226279 w 5731022"/>
              <a:gd name="connsiteY193" fmla="*/ 856230 h 1240971"/>
              <a:gd name="connsiteX194" fmla="*/ 5260637 w 5731022"/>
              <a:gd name="connsiteY194" fmla="*/ 822918 h 1240971"/>
              <a:gd name="connsiteX195" fmla="*/ 5295282 w 5731022"/>
              <a:gd name="connsiteY195" fmla="*/ 800440 h 1240971"/>
              <a:gd name="connsiteX196" fmla="*/ 5334430 w 5731022"/>
              <a:gd name="connsiteY196" fmla="*/ 794893 h 1240971"/>
              <a:gd name="connsiteX197" fmla="*/ 5412174 w 5731022"/>
              <a:gd name="connsiteY197" fmla="*/ 824252 h 1240971"/>
              <a:gd name="connsiteX198" fmla="*/ 5431197 w 5731022"/>
              <a:gd name="connsiteY198" fmla="*/ 768699 h 1240971"/>
              <a:gd name="connsiteX199" fmla="*/ 5441246 w 5731022"/>
              <a:gd name="connsiteY199" fmla="*/ 753626 h 1240971"/>
              <a:gd name="connsiteX200" fmla="*/ 5456318 w 5731022"/>
              <a:gd name="connsiteY200" fmla="*/ 708409 h 1240971"/>
              <a:gd name="connsiteX201" fmla="*/ 5466366 w 5731022"/>
              <a:gd name="connsiteY201" fmla="*/ 683288 h 1240971"/>
              <a:gd name="connsiteX202" fmla="*/ 5476415 w 5731022"/>
              <a:gd name="connsiteY202" fmla="*/ 643094 h 1240971"/>
              <a:gd name="connsiteX203" fmla="*/ 5491487 w 5731022"/>
              <a:gd name="connsiteY203" fmla="*/ 617973 h 1240971"/>
              <a:gd name="connsiteX204" fmla="*/ 5506560 w 5731022"/>
              <a:gd name="connsiteY204" fmla="*/ 572756 h 1240971"/>
              <a:gd name="connsiteX205" fmla="*/ 5526656 w 5731022"/>
              <a:gd name="connsiteY205" fmla="*/ 522514 h 1240971"/>
              <a:gd name="connsiteX206" fmla="*/ 5546753 w 5731022"/>
              <a:gd name="connsiteY206" fmla="*/ 467248 h 1240971"/>
              <a:gd name="connsiteX207" fmla="*/ 5556802 w 5731022"/>
              <a:gd name="connsiteY207" fmla="*/ 411982 h 1240971"/>
              <a:gd name="connsiteX208" fmla="*/ 5566850 w 5731022"/>
              <a:gd name="connsiteY208" fmla="*/ 381837 h 1240971"/>
              <a:gd name="connsiteX209" fmla="*/ 5576898 w 5731022"/>
              <a:gd name="connsiteY209" fmla="*/ 356716 h 1240971"/>
              <a:gd name="connsiteX210" fmla="*/ 5596995 w 5731022"/>
              <a:gd name="connsiteY210" fmla="*/ 316523 h 1240971"/>
              <a:gd name="connsiteX211" fmla="*/ 5617092 w 5731022"/>
              <a:gd name="connsiteY211" fmla="*/ 246184 h 1240971"/>
              <a:gd name="connsiteX212" fmla="*/ 5622116 w 5731022"/>
              <a:gd name="connsiteY212" fmla="*/ 226088 h 1240971"/>
              <a:gd name="connsiteX213" fmla="*/ 5632164 w 5731022"/>
              <a:gd name="connsiteY213" fmla="*/ 216039 h 1240971"/>
              <a:gd name="connsiteX214" fmla="*/ 5637188 w 5731022"/>
              <a:gd name="connsiteY214" fmla="*/ 200967 h 1240971"/>
              <a:gd name="connsiteX215" fmla="*/ 5642213 w 5731022"/>
              <a:gd name="connsiteY215" fmla="*/ 180870 h 1240971"/>
              <a:gd name="connsiteX216" fmla="*/ 5652261 w 5731022"/>
              <a:gd name="connsiteY216" fmla="*/ 165798 h 1240971"/>
              <a:gd name="connsiteX217" fmla="*/ 5693265 w 5731022"/>
              <a:gd name="connsiteY217" fmla="*/ 101268 h 1240971"/>
              <a:gd name="connsiteX218" fmla="*/ 5728722 w 5731022"/>
              <a:gd name="connsiteY218" fmla="*/ 42287 h 1240971"/>
              <a:gd name="connsiteX219" fmla="*/ 5624759 w 5731022"/>
              <a:gd name="connsiteY219" fmla="*/ 46788 h 1240971"/>
              <a:gd name="connsiteX220" fmla="*/ 5575040 w 5731022"/>
              <a:gd name="connsiteY220" fmla="*/ 39120 h 1240971"/>
              <a:gd name="connsiteX221" fmla="*/ 5470369 w 5731022"/>
              <a:gd name="connsiteY221" fmla="*/ 39381 h 1240971"/>
              <a:gd name="connsiteX222" fmla="*/ 5379124 w 5731022"/>
              <a:gd name="connsiteY222" fmla="*/ 39644 h 1240971"/>
              <a:gd name="connsiteX223" fmla="*/ 5323570 w 5731022"/>
              <a:gd name="connsiteY223" fmla="*/ 61337 h 1240971"/>
              <a:gd name="connsiteX224" fmla="*/ 5238682 w 5731022"/>
              <a:gd name="connsiteY224" fmla="*/ 54455 h 1240971"/>
              <a:gd name="connsiteX225" fmla="*/ 5075554 w 5731022"/>
              <a:gd name="connsiteY225" fmla="*/ 56574 h 1240971"/>
              <a:gd name="connsiteX226" fmla="*/ 4989070 w 5731022"/>
              <a:gd name="connsiteY226" fmla="*/ 65314 h 1240971"/>
              <a:gd name="connsiteX227" fmla="*/ 4943852 w 5731022"/>
              <a:gd name="connsiteY227" fmla="*/ 60290 h 1240971"/>
              <a:gd name="connsiteX228" fmla="*/ 4823272 w 5731022"/>
              <a:gd name="connsiteY228" fmla="*/ 50242 h 1240971"/>
              <a:gd name="connsiteX229" fmla="*/ 4677571 w 5731022"/>
              <a:gd name="connsiteY229" fmla="*/ 55266 h 1240971"/>
              <a:gd name="connsiteX230" fmla="*/ 4647426 w 5731022"/>
              <a:gd name="connsiteY230" fmla="*/ 60290 h 1240971"/>
              <a:gd name="connsiteX231" fmla="*/ 4577087 w 5731022"/>
              <a:gd name="connsiteY231" fmla="*/ 65314 h 1240971"/>
              <a:gd name="connsiteX232" fmla="*/ 4486652 w 5731022"/>
              <a:gd name="connsiteY232" fmla="*/ 75363 h 1240971"/>
              <a:gd name="connsiteX233" fmla="*/ 4139984 w 5731022"/>
              <a:gd name="connsiteY233" fmla="*/ 60290 h 1240971"/>
              <a:gd name="connsiteX234" fmla="*/ 3918920 w 5731022"/>
              <a:gd name="connsiteY234" fmla="*/ 50242 h 1240971"/>
              <a:gd name="connsiteX235" fmla="*/ 3873703 w 5731022"/>
              <a:gd name="connsiteY235" fmla="*/ 45217 h 1240971"/>
              <a:gd name="connsiteX236" fmla="*/ 3687808 w 5731022"/>
              <a:gd name="connsiteY236" fmla="*/ 40193 h 1240971"/>
              <a:gd name="connsiteX237" fmla="*/ 3662687 w 5731022"/>
              <a:gd name="connsiteY237" fmla="*/ 35169 h 1240971"/>
              <a:gd name="connsiteX238" fmla="*/ 3627518 w 5731022"/>
              <a:gd name="connsiteY238" fmla="*/ 25121 h 1240971"/>
              <a:gd name="connsiteX239" fmla="*/ 3547131 w 5731022"/>
              <a:gd name="connsiteY239" fmla="*/ 20097 h 1240971"/>
              <a:gd name="connsiteX240" fmla="*/ 3310995 w 5731022"/>
              <a:gd name="connsiteY240" fmla="*/ 25121 h 1240971"/>
              <a:gd name="connsiteX241" fmla="*/ 3265777 w 5731022"/>
              <a:gd name="connsiteY241" fmla="*/ 30145 h 1240971"/>
              <a:gd name="connsiteX242" fmla="*/ 3175342 w 5731022"/>
              <a:gd name="connsiteY242" fmla="*/ 35169 h 1240971"/>
              <a:gd name="connsiteX243" fmla="*/ 2582489 w 5731022"/>
              <a:gd name="connsiteY243" fmla="*/ 45217 h 1240971"/>
              <a:gd name="connsiteX244" fmla="*/ 2255918 w 5731022"/>
              <a:gd name="connsiteY244" fmla="*/ 40193 h 1240971"/>
              <a:gd name="connsiteX245" fmla="*/ 1974564 w 5731022"/>
              <a:gd name="connsiteY245" fmla="*/ 30145 h 1240971"/>
              <a:gd name="connsiteX246" fmla="*/ 1944419 w 5731022"/>
              <a:gd name="connsiteY246" fmla="*/ 25121 h 1240971"/>
              <a:gd name="connsiteX247" fmla="*/ 1848960 w 5731022"/>
              <a:gd name="connsiteY247" fmla="*/ 20097 h 1240971"/>
              <a:gd name="connsiteX248" fmla="*/ 1768573 w 5731022"/>
              <a:gd name="connsiteY248" fmla="*/ 10048 h 1240971"/>
              <a:gd name="connsiteX249" fmla="*/ 1502292 w 5731022"/>
              <a:gd name="connsiteY249" fmla="*/ 20097 h 1240971"/>
              <a:gd name="connsiteX250" fmla="*/ 1467122 w 5731022"/>
              <a:gd name="connsiteY250" fmla="*/ 25121 h 1240971"/>
              <a:gd name="connsiteX251" fmla="*/ 1426929 w 5731022"/>
              <a:gd name="connsiteY251" fmla="*/ 30145 h 1240971"/>
              <a:gd name="connsiteX252" fmla="*/ 1341518 w 5731022"/>
              <a:gd name="connsiteY252" fmla="*/ 45217 h 1240971"/>
              <a:gd name="connsiteX253" fmla="*/ 1095333 w 5731022"/>
              <a:gd name="connsiteY253" fmla="*/ 35169 h 1240971"/>
              <a:gd name="connsiteX254" fmla="*/ 979777 w 5731022"/>
              <a:gd name="connsiteY254" fmla="*/ 20097 h 1240971"/>
              <a:gd name="connsiteX255" fmla="*/ 939584 w 5731022"/>
              <a:gd name="connsiteY255" fmla="*/ 10048 h 1240971"/>
              <a:gd name="connsiteX256" fmla="*/ 813980 w 5731022"/>
              <a:gd name="connsiteY256" fmla="*/ 0 h 1240971"/>
              <a:gd name="connsiteX257" fmla="*/ 743641 w 5731022"/>
              <a:gd name="connsiteY257" fmla="*/ 5024 h 1240971"/>
              <a:gd name="connsiteX258" fmla="*/ 582867 w 5731022"/>
              <a:gd name="connsiteY258" fmla="*/ 15072 h 1240971"/>
              <a:gd name="connsiteX259" fmla="*/ 432142 w 5731022"/>
              <a:gd name="connsiteY259" fmla="*/ 5024 h 1240971"/>
              <a:gd name="connsiteX260" fmla="*/ 412046 w 5731022"/>
              <a:gd name="connsiteY260" fmla="*/ 0 h 1240971"/>
              <a:gd name="connsiteX261" fmla="*/ 281417 w 5731022"/>
              <a:gd name="connsiteY261" fmla="*/ 10048 h 1240971"/>
              <a:gd name="connsiteX262" fmla="*/ 261320 w 5731022"/>
              <a:gd name="connsiteY262" fmla="*/ 15072 h 1240971"/>
              <a:gd name="connsiteX263" fmla="*/ 100547 w 5731022"/>
              <a:gd name="connsiteY263" fmla="*/ 20097 h 1240971"/>
              <a:gd name="connsiteX264" fmla="*/ 5087 w 5731022"/>
              <a:gd name="connsiteY264" fmla="*/ 30145 h 1240971"/>
              <a:gd name="connsiteX0" fmla="*/ 5087 w 5730544"/>
              <a:gd name="connsiteY0" fmla="*/ 30145 h 1240971"/>
              <a:gd name="connsiteX1" fmla="*/ 15136 w 5730544"/>
              <a:gd name="connsiteY1" fmla="*/ 115556 h 1240971"/>
              <a:gd name="connsiteX2" fmla="*/ 20160 w 5730544"/>
              <a:gd name="connsiteY2" fmla="*/ 150725 h 1240971"/>
              <a:gd name="connsiteX3" fmla="*/ 25184 w 5730544"/>
              <a:gd name="connsiteY3" fmla="*/ 236136 h 1240971"/>
              <a:gd name="connsiteX4" fmla="*/ 35232 w 5730544"/>
              <a:gd name="connsiteY4" fmla="*/ 311499 h 1240971"/>
              <a:gd name="connsiteX5" fmla="*/ 40256 w 5730544"/>
              <a:gd name="connsiteY5" fmla="*/ 783771 h 1240971"/>
              <a:gd name="connsiteX6" fmla="*/ 45281 w 5730544"/>
              <a:gd name="connsiteY6" fmla="*/ 864158 h 1240971"/>
              <a:gd name="connsiteX7" fmla="*/ 35232 w 5730544"/>
              <a:gd name="connsiteY7" fmla="*/ 1034980 h 1240971"/>
              <a:gd name="connsiteX8" fmla="*/ 25184 w 5730544"/>
              <a:gd name="connsiteY8" fmla="*/ 1100294 h 1240971"/>
              <a:gd name="connsiteX9" fmla="*/ 20160 w 5730544"/>
              <a:gd name="connsiteY9" fmla="*/ 1150536 h 1240971"/>
              <a:gd name="connsiteX10" fmla="*/ 25184 w 5730544"/>
              <a:gd name="connsiteY10" fmla="*/ 1170633 h 1240971"/>
              <a:gd name="connsiteX11" fmla="*/ 35232 w 5730544"/>
              <a:gd name="connsiteY11" fmla="*/ 1160584 h 1240971"/>
              <a:gd name="connsiteX12" fmla="*/ 55329 w 5730544"/>
              <a:gd name="connsiteY12" fmla="*/ 1100294 h 1240971"/>
              <a:gd name="connsiteX13" fmla="*/ 60353 w 5730544"/>
              <a:gd name="connsiteY13" fmla="*/ 1085222 h 1240971"/>
              <a:gd name="connsiteX14" fmla="*/ 70402 w 5730544"/>
              <a:gd name="connsiteY14" fmla="*/ 1075173 h 1240971"/>
              <a:gd name="connsiteX15" fmla="*/ 95522 w 5730544"/>
              <a:gd name="connsiteY15" fmla="*/ 1045028 h 1240971"/>
              <a:gd name="connsiteX16" fmla="*/ 110595 w 5730544"/>
              <a:gd name="connsiteY16" fmla="*/ 1040004 h 1240971"/>
              <a:gd name="connsiteX17" fmla="*/ 135716 w 5730544"/>
              <a:gd name="connsiteY17" fmla="*/ 1019908 h 1240971"/>
              <a:gd name="connsiteX18" fmla="*/ 150788 w 5730544"/>
              <a:gd name="connsiteY18" fmla="*/ 1009859 h 1240971"/>
              <a:gd name="connsiteX19" fmla="*/ 175909 w 5730544"/>
              <a:gd name="connsiteY19" fmla="*/ 994787 h 1240971"/>
              <a:gd name="connsiteX20" fmla="*/ 216103 w 5730544"/>
              <a:gd name="connsiteY20" fmla="*/ 984738 h 1240971"/>
              <a:gd name="connsiteX21" fmla="*/ 286441 w 5730544"/>
              <a:gd name="connsiteY21" fmla="*/ 994787 h 1240971"/>
              <a:gd name="connsiteX22" fmla="*/ 301514 w 5730544"/>
              <a:gd name="connsiteY22" fmla="*/ 1004835 h 1240971"/>
              <a:gd name="connsiteX23" fmla="*/ 321610 w 5730544"/>
              <a:gd name="connsiteY23" fmla="*/ 1034980 h 1240971"/>
              <a:gd name="connsiteX24" fmla="*/ 356780 w 5730544"/>
              <a:gd name="connsiteY24" fmla="*/ 1065125 h 1240971"/>
              <a:gd name="connsiteX25" fmla="*/ 366828 w 5730544"/>
              <a:gd name="connsiteY25" fmla="*/ 1080198 h 1240971"/>
              <a:gd name="connsiteX26" fmla="*/ 381900 w 5730544"/>
              <a:gd name="connsiteY26" fmla="*/ 1085222 h 1240971"/>
              <a:gd name="connsiteX27" fmla="*/ 396973 w 5730544"/>
              <a:gd name="connsiteY27" fmla="*/ 1095270 h 1240971"/>
              <a:gd name="connsiteX28" fmla="*/ 407021 w 5730544"/>
              <a:gd name="connsiteY28" fmla="*/ 1105319 h 1240971"/>
              <a:gd name="connsiteX29" fmla="*/ 422094 w 5730544"/>
              <a:gd name="connsiteY29" fmla="*/ 1110343 h 1240971"/>
              <a:gd name="connsiteX30" fmla="*/ 437166 w 5730544"/>
              <a:gd name="connsiteY30" fmla="*/ 1120391 h 1240971"/>
              <a:gd name="connsiteX31" fmla="*/ 467311 w 5730544"/>
              <a:gd name="connsiteY31" fmla="*/ 1130439 h 1240971"/>
              <a:gd name="connsiteX32" fmla="*/ 522577 w 5730544"/>
              <a:gd name="connsiteY32" fmla="*/ 1115367 h 1240971"/>
              <a:gd name="connsiteX33" fmla="*/ 552722 w 5730544"/>
              <a:gd name="connsiteY33" fmla="*/ 1075173 h 1240971"/>
              <a:gd name="connsiteX34" fmla="*/ 567795 w 5730544"/>
              <a:gd name="connsiteY34" fmla="*/ 1070149 h 1240971"/>
              <a:gd name="connsiteX35" fmla="*/ 582867 w 5730544"/>
              <a:gd name="connsiteY35" fmla="*/ 1060101 h 1240971"/>
              <a:gd name="connsiteX36" fmla="*/ 638133 w 5730544"/>
              <a:gd name="connsiteY36" fmla="*/ 1045028 h 1240971"/>
              <a:gd name="connsiteX37" fmla="*/ 653206 w 5730544"/>
              <a:gd name="connsiteY37" fmla="*/ 1040004 h 1240971"/>
              <a:gd name="connsiteX38" fmla="*/ 693399 w 5730544"/>
              <a:gd name="connsiteY38" fmla="*/ 1045028 h 1240971"/>
              <a:gd name="connsiteX39" fmla="*/ 723544 w 5730544"/>
              <a:gd name="connsiteY39" fmla="*/ 1055077 h 1240971"/>
              <a:gd name="connsiteX40" fmla="*/ 733593 w 5730544"/>
              <a:gd name="connsiteY40" fmla="*/ 1065125 h 1240971"/>
              <a:gd name="connsiteX41" fmla="*/ 768762 w 5730544"/>
              <a:gd name="connsiteY41" fmla="*/ 1080198 h 1240971"/>
              <a:gd name="connsiteX42" fmla="*/ 803931 w 5730544"/>
              <a:gd name="connsiteY42" fmla="*/ 1105319 h 1240971"/>
              <a:gd name="connsiteX43" fmla="*/ 834076 w 5730544"/>
              <a:gd name="connsiteY43" fmla="*/ 1130439 h 1240971"/>
              <a:gd name="connsiteX44" fmla="*/ 869246 w 5730544"/>
              <a:gd name="connsiteY44" fmla="*/ 1140488 h 1240971"/>
              <a:gd name="connsiteX45" fmla="*/ 909439 w 5730544"/>
              <a:gd name="connsiteY45" fmla="*/ 1175657 h 1240971"/>
              <a:gd name="connsiteX46" fmla="*/ 939584 w 5730544"/>
              <a:gd name="connsiteY46" fmla="*/ 1185705 h 1240971"/>
              <a:gd name="connsiteX47" fmla="*/ 979777 w 5730544"/>
              <a:gd name="connsiteY47" fmla="*/ 1180681 h 1240971"/>
              <a:gd name="connsiteX48" fmla="*/ 989826 w 5730544"/>
              <a:gd name="connsiteY48" fmla="*/ 1170633 h 1240971"/>
              <a:gd name="connsiteX49" fmla="*/ 1004898 w 5730544"/>
              <a:gd name="connsiteY49" fmla="*/ 1150536 h 1240971"/>
              <a:gd name="connsiteX50" fmla="*/ 1014947 w 5730544"/>
              <a:gd name="connsiteY50" fmla="*/ 1120391 h 1240971"/>
              <a:gd name="connsiteX51" fmla="*/ 1040067 w 5730544"/>
              <a:gd name="connsiteY51" fmla="*/ 1095270 h 1240971"/>
              <a:gd name="connsiteX52" fmla="*/ 1050116 w 5730544"/>
              <a:gd name="connsiteY52" fmla="*/ 1085222 h 1240971"/>
              <a:gd name="connsiteX53" fmla="*/ 1075237 w 5730544"/>
              <a:gd name="connsiteY53" fmla="*/ 1065125 h 1240971"/>
              <a:gd name="connsiteX54" fmla="*/ 1090309 w 5730544"/>
              <a:gd name="connsiteY54" fmla="*/ 1050053 h 1240971"/>
              <a:gd name="connsiteX55" fmla="*/ 1120454 w 5730544"/>
              <a:gd name="connsiteY55" fmla="*/ 1040004 h 1240971"/>
              <a:gd name="connsiteX56" fmla="*/ 1135527 w 5730544"/>
              <a:gd name="connsiteY56" fmla="*/ 1034980 h 1240971"/>
              <a:gd name="connsiteX57" fmla="*/ 1160648 w 5730544"/>
              <a:gd name="connsiteY57" fmla="*/ 1019908 h 1240971"/>
              <a:gd name="connsiteX58" fmla="*/ 1175720 w 5730544"/>
              <a:gd name="connsiteY58" fmla="*/ 1014883 h 1240971"/>
              <a:gd name="connsiteX59" fmla="*/ 1195817 w 5730544"/>
              <a:gd name="connsiteY59" fmla="*/ 1004835 h 1240971"/>
              <a:gd name="connsiteX60" fmla="*/ 1281228 w 5730544"/>
              <a:gd name="connsiteY60" fmla="*/ 1014883 h 1240971"/>
              <a:gd name="connsiteX61" fmla="*/ 1296300 w 5730544"/>
              <a:gd name="connsiteY61" fmla="*/ 1024932 h 1240971"/>
              <a:gd name="connsiteX62" fmla="*/ 1311373 w 5730544"/>
              <a:gd name="connsiteY62" fmla="*/ 1029956 h 1240971"/>
              <a:gd name="connsiteX63" fmla="*/ 1326446 w 5730544"/>
              <a:gd name="connsiteY63" fmla="*/ 1060101 h 1240971"/>
              <a:gd name="connsiteX64" fmla="*/ 1341518 w 5730544"/>
              <a:gd name="connsiteY64" fmla="*/ 1065125 h 1240971"/>
              <a:gd name="connsiteX65" fmla="*/ 1356591 w 5730544"/>
              <a:gd name="connsiteY65" fmla="*/ 1075173 h 1240971"/>
              <a:gd name="connsiteX66" fmla="*/ 1396784 w 5730544"/>
              <a:gd name="connsiteY66" fmla="*/ 1090246 h 1240971"/>
              <a:gd name="connsiteX67" fmla="*/ 1447026 w 5730544"/>
              <a:gd name="connsiteY67" fmla="*/ 1105319 h 1240971"/>
              <a:gd name="connsiteX68" fmla="*/ 1462098 w 5730544"/>
              <a:gd name="connsiteY68" fmla="*/ 1110343 h 1240971"/>
              <a:gd name="connsiteX69" fmla="*/ 1497267 w 5730544"/>
              <a:gd name="connsiteY69" fmla="*/ 1120391 h 1240971"/>
              <a:gd name="connsiteX70" fmla="*/ 1552533 w 5730544"/>
              <a:gd name="connsiteY70" fmla="*/ 1115367 h 1240971"/>
              <a:gd name="connsiteX71" fmla="*/ 1567606 w 5730544"/>
              <a:gd name="connsiteY71" fmla="*/ 1110343 h 1240971"/>
              <a:gd name="connsiteX72" fmla="*/ 1587703 w 5730544"/>
              <a:gd name="connsiteY72" fmla="*/ 1090246 h 1240971"/>
              <a:gd name="connsiteX73" fmla="*/ 1637944 w 5730544"/>
              <a:gd name="connsiteY73" fmla="*/ 1050053 h 1240971"/>
              <a:gd name="connsiteX74" fmla="*/ 1653017 w 5730544"/>
              <a:gd name="connsiteY74" fmla="*/ 1029956 h 1240971"/>
              <a:gd name="connsiteX75" fmla="*/ 1688186 w 5730544"/>
              <a:gd name="connsiteY75" fmla="*/ 1019908 h 1240971"/>
              <a:gd name="connsiteX76" fmla="*/ 1788670 w 5730544"/>
              <a:gd name="connsiteY76" fmla="*/ 1029956 h 1240971"/>
              <a:gd name="connsiteX77" fmla="*/ 1818815 w 5730544"/>
              <a:gd name="connsiteY77" fmla="*/ 1040004 h 1240971"/>
              <a:gd name="connsiteX78" fmla="*/ 1853984 w 5730544"/>
              <a:gd name="connsiteY78" fmla="*/ 1050053 h 1240971"/>
              <a:gd name="connsiteX79" fmla="*/ 1869056 w 5730544"/>
              <a:gd name="connsiteY79" fmla="*/ 1060101 h 1240971"/>
              <a:gd name="connsiteX80" fmla="*/ 1894177 w 5730544"/>
              <a:gd name="connsiteY80" fmla="*/ 1065125 h 1240971"/>
              <a:gd name="connsiteX81" fmla="*/ 1949443 w 5730544"/>
              <a:gd name="connsiteY81" fmla="*/ 1085222 h 1240971"/>
              <a:gd name="connsiteX82" fmla="*/ 1969540 w 5730544"/>
              <a:gd name="connsiteY82" fmla="*/ 1090246 h 1240971"/>
              <a:gd name="connsiteX83" fmla="*/ 2014758 w 5730544"/>
              <a:gd name="connsiteY83" fmla="*/ 1110343 h 1240971"/>
              <a:gd name="connsiteX84" fmla="*/ 2039878 w 5730544"/>
              <a:gd name="connsiteY84" fmla="*/ 1125415 h 1240971"/>
              <a:gd name="connsiteX85" fmla="*/ 2120265 w 5730544"/>
              <a:gd name="connsiteY85" fmla="*/ 1120391 h 1240971"/>
              <a:gd name="connsiteX86" fmla="*/ 2130314 w 5730544"/>
              <a:gd name="connsiteY86" fmla="*/ 1110343 h 1240971"/>
              <a:gd name="connsiteX87" fmla="*/ 2155435 w 5730544"/>
              <a:gd name="connsiteY87" fmla="*/ 1100294 h 1240971"/>
              <a:gd name="connsiteX88" fmla="*/ 2190604 w 5730544"/>
              <a:gd name="connsiteY88" fmla="*/ 1070149 h 1240971"/>
              <a:gd name="connsiteX89" fmla="*/ 2230797 w 5730544"/>
              <a:gd name="connsiteY89" fmla="*/ 1040004 h 1240971"/>
              <a:gd name="connsiteX90" fmla="*/ 2245870 w 5730544"/>
              <a:gd name="connsiteY90" fmla="*/ 1034980 h 1240971"/>
              <a:gd name="connsiteX91" fmla="*/ 2270991 w 5730544"/>
              <a:gd name="connsiteY91" fmla="*/ 1019908 h 1240971"/>
              <a:gd name="connsiteX92" fmla="*/ 2301136 w 5730544"/>
              <a:gd name="connsiteY92" fmla="*/ 994787 h 1240971"/>
              <a:gd name="connsiteX93" fmla="*/ 2316208 w 5730544"/>
              <a:gd name="connsiteY93" fmla="*/ 989763 h 1240971"/>
              <a:gd name="connsiteX94" fmla="*/ 2396595 w 5730544"/>
              <a:gd name="connsiteY94" fmla="*/ 984738 h 1240971"/>
              <a:gd name="connsiteX95" fmla="*/ 2426740 w 5730544"/>
              <a:gd name="connsiteY95" fmla="*/ 989763 h 1240971"/>
              <a:gd name="connsiteX96" fmla="*/ 2461909 w 5730544"/>
              <a:gd name="connsiteY96" fmla="*/ 1024932 h 1240971"/>
              <a:gd name="connsiteX97" fmla="*/ 2476982 w 5730544"/>
              <a:gd name="connsiteY97" fmla="*/ 1029956 h 1240971"/>
              <a:gd name="connsiteX98" fmla="*/ 2487030 w 5730544"/>
              <a:gd name="connsiteY98" fmla="*/ 1045028 h 1240971"/>
              <a:gd name="connsiteX99" fmla="*/ 2497078 w 5730544"/>
              <a:gd name="connsiteY99" fmla="*/ 1055077 h 1240971"/>
              <a:gd name="connsiteX100" fmla="*/ 2532248 w 5730544"/>
              <a:gd name="connsiteY100" fmla="*/ 1095270 h 1240971"/>
              <a:gd name="connsiteX101" fmla="*/ 2567417 w 5730544"/>
              <a:gd name="connsiteY101" fmla="*/ 1135464 h 1240971"/>
              <a:gd name="connsiteX102" fmla="*/ 2582489 w 5730544"/>
              <a:gd name="connsiteY102" fmla="*/ 1145512 h 1240971"/>
              <a:gd name="connsiteX103" fmla="*/ 2622683 w 5730544"/>
              <a:gd name="connsiteY103" fmla="*/ 1170633 h 1240971"/>
              <a:gd name="connsiteX104" fmla="*/ 2657852 w 5730544"/>
              <a:gd name="connsiteY104" fmla="*/ 1160584 h 1240971"/>
              <a:gd name="connsiteX105" fmla="*/ 2682973 w 5730544"/>
              <a:gd name="connsiteY105" fmla="*/ 1145512 h 1240971"/>
              <a:gd name="connsiteX106" fmla="*/ 2713118 w 5730544"/>
              <a:gd name="connsiteY106" fmla="*/ 1130439 h 1240971"/>
              <a:gd name="connsiteX107" fmla="*/ 2728191 w 5730544"/>
              <a:gd name="connsiteY107" fmla="*/ 1120391 h 1240971"/>
              <a:gd name="connsiteX108" fmla="*/ 2748287 w 5730544"/>
              <a:gd name="connsiteY108" fmla="*/ 1115367 h 1240971"/>
              <a:gd name="connsiteX109" fmla="*/ 2778432 w 5730544"/>
              <a:gd name="connsiteY109" fmla="*/ 1105319 h 1240971"/>
              <a:gd name="connsiteX110" fmla="*/ 2868867 w 5730544"/>
              <a:gd name="connsiteY110" fmla="*/ 1075173 h 1240971"/>
              <a:gd name="connsiteX111" fmla="*/ 2893988 w 5730544"/>
              <a:gd name="connsiteY111" fmla="*/ 1070149 h 1240971"/>
              <a:gd name="connsiteX112" fmla="*/ 2919109 w 5730544"/>
              <a:gd name="connsiteY112" fmla="*/ 1075173 h 1240971"/>
              <a:gd name="connsiteX113" fmla="*/ 2934182 w 5730544"/>
              <a:gd name="connsiteY113" fmla="*/ 1080198 h 1240971"/>
              <a:gd name="connsiteX114" fmla="*/ 2944230 w 5730544"/>
              <a:gd name="connsiteY114" fmla="*/ 1110343 h 1240971"/>
              <a:gd name="connsiteX115" fmla="*/ 2959303 w 5730544"/>
              <a:gd name="connsiteY115" fmla="*/ 1125415 h 1240971"/>
              <a:gd name="connsiteX116" fmla="*/ 2979399 w 5730544"/>
              <a:gd name="connsiteY116" fmla="*/ 1155560 h 1240971"/>
              <a:gd name="connsiteX117" fmla="*/ 2994472 w 5730544"/>
              <a:gd name="connsiteY117" fmla="*/ 1160584 h 1240971"/>
              <a:gd name="connsiteX118" fmla="*/ 3014569 w 5730544"/>
              <a:gd name="connsiteY118" fmla="*/ 1180681 h 1240971"/>
              <a:gd name="connsiteX119" fmla="*/ 3024617 w 5730544"/>
              <a:gd name="connsiteY119" fmla="*/ 1190730 h 1240971"/>
              <a:gd name="connsiteX120" fmla="*/ 3069835 w 5730544"/>
              <a:gd name="connsiteY120" fmla="*/ 1215850 h 1240971"/>
              <a:gd name="connsiteX121" fmla="*/ 3079883 w 5730544"/>
              <a:gd name="connsiteY121" fmla="*/ 1225899 h 1240971"/>
              <a:gd name="connsiteX122" fmla="*/ 3099980 w 5730544"/>
              <a:gd name="connsiteY122" fmla="*/ 1230923 h 1240971"/>
              <a:gd name="connsiteX123" fmla="*/ 3130125 w 5730544"/>
              <a:gd name="connsiteY123" fmla="*/ 1240971 h 1240971"/>
              <a:gd name="connsiteX124" fmla="*/ 3180366 w 5730544"/>
              <a:gd name="connsiteY124" fmla="*/ 1235947 h 1240971"/>
              <a:gd name="connsiteX125" fmla="*/ 3195439 w 5730544"/>
              <a:gd name="connsiteY125" fmla="*/ 1225899 h 1240971"/>
              <a:gd name="connsiteX126" fmla="*/ 3220560 w 5730544"/>
              <a:gd name="connsiteY126" fmla="*/ 1215850 h 1240971"/>
              <a:gd name="connsiteX127" fmla="*/ 3255729 w 5730544"/>
              <a:gd name="connsiteY127" fmla="*/ 1185705 h 1240971"/>
              <a:gd name="connsiteX128" fmla="*/ 3295922 w 5730544"/>
              <a:gd name="connsiteY128" fmla="*/ 1160584 h 1240971"/>
              <a:gd name="connsiteX129" fmla="*/ 3310995 w 5730544"/>
              <a:gd name="connsiteY129" fmla="*/ 1145512 h 1240971"/>
              <a:gd name="connsiteX130" fmla="*/ 3351188 w 5730544"/>
              <a:gd name="connsiteY130" fmla="*/ 1140488 h 1240971"/>
              <a:gd name="connsiteX131" fmla="*/ 3406454 w 5730544"/>
              <a:gd name="connsiteY131" fmla="*/ 1155560 h 1240971"/>
              <a:gd name="connsiteX132" fmla="*/ 3426551 w 5730544"/>
              <a:gd name="connsiteY132" fmla="*/ 1165609 h 1240971"/>
              <a:gd name="connsiteX133" fmla="*/ 3441624 w 5730544"/>
              <a:gd name="connsiteY133" fmla="*/ 1175657 h 1240971"/>
              <a:gd name="connsiteX134" fmla="*/ 3456696 w 5730544"/>
              <a:gd name="connsiteY134" fmla="*/ 1180681 h 1240971"/>
              <a:gd name="connsiteX135" fmla="*/ 3466744 w 5730544"/>
              <a:gd name="connsiteY135" fmla="*/ 1195754 h 1240971"/>
              <a:gd name="connsiteX136" fmla="*/ 3527035 w 5730544"/>
              <a:gd name="connsiteY136" fmla="*/ 1200778 h 1240971"/>
              <a:gd name="connsiteX137" fmla="*/ 3542107 w 5730544"/>
              <a:gd name="connsiteY137" fmla="*/ 1190730 h 1240971"/>
              <a:gd name="connsiteX138" fmla="*/ 3567228 w 5730544"/>
              <a:gd name="connsiteY138" fmla="*/ 1180681 h 1240971"/>
              <a:gd name="connsiteX139" fmla="*/ 3587325 w 5730544"/>
              <a:gd name="connsiteY139" fmla="*/ 1150536 h 1240971"/>
              <a:gd name="connsiteX140" fmla="*/ 3617470 w 5730544"/>
              <a:gd name="connsiteY140" fmla="*/ 1125415 h 1240971"/>
              <a:gd name="connsiteX141" fmla="*/ 3632542 w 5730544"/>
              <a:gd name="connsiteY141" fmla="*/ 1105319 h 1240971"/>
              <a:gd name="connsiteX142" fmla="*/ 3662687 w 5730544"/>
              <a:gd name="connsiteY142" fmla="*/ 1085222 h 1240971"/>
              <a:gd name="connsiteX143" fmla="*/ 3697856 w 5730544"/>
              <a:gd name="connsiteY143" fmla="*/ 1070149 h 1240971"/>
              <a:gd name="connsiteX144" fmla="*/ 3707905 w 5730544"/>
              <a:gd name="connsiteY144" fmla="*/ 1060101 h 1240971"/>
              <a:gd name="connsiteX145" fmla="*/ 3743074 w 5730544"/>
              <a:gd name="connsiteY145" fmla="*/ 1040004 h 1240971"/>
              <a:gd name="connsiteX146" fmla="*/ 3813413 w 5730544"/>
              <a:gd name="connsiteY146" fmla="*/ 1024932 h 1240971"/>
              <a:gd name="connsiteX147" fmla="*/ 3833509 w 5730544"/>
              <a:gd name="connsiteY147" fmla="*/ 1014883 h 1240971"/>
              <a:gd name="connsiteX148" fmla="*/ 3858630 w 5730544"/>
              <a:gd name="connsiteY148" fmla="*/ 1009859 h 1240971"/>
              <a:gd name="connsiteX149" fmla="*/ 3873703 w 5730544"/>
              <a:gd name="connsiteY149" fmla="*/ 1004835 h 1240971"/>
              <a:gd name="connsiteX150" fmla="*/ 3923944 w 5730544"/>
              <a:gd name="connsiteY150" fmla="*/ 1014883 h 1240971"/>
              <a:gd name="connsiteX151" fmla="*/ 3933993 w 5730544"/>
              <a:gd name="connsiteY151" fmla="*/ 1029956 h 1240971"/>
              <a:gd name="connsiteX152" fmla="*/ 3964138 w 5730544"/>
              <a:gd name="connsiteY152" fmla="*/ 1075173 h 1240971"/>
              <a:gd name="connsiteX153" fmla="*/ 3969162 w 5730544"/>
              <a:gd name="connsiteY153" fmla="*/ 1100294 h 1240971"/>
              <a:gd name="connsiteX154" fmla="*/ 3979210 w 5730544"/>
              <a:gd name="connsiteY154" fmla="*/ 1110343 h 1240971"/>
              <a:gd name="connsiteX155" fmla="*/ 3984235 w 5730544"/>
              <a:gd name="connsiteY155" fmla="*/ 1130439 h 1240971"/>
              <a:gd name="connsiteX156" fmla="*/ 4019404 w 5730544"/>
              <a:gd name="connsiteY156" fmla="*/ 1165609 h 1240971"/>
              <a:gd name="connsiteX157" fmla="*/ 4064621 w 5730544"/>
              <a:gd name="connsiteY157" fmla="*/ 1150536 h 1240971"/>
              <a:gd name="connsiteX158" fmla="*/ 4079694 w 5730544"/>
              <a:gd name="connsiteY158" fmla="*/ 1125415 h 1240971"/>
              <a:gd name="connsiteX159" fmla="*/ 4099791 w 5730544"/>
              <a:gd name="connsiteY159" fmla="*/ 1105319 h 1240971"/>
              <a:gd name="connsiteX160" fmla="*/ 4129936 w 5730544"/>
              <a:gd name="connsiteY160" fmla="*/ 1075173 h 1240971"/>
              <a:gd name="connsiteX161" fmla="*/ 4150032 w 5730544"/>
              <a:gd name="connsiteY161" fmla="*/ 1040004 h 1240971"/>
              <a:gd name="connsiteX162" fmla="*/ 4160081 w 5730544"/>
              <a:gd name="connsiteY162" fmla="*/ 1019908 h 1240971"/>
              <a:gd name="connsiteX163" fmla="*/ 4165105 w 5730544"/>
              <a:gd name="connsiteY163" fmla="*/ 1004835 h 1240971"/>
              <a:gd name="connsiteX164" fmla="*/ 4185202 w 5730544"/>
              <a:gd name="connsiteY164" fmla="*/ 984738 h 1240971"/>
              <a:gd name="connsiteX165" fmla="*/ 4200274 w 5730544"/>
              <a:gd name="connsiteY165" fmla="*/ 979714 h 1240971"/>
              <a:gd name="connsiteX166" fmla="*/ 4235443 w 5730544"/>
              <a:gd name="connsiteY166" fmla="*/ 954593 h 1240971"/>
              <a:gd name="connsiteX167" fmla="*/ 4275637 w 5730544"/>
              <a:gd name="connsiteY167" fmla="*/ 934497 h 1240971"/>
              <a:gd name="connsiteX168" fmla="*/ 4310806 w 5730544"/>
              <a:gd name="connsiteY168" fmla="*/ 914400 h 1240971"/>
              <a:gd name="connsiteX169" fmla="*/ 4325878 w 5730544"/>
              <a:gd name="connsiteY169" fmla="*/ 904352 h 1240971"/>
              <a:gd name="connsiteX170" fmla="*/ 4381144 w 5730544"/>
              <a:gd name="connsiteY170" fmla="*/ 904352 h 1240971"/>
              <a:gd name="connsiteX171" fmla="*/ 4401241 w 5730544"/>
              <a:gd name="connsiteY171" fmla="*/ 914400 h 1240971"/>
              <a:gd name="connsiteX172" fmla="*/ 4416314 w 5730544"/>
              <a:gd name="connsiteY172" fmla="*/ 919424 h 1240971"/>
              <a:gd name="connsiteX173" fmla="*/ 4431386 w 5730544"/>
              <a:gd name="connsiteY173" fmla="*/ 929472 h 1240971"/>
              <a:gd name="connsiteX174" fmla="*/ 4456507 w 5730544"/>
              <a:gd name="connsiteY174" fmla="*/ 974690 h 1240971"/>
              <a:gd name="connsiteX175" fmla="*/ 4476604 w 5730544"/>
              <a:gd name="connsiteY175" fmla="*/ 999811 h 1240971"/>
              <a:gd name="connsiteX176" fmla="*/ 4567039 w 5730544"/>
              <a:gd name="connsiteY176" fmla="*/ 994787 h 1240971"/>
              <a:gd name="connsiteX177" fmla="*/ 4597184 w 5730544"/>
              <a:gd name="connsiteY177" fmla="*/ 969666 h 1240971"/>
              <a:gd name="connsiteX178" fmla="*/ 4617281 w 5730544"/>
              <a:gd name="connsiteY178" fmla="*/ 959617 h 1240971"/>
              <a:gd name="connsiteX179" fmla="*/ 4632353 w 5730544"/>
              <a:gd name="connsiteY179" fmla="*/ 944545 h 1240971"/>
              <a:gd name="connsiteX180" fmla="*/ 4652450 w 5730544"/>
              <a:gd name="connsiteY180" fmla="*/ 934497 h 1240971"/>
              <a:gd name="connsiteX181" fmla="*/ 4672547 w 5730544"/>
              <a:gd name="connsiteY181" fmla="*/ 919424 h 1240971"/>
              <a:gd name="connsiteX182" fmla="*/ 4737861 w 5730544"/>
              <a:gd name="connsiteY182" fmla="*/ 884255 h 1240971"/>
              <a:gd name="connsiteX183" fmla="*/ 4762982 w 5730544"/>
              <a:gd name="connsiteY183" fmla="*/ 879231 h 1240971"/>
              <a:gd name="connsiteX184" fmla="*/ 4778054 w 5730544"/>
              <a:gd name="connsiteY184" fmla="*/ 874206 h 1240971"/>
              <a:gd name="connsiteX185" fmla="*/ 4819294 w 5730544"/>
              <a:gd name="connsiteY185" fmla="*/ 873944 h 1240971"/>
              <a:gd name="connsiteX186" fmla="*/ 4877465 w 5730544"/>
              <a:gd name="connsiteY186" fmla="*/ 895638 h 1240971"/>
              <a:gd name="connsiteX187" fmla="*/ 4935347 w 5730544"/>
              <a:gd name="connsiteY187" fmla="*/ 934523 h 1240971"/>
              <a:gd name="connsiteX188" fmla="*/ 4995402 w 5730544"/>
              <a:gd name="connsiteY188" fmla="*/ 1006746 h 1240971"/>
              <a:gd name="connsiteX189" fmla="*/ 5024762 w 5730544"/>
              <a:gd name="connsiteY189" fmla="*/ 1051963 h 1240971"/>
              <a:gd name="connsiteX190" fmla="*/ 5092223 w 5730544"/>
              <a:gd name="connsiteY190" fmla="*/ 1016506 h 1240971"/>
              <a:gd name="connsiteX191" fmla="*/ 5144322 w 5730544"/>
              <a:gd name="connsiteY191" fmla="*/ 948261 h 1240971"/>
              <a:gd name="connsiteX192" fmla="*/ 5189252 w 5730544"/>
              <a:gd name="connsiteY192" fmla="*/ 886112 h 1240971"/>
              <a:gd name="connsiteX193" fmla="*/ 5226279 w 5730544"/>
              <a:gd name="connsiteY193" fmla="*/ 856230 h 1240971"/>
              <a:gd name="connsiteX194" fmla="*/ 5260637 w 5730544"/>
              <a:gd name="connsiteY194" fmla="*/ 822918 h 1240971"/>
              <a:gd name="connsiteX195" fmla="*/ 5295282 w 5730544"/>
              <a:gd name="connsiteY195" fmla="*/ 800440 h 1240971"/>
              <a:gd name="connsiteX196" fmla="*/ 5334430 w 5730544"/>
              <a:gd name="connsiteY196" fmla="*/ 794893 h 1240971"/>
              <a:gd name="connsiteX197" fmla="*/ 5412174 w 5730544"/>
              <a:gd name="connsiteY197" fmla="*/ 824252 h 1240971"/>
              <a:gd name="connsiteX198" fmla="*/ 5431197 w 5730544"/>
              <a:gd name="connsiteY198" fmla="*/ 768699 h 1240971"/>
              <a:gd name="connsiteX199" fmla="*/ 5441246 w 5730544"/>
              <a:gd name="connsiteY199" fmla="*/ 753626 h 1240971"/>
              <a:gd name="connsiteX200" fmla="*/ 5456318 w 5730544"/>
              <a:gd name="connsiteY200" fmla="*/ 708409 h 1240971"/>
              <a:gd name="connsiteX201" fmla="*/ 5466366 w 5730544"/>
              <a:gd name="connsiteY201" fmla="*/ 683288 h 1240971"/>
              <a:gd name="connsiteX202" fmla="*/ 5476415 w 5730544"/>
              <a:gd name="connsiteY202" fmla="*/ 643094 h 1240971"/>
              <a:gd name="connsiteX203" fmla="*/ 5491487 w 5730544"/>
              <a:gd name="connsiteY203" fmla="*/ 617973 h 1240971"/>
              <a:gd name="connsiteX204" fmla="*/ 5506560 w 5730544"/>
              <a:gd name="connsiteY204" fmla="*/ 572756 h 1240971"/>
              <a:gd name="connsiteX205" fmla="*/ 5526656 w 5730544"/>
              <a:gd name="connsiteY205" fmla="*/ 522514 h 1240971"/>
              <a:gd name="connsiteX206" fmla="*/ 5546753 w 5730544"/>
              <a:gd name="connsiteY206" fmla="*/ 467248 h 1240971"/>
              <a:gd name="connsiteX207" fmla="*/ 5556802 w 5730544"/>
              <a:gd name="connsiteY207" fmla="*/ 411982 h 1240971"/>
              <a:gd name="connsiteX208" fmla="*/ 5566850 w 5730544"/>
              <a:gd name="connsiteY208" fmla="*/ 381837 h 1240971"/>
              <a:gd name="connsiteX209" fmla="*/ 5576898 w 5730544"/>
              <a:gd name="connsiteY209" fmla="*/ 356716 h 1240971"/>
              <a:gd name="connsiteX210" fmla="*/ 5596995 w 5730544"/>
              <a:gd name="connsiteY210" fmla="*/ 316523 h 1240971"/>
              <a:gd name="connsiteX211" fmla="*/ 5617092 w 5730544"/>
              <a:gd name="connsiteY211" fmla="*/ 246184 h 1240971"/>
              <a:gd name="connsiteX212" fmla="*/ 5622116 w 5730544"/>
              <a:gd name="connsiteY212" fmla="*/ 226088 h 1240971"/>
              <a:gd name="connsiteX213" fmla="*/ 5632164 w 5730544"/>
              <a:gd name="connsiteY213" fmla="*/ 216039 h 1240971"/>
              <a:gd name="connsiteX214" fmla="*/ 5637188 w 5730544"/>
              <a:gd name="connsiteY214" fmla="*/ 200967 h 1240971"/>
              <a:gd name="connsiteX215" fmla="*/ 5642213 w 5730544"/>
              <a:gd name="connsiteY215" fmla="*/ 180870 h 1240971"/>
              <a:gd name="connsiteX216" fmla="*/ 5652261 w 5730544"/>
              <a:gd name="connsiteY216" fmla="*/ 165798 h 1240971"/>
              <a:gd name="connsiteX217" fmla="*/ 5693265 w 5730544"/>
              <a:gd name="connsiteY217" fmla="*/ 101268 h 1240971"/>
              <a:gd name="connsiteX218" fmla="*/ 5728722 w 5730544"/>
              <a:gd name="connsiteY218" fmla="*/ 42287 h 1240971"/>
              <a:gd name="connsiteX219" fmla="*/ 5634284 w 5730544"/>
              <a:gd name="connsiteY219" fmla="*/ 25357 h 1240971"/>
              <a:gd name="connsiteX220" fmla="*/ 5575040 w 5730544"/>
              <a:gd name="connsiteY220" fmla="*/ 39120 h 1240971"/>
              <a:gd name="connsiteX221" fmla="*/ 5470369 w 5730544"/>
              <a:gd name="connsiteY221" fmla="*/ 39381 h 1240971"/>
              <a:gd name="connsiteX222" fmla="*/ 5379124 w 5730544"/>
              <a:gd name="connsiteY222" fmla="*/ 39644 h 1240971"/>
              <a:gd name="connsiteX223" fmla="*/ 5323570 w 5730544"/>
              <a:gd name="connsiteY223" fmla="*/ 61337 h 1240971"/>
              <a:gd name="connsiteX224" fmla="*/ 5238682 w 5730544"/>
              <a:gd name="connsiteY224" fmla="*/ 54455 h 1240971"/>
              <a:gd name="connsiteX225" fmla="*/ 5075554 w 5730544"/>
              <a:gd name="connsiteY225" fmla="*/ 56574 h 1240971"/>
              <a:gd name="connsiteX226" fmla="*/ 4989070 w 5730544"/>
              <a:gd name="connsiteY226" fmla="*/ 65314 h 1240971"/>
              <a:gd name="connsiteX227" fmla="*/ 4943852 w 5730544"/>
              <a:gd name="connsiteY227" fmla="*/ 60290 h 1240971"/>
              <a:gd name="connsiteX228" fmla="*/ 4823272 w 5730544"/>
              <a:gd name="connsiteY228" fmla="*/ 50242 h 1240971"/>
              <a:gd name="connsiteX229" fmla="*/ 4677571 w 5730544"/>
              <a:gd name="connsiteY229" fmla="*/ 55266 h 1240971"/>
              <a:gd name="connsiteX230" fmla="*/ 4647426 w 5730544"/>
              <a:gd name="connsiteY230" fmla="*/ 60290 h 1240971"/>
              <a:gd name="connsiteX231" fmla="*/ 4577087 w 5730544"/>
              <a:gd name="connsiteY231" fmla="*/ 65314 h 1240971"/>
              <a:gd name="connsiteX232" fmla="*/ 4486652 w 5730544"/>
              <a:gd name="connsiteY232" fmla="*/ 75363 h 1240971"/>
              <a:gd name="connsiteX233" fmla="*/ 4139984 w 5730544"/>
              <a:gd name="connsiteY233" fmla="*/ 60290 h 1240971"/>
              <a:gd name="connsiteX234" fmla="*/ 3918920 w 5730544"/>
              <a:gd name="connsiteY234" fmla="*/ 50242 h 1240971"/>
              <a:gd name="connsiteX235" fmla="*/ 3873703 w 5730544"/>
              <a:gd name="connsiteY235" fmla="*/ 45217 h 1240971"/>
              <a:gd name="connsiteX236" fmla="*/ 3687808 w 5730544"/>
              <a:gd name="connsiteY236" fmla="*/ 40193 h 1240971"/>
              <a:gd name="connsiteX237" fmla="*/ 3662687 w 5730544"/>
              <a:gd name="connsiteY237" fmla="*/ 35169 h 1240971"/>
              <a:gd name="connsiteX238" fmla="*/ 3627518 w 5730544"/>
              <a:gd name="connsiteY238" fmla="*/ 25121 h 1240971"/>
              <a:gd name="connsiteX239" fmla="*/ 3547131 w 5730544"/>
              <a:gd name="connsiteY239" fmla="*/ 20097 h 1240971"/>
              <a:gd name="connsiteX240" fmla="*/ 3310995 w 5730544"/>
              <a:gd name="connsiteY240" fmla="*/ 25121 h 1240971"/>
              <a:gd name="connsiteX241" fmla="*/ 3265777 w 5730544"/>
              <a:gd name="connsiteY241" fmla="*/ 30145 h 1240971"/>
              <a:gd name="connsiteX242" fmla="*/ 3175342 w 5730544"/>
              <a:gd name="connsiteY242" fmla="*/ 35169 h 1240971"/>
              <a:gd name="connsiteX243" fmla="*/ 2582489 w 5730544"/>
              <a:gd name="connsiteY243" fmla="*/ 45217 h 1240971"/>
              <a:gd name="connsiteX244" fmla="*/ 2255918 w 5730544"/>
              <a:gd name="connsiteY244" fmla="*/ 40193 h 1240971"/>
              <a:gd name="connsiteX245" fmla="*/ 1974564 w 5730544"/>
              <a:gd name="connsiteY245" fmla="*/ 30145 h 1240971"/>
              <a:gd name="connsiteX246" fmla="*/ 1944419 w 5730544"/>
              <a:gd name="connsiteY246" fmla="*/ 25121 h 1240971"/>
              <a:gd name="connsiteX247" fmla="*/ 1848960 w 5730544"/>
              <a:gd name="connsiteY247" fmla="*/ 20097 h 1240971"/>
              <a:gd name="connsiteX248" fmla="*/ 1768573 w 5730544"/>
              <a:gd name="connsiteY248" fmla="*/ 10048 h 1240971"/>
              <a:gd name="connsiteX249" fmla="*/ 1502292 w 5730544"/>
              <a:gd name="connsiteY249" fmla="*/ 20097 h 1240971"/>
              <a:gd name="connsiteX250" fmla="*/ 1467122 w 5730544"/>
              <a:gd name="connsiteY250" fmla="*/ 25121 h 1240971"/>
              <a:gd name="connsiteX251" fmla="*/ 1426929 w 5730544"/>
              <a:gd name="connsiteY251" fmla="*/ 30145 h 1240971"/>
              <a:gd name="connsiteX252" fmla="*/ 1341518 w 5730544"/>
              <a:gd name="connsiteY252" fmla="*/ 45217 h 1240971"/>
              <a:gd name="connsiteX253" fmla="*/ 1095333 w 5730544"/>
              <a:gd name="connsiteY253" fmla="*/ 35169 h 1240971"/>
              <a:gd name="connsiteX254" fmla="*/ 979777 w 5730544"/>
              <a:gd name="connsiteY254" fmla="*/ 20097 h 1240971"/>
              <a:gd name="connsiteX255" fmla="*/ 939584 w 5730544"/>
              <a:gd name="connsiteY255" fmla="*/ 10048 h 1240971"/>
              <a:gd name="connsiteX256" fmla="*/ 813980 w 5730544"/>
              <a:gd name="connsiteY256" fmla="*/ 0 h 1240971"/>
              <a:gd name="connsiteX257" fmla="*/ 743641 w 5730544"/>
              <a:gd name="connsiteY257" fmla="*/ 5024 h 1240971"/>
              <a:gd name="connsiteX258" fmla="*/ 582867 w 5730544"/>
              <a:gd name="connsiteY258" fmla="*/ 15072 h 1240971"/>
              <a:gd name="connsiteX259" fmla="*/ 432142 w 5730544"/>
              <a:gd name="connsiteY259" fmla="*/ 5024 h 1240971"/>
              <a:gd name="connsiteX260" fmla="*/ 412046 w 5730544"/>
              <a:gd name="connsiteY260" fmla="*/ 0 h 1240971"/>
              <a:gd name="connsiteX261" fmla="*/ 281417 w 5730544"/>
              <a:gd name="connsiteY261" fmla="*/ 10048 h 1240971"/>
              <a:gd name="connsiteX262" fmla="*/ 261320 w 5730544"/>
              <a:gd name="connsiteY262" fmla="*/ 15072 h 1240971"/>
              <a:gd name="connsiteX263" fmla="*/ 100547 w 5730544"/>
              <a:gd name="connsiteY263" fmla="*/ 20097 h 1240971"/>
              <a:gd name="connsiteX264" fmla="*/ 5087 w 5730544"/>
              <a:gd name="connsiteY264" fmla="*/ 30145 h 1240971"/>
              <a:gd name="connsiteX0" fmla="*/ 5087 w 5730544"/>
              <a:gd name="connsiteY0" fmla="*/ 30145 h 1240971"/>
              <a:gd name="connsiteX1" fmla="*/ 15136 w 5730544"/>
              <a:gd name="connsiteY1" fmla="*/ 115556 h 1240971"/>
              <a:gd name="connsiteX2" fmla="*/ 20160 w 5730544"/>
              <a:gd name="connsiteY2" fmla="*/ 150725 h 1240971"/>
              <a:gd name="connsiteX3" fmla="*/ 25184 w 5730544"/>
              <a:gd name="connsiteY3" fmla="*/ 236136 h 1240971"/>
              <a:gd name="connsiteX4" fmla="*/ 35232 w 5730544"/>
              <a:gd name="connsiteY4" fmla="*/ 311499 h 1240971"/>
              <a:gd name="connsiteX5" fmla="*/ 40256 w 5730544"/>
              <a:gd name="connsiteY5" fmla="*/ 783771 h 1240971"/>
              <a:gd name="connsiteX6" fmla="*/ 45281 w 5730544"/>
              <a:gd name="connsiteY6" fmla="*/ 864158 h 1240971"/>
              <a:gd name="connsiteX7" fmla="*/ 35232 w 5730544"/>
              <a:gd name="connsiteY7" fmla="*/ 1034980 h 1240971"/>
              <a:gd name="connsiteX8" fmla="*/ 25184 w 5730544"/>
              <a:gd name="connsiteY8" fmla="*/ 1100294 h 1240971"/>
              <a:gd name="connsiteX9" fmla="*/ 20160 w 5730544"/>
              <a:gd name="connsiteY9" fmla="*/ 1150536 h 1240971"/>
              <a:gd name="connsiteX10" fmla="*/ 25184 w 5730544"/>
              <a:gd name="connsiteY10" fmla="*/ 1170633 h 1240971"/>
              <a:gd name="connsiteX11" fmla="*/ 35232 w 5730544"/>
              <a:gd name="connsiteY11" fmla="*/ 1160584 h 1240971"/>
              <a:gd name="connsiteX12" fmla="*/ 55329 w 5730544"/>
              <a:gd name="connsiteY12" fmla="*/ 1100294 h 1240971"/>
              <a:gd name="connsiteX13" fmla="*/ 60353 w 5730544"/>
              <a:gd name="connsiteY13" fmla="*/ 1085222 h 1240971"/>
              <a:gd name="connsiteX14" fmla="*/ 70402 w 5730544"/>
              <a:gd name="connsiteY14" fmla="*/ 1075173 h 1240971"/>
              <a:gd name="connsiteX15" fmla="*/ 95522 w 5730544"/>
              <a:gd name="connsiteY15" fmla="*/ 1045028 h 1240971"/>
              <a:gd name="connsiteX16" fmla="*/ 110595 w 5730544"/>
              <a:gd name="connsiteY16" fmla="*/ 1040004 h 1240971"/>
              <a:gd name="connsiteX17" fmla="*/ 135716 w 5730544"/>
              <a:gd name="connsiteY17" fmla="*/ 1019908 h 1240971"/>
              <a:gd name="connsiteX18" fmla="*/ 150788 w 5730544"/>
              <a:gd name="connsiteY18" fmla="*/ 1009859 h 1240971"/>
              <a:gd name="connsiteX19" fmla="*/ 175909 w 5730544"/>
              <a:gd name="connsiteY19" fmla="*/ 994787 h 1240971"/>
              <a:gd name="connsiteX20" fmla="*/ 216103 w 5730544"/>
              <a:gd name="connsiteY20" fmla="*/ 984738 h 1240971"/>
              <a:gd name="connsiteX21" fmla="*/ 286441 w 5730544"/>
              <a:gd name="connsiteY21" fmla="*/ 994787 h 1240971"/>
              <a:gd name="connsiteX22" fmla="*/ 301514 w 5730544"/>
              <a:gd name="connsiteY22" fmla="*/ 1004835 h 1240971"/>
              <a:gd name="connsiteX23" fmla="*/ 321610 w 5730544"/>
              <a:gd name="connsiteY23" fmla="*/ 1034980 h 1240971"/>
              <a:gd name="connsiteX24" fmla="*/ 356780 w 5730544"/>
              <a:gd name="connsiteY24" fmla="*/ 1065125 h 1240971"/>
              <a:gd name="connsiteX25" fmla="*/ 366828 w 5730544"/>
              <a:gd name="connsiteY25" fmla="*/ 1080198 h 1240971"/>
              <a:gd name="connsiteX26" fmla="*/ 381900 w 5730544"/>
              <a:gd name="connsiteY26" fmla="*/ 1085222 h 1240971"/>
              <a:gd name="connsiteX27" fmla="*/ 396973 w 5730544"/>
              <a:gd name="connsiteY27" fmla="*/ 1095270 h 1240971"/>
              <a:gd name="connsiteX28" fmla="*/ 407021 w 5730544"/>
              <a:gd name="connsiteY28" fmla="*/ 1105319 h 1240971"/>
              <a:gd name="connsiteX29" fmla="*/ 422094 w 5730544"/>
              <a:gd name="connsiteY29" fmla="*/ 1110343 h 1240971"/>
              <a:gd name="connsiteX30" fmla="*/ 437166 w 5730544"/>
              <a:gd name="connsiteY30" fmla="*/ 1120391 h 1240971"/>
              <a:gd name="connsiteX31" fmla="*/ 467311 w 5730544"/>
              <a:gd name="connsiteY31" fmla="*/ 1130439 h 1240971"/>
              <a:gd name="connsiteX32" fmla="*/ 522577 w 5730544"/>
              <a:gd name="connsiteY32" fmla="*/ 1115367 h 1240971"/>
              <a:gd name="connsiteX33" fmla="*/ 552722 w 5730544"/>
              <a:gd name="connsiteY33" fmla="*/ 1075173 h 1240971"/>
              <a:gd name="connsiteX34" fmla="*/ 567795 w 5730544"/>
              <a:gd name="connsiteY34" fmla="*/ 1070149 h 1240971"/>
              <a:gd name="connsiteX35" fmla="*/ 582867 w 5730544"/>
              <a:gd name="connsiteY35" fmla="*/ 1060101 h 1240971"/>
              <a:gd name="connsiteX36" fmla="*/ 638133 w 5730544"/>
              <a:gd name="connsiteY36" fmla="*/ 1045028 h 1240971"/>
              <a:gd name="connsiteX37" fmla="*/ 653206 w 5730544"/>
              <a:gd name="connsiteY37" fmla="*/ 1040004 h 1240971"/>
              <a:gd name="connsiteX38" fmla="*/ 693399 w 5730544"/>
              <a:gd name="connsiteY38" fmla="*/ 1045028 h 1240971"/>
              <a:gd name="connsiteX39" fmla="*/ 723544 w 5730544"/>
              <a:gd name="connsiteY39" fmla="*/ 1055077 h 1240971"/>
              <a:gd name="connsiteX40" fmla="*/ 733593 w 5730544"/>
              <a:gd name="connsiteY40" fmla="*/ 1065125 h 1240971"/>
              <a:gd name="connsiteX41" fmla="*/ 768762 w 5730544"/>
              <a:gd name="connsiteY41" fmla="*/ 1080198 h 1240971"/>
              <a:gd name="connsiteX42" fmla="*/ 803931 w 5730544"/>
              <a:gd name="connsiteY42" fmla="*/ 1105319 h 1240971"/>
              <a:gd name="connsiteX43" fmla="*/ 834076 w 5730544"/>
              <a:gd name="connsiteY43" fmla="*/ 1130439 h 1240971"/>
              <a:gd name="connsiteX44" fmla="*/ 869246 w 5730544"/>
              <a:gd name="connsiteY44" fmla="*/ 1140488 h 1240971"/>
              <a:gd name="connsiteX45" fmla="*/ 909439 w 5730544"/>
              <a:gd name="connsiteY45" fmla="*/ 1175657 h 1240971"/>
              <a:gd name="connsiteX46" fmla="*/ 939584 w 5730544"/>
              <a:gd name="connsiteY46" fmla="*/ 1185705 h 1240971"/>
              <a:gd name="connsiteX47" fmla="*/ 979777 w 5730544"/>
              <a:gd name="connsiteY47" fmla="*/ 1180681 h 1240971"/>
              <a:gd name="connsiteX48" fmla="*/ 989826 w 5730544"/>
              <a:gd name="connsiteY48" fmla="*/ 1170633 h 1240971"/>
              <a:gd name="connsiteX49" fmla="*/ 1004898 w 5730544"/>
              <a:gd name="connsiteY49" fmla="*/ 1150536 h 1240971"/>
              <a:gd name="connsiteX50" fmla="*/ 1014947 w 5730544"/>
              <a:gd name="connsiteY50" fmla="*/ 1120391 h 1240971"/>
              <a:gd name="connsiteX51" fmla="*/ 1040067 w 5730544"/>
              <a:gd name="connsiteY51" fmla="*/ 1095270 h 1240971"/>
              <a:gd name="connsiteX52" fmla="*/ 1050116 w 5730544"/>
              <a:gd name="connsiteY52" fmla="*/ 1085222 h 1240971"/>
              <a:gd name="connsiteX53" fmla="*/ 1075237 w 5730544"/>
              <a:gd name="connsiteY53" fmla="*/ 1065125 h 1240971"/>
              <a:gd name="connsiteX54" fmla="*/ 1090309 w 5730544"/>
              <a:gd name="connsiteY54" fmla="*/ 1050053 h 1240971"/>
              <a:gd name="connsiteX55" fmla="*/ 1120454 w 5730544"/>
              <a:gd name="connsiteY55" fmla="*/ 1040004 h 1240971"/>
              <a:gd name="connsiteX56" fmla="*/ 1135527 w 5730544"/>
              <a:gd name="connsiteY56" fmla="*/ 1034980 h 1240971"/>
              <a:gd name="connsiteX57" fmla="*/ 1160648 w 5730544"/>
              <a:gd name="connsiteY57" fmla="*/ 1019908 h 1240971"/>
              <a:gd name="connsiteX58" fmla="*/ 1175720 w 5730544"/>
              <a:gd name="connsiteY58" fmla="*/ 1014883 h 1240971"/>
              <a:gd name="connsiteX59" fmla="*/ 1195817 w 5730544"/>
              <a:gd name="connsiteY59" fmla="*/ 1004835 h 1240971"/>
              <a:gd name="connsiteX60" fmla="*/ 1281228 w 5730544"/>
              <a:gd name="connsiteY60" fmla="*/ 1014883 h 1240971"/>
              <a:gd name="connsiteX61" fmla="*/ 1296300 w 5730544"/>
              <a:gd name="connsiteY61" fmla="*/ 1024932 h 1240971"/>
              <a:gd name="connsiteX62" fmla="*/ 1311373 w 5730544"/>
              <a:gd name="connsiteY62" fmla="*/ 1029956 h 1240971"/>
              <a:gd name="connsiteX63" fmla="*/ 1326446 w 5730544"/>
              <a:gd name="connsiteY63" fmla="*/ 1060101 h 1240971"/>
              <a:gd name="connsiteX64" fmla="*/ 1341518 w 5730544"/>
              <a:gd name="connsiteY64" fmla="*/ 1065125 h 1240971"/>
              <a:gd name="connsiteX65" fmla="*/ 1356591 w 5730544"/>
              <a:gd name="connsiteY65" fmla="*/ 1075173 h 1240971"/>
              <a:gd name="connsiteX66" fmla="*/ 1396784 w 5730544"/>
              <a:gd name="connsiteY66" fmla="*/ 1090246 h 1240971"/>
              <a:gd name="connsiteX67" fmla="*/ 1447026 w 5730544"/>
              <a:gd name="connsiteY67" fmla="*/ 1105319 h 1240971"/>
              <a:gd name="connsiteX68" fmla="*/ 1462098 w 5730544"/>
              <a:gd name="connsiteY68" fmla="*/ 1110343 h 1240971"/>
              <a:gd name="connsiteX69" fmla="*/ 1497267 w 5730544"/>
              <a:gd name="connsiteY69" fmla="*/ 1120391 h 1240971"/>
              <a:gd name="connsiteX70" fmla="*/ 1552533 w 5730544"/>
              <a:gd name="connsiteY70" fmla="*/ 1115367 h 1240971"/>
              <a:gd name="connsiteX71" fmla="*/ 1567606 w 5730544"/>
              <a:gd name="connsiteY71" fmla="*/ 1110343 h 1240971"/>
              <a:gd name="connsiteX72" fmla="*/ 1587703 w 5730544"/>
              <a:gd name="connsiteY72" fmla="*/ 1090246 h 1240971"/>
              <a:gd name="connsiteX73" fmla="*/ 1637944 w 5730544"/>
              <a:gd name="connsiteY73" fmla="*/ 1050053 h 1240971"/>
              <a:gd name="connsiteX74" fmla="*/ 1653017 w 5730544"/>
              <a:gd name="connsiteY74" fmla="*/ 1029956 h 1240971"/>
              <a:gd name="connsiteX75" fmla="*/ 1688186 w 5730544"/>
              <a:gd name="connsiteY75" fmla="*/ 1019908 h 1240971"/>
              <a:gd name="connsiteX76" fmla="*/ 1788670 w 5730544"/>
              <a:gd name="connsiteY76" fmla="*/ 1029956 h 1240971"/>
              <a:gd name="connsiteX77" fmla="*/ 1818815 w 5730544"/>
              <a:gd name="connsiteY77" fmla="*/ 1040004 h 1240971"/>
              <a:gd name="connsiteX78" fmla="*/ 1853984 w 5730544"/>
              <a:gd name="connsiteY78" fmla="*/ 1050053 h 1240971"/>
              <a:gd name="connsiteX79" fmla="*/ 1869056 w 5730544"/>
              <a:gd name="connsiteY79" fmla="*/ 1060101 h 1240971"/>
              <a:gd name="connsiteX80" fmla="*/ 1894177 w 5730544"/>
              <a:gd name="connsiteY80" fmla="*/ 1065125 h 1240971"/>
              <a:gd name="connsiteX81" fmla="*/ 1949443 w 5730544"/>
              <a:gd name="connsiteY81" fmla="*/ 1085222 h 1240971"/>
              <a:gd name="connsiteX82" fmla="*/ 1969540 w 5730544"/>
              <a:gd name="connsiteY82" fmla="*/ 1090246 h 1240971"/>
              <a:gd name="connsiteX83" fmla="*/ 2014758 w 5730544"/>
              <a:gd name="connsiteY83" fmla="*/ 1110343 h 1240971"/>
              <a:gd name="connsiteX84" fmla="*/ 2039878 w 5730544"/>
              <a:gd name="connsiteY84" fmla="*/ 1125415 h 1240971"/>
              <a:gd name="connsiteX85" fmla="*/ 2120265 w 5730544"/>
              <a:gd name="connsiteY85" fmla="*/ 1120391 h 1240971"/>
              <a:gd name="connsiteX86" fmla="*/ 2130314 w 5730544"/>
              <a:gd name="connsiteY86" fmla="*/ 1110343 h 1240971"/>
              <a:gd name="connsiteX87" fmla="*/ 2155435 w 5730544"/>
              <a:gd name="connsiteY87" fmla="*/ 1100294 h 1240971"/>
              <a:gd name="connsiteX88" fmla="*/ 2190604 w 5730544"/>
              <a:gd name="connsiteY88" fmla="*/ 1070149 h 1240971"/>
              <a:gd name="connsiteX89" fmla="*/ 2230797 w 5730544"/>
              <a:gd name="connsiteY89" fmla="*/ 1040004 h 1240971"/>
              <a:gd name="connsiteX90" fmla="*/ 2245870 w 5730544"/>
              <a:gd name="connsiteY90" fmla="*/ 1034980 h 1240971"/>
              <a:gd name="connsiteX91" fmla="*/ 2270991 w 5730544"/>
              <a:gd name="connsiteY91" fmla="*/ 1019908 h 1240971"/>
              <a:gd name="connsiteX92" fmla="*/ 2301136 w 5730544"/>
              <a:gd name="connsiteY92" fmla="*/ 994787 h 1240971"/>
              <a:gd name="connsiteX93" fmla="*/ 2316208 w 5730544"/>
              <a:gd name="connsiteY93" fmla="*/ 989763 h 1240971"/>
              <a:gd name="connsiteX94" fmla="*/ 2396595 w 5730544"/>
              <a:gd name="connsiteY94" fmla="*/ 984738 h 1240971"/>
              <a:gd name="connsiteX95" fmla="*/ 2426740 w 5730544"/>
              <a:gd name="connsiteY95" fmla="*/ 989763 h 1240971"/>
              <a:gd name="connsiteX96" fmla="*/ 2461909 w 5730544"/>
              <a:gd name="connsiteY96" fmla="*/ 1024932 h 1240971"/>
              <a:gd name="connsiteX97" fmla="*/ 2476982 w 5730544"/>
              <a:gd name="connsiteY97" fmla="*/ 1029956 h 1240971"/>
              <a:gd name="connsiteX98" fmla="*/ 2487030 w 5730544"/>
              <a:gd name="connsiteY98" fmla="*/ 1045028 h 1240971"/>
              <a:gd name="connsiteX99" fmla="*/ 2497078 w 5730544"/>
              <a:gd name="connsiteY99" fmla="*/ 1055077 h 1240971"/>
              <a:gd name="connsiteX100" fmla="*/ 2532248 w 5730544"/>
              <a:gd name="connsiteY100" fmla="*/ 1095270 h 1240971"/>
              <a:gd name="connsiteX101" fmla="*/ 2567417 w 5730544"/>
              <a:gd name="connsiteY101" fmla="*/ 1135464 h 1240971"/>
              <a:gd name="connsiteX102" fmla="*/ 2582489 w 5730544"/>
              <a:gd name="connsiteY102" fmla="*/ 1145512 h 1240971"/>
              <a:gd name="connsiteX103" fmla="*/ 2622683 w 5730544"/>
              <a:gd name="connsiteY103" fmla="*/ 1170633 h 1240971"/>
              <a:gd name="connsiteX104" fmla="*/ 2657852 w 5730544"/>
              <a:gd name="connsiteY104" fmla="*/ 1160584 h 1240971"/>
              <a:gd name="connsiteX105" fmla="*/ 2682973 w 5730544"/>
              <a:gd name="connsiteY105" fmla="*/ 1145512 h 1240971"/>
              <a:gd name="connsiteX106" fmla="*/ 2713118 w 5730544"/>
              <a:gd name="connsiteY106" fmla="*/ 1130439 h 1240971"/>
              <a:gd name="connsiteX107" fmla="*/ 2728191 w 5730544"/>
              <a:gd name="connsiteY107" fmla="*/ 1120391 h 1240971"/>
              <a:gd name="connsiteX108" fmla="*/ 2748287 w 5730544"/>
              <a:gd name="connsiteY108" fmla="*/ 1115367 h 1240971"/>
              <a:gd name="connsiteX109" fmla="*/ 2778432 w 5730544"/>
              <a:gd name="connsiteY109" fmla="*/ 1105319 h 1240971"/>
              <a:gd name="connsiteX110" fmla="*/ 2868867 w 5730544"/>
              <a:gd name="connsiteY110" fmla="*/ 1075173 h 1240971"/>
              <a:gd name="connsiteX111" fmla="*/ 2893988 w 5730544"/>
              <a:gd name="connsiteY111" fmla="*/ 1070149 h 1240971"/>
              <a:gd name="connsiteX112" fmla="*/ 2919109 w 5730544"/>
              <a:gd name="connsiteY112" fmla="*/ 1075173 h 1240971"/>
              <a:gd name="connsiteX113" fmla="*/ 2934182 w 5730544"/>
              <a:gd name="connsiteY113" fmla="*/ 1080198 h 1240971"/>
              <a:gd name="connsiteX114" fmla="*/ 2944230 w 5730544"/>
              <a:gd name="connsiteY114" fmla="*/ 1110343 h 1240971"/>
              <a:gd name="connsiteX115" fmla="*/ 2959303 w 5730544"/>
              <a:gd name="connsiteY115" fmla="*/ 1125415 h 1240971"/>
              <a:gd name="connsiteX116" fmla="*/ 2979399 w 5730544"/>
              <a:gd name="connsiteY116" fmla="*/ 1155560 h 1240971"/>
              <a:gd name="connsiteX117" fmla="*/ 2994472 w 5730544"/>
              <a:gd name="connsiteY117" fmla="*/ 1160584 h 1240971"/>
              <a:gd name="connsiteX118" fmla="*/ 3014569 w 5730544"/>
              <a:gd name="connsiteY118" fmla="*/ 1180681 h 1240971"/>
              <a:gd name="connsiteX119" fmla="*/ 3024617 w 5730544"/>
              <a:gd name="connsiteY119" fmla="*/ 1190730 h 1240971"/>
              <a:gd name="connsiteX120" fmla="*/ 3069835 w 5730544"/>
              <a:gd name="connsiteY120" fmla="*/ 1215850 h 1240971"/>
              <a:gd name="connsiteX121" fmla="*/ 3079883 w 5730544"/>
              <a:gd name="connsiteY121" fmla="*/ 1225899 h 1240971"/>
              <a:gd name="connsiteX122" fmla="*/ 3099980 w 5730544"/>
              <a:gd name="connsiteY122" fmla="*/ 1230923 h 1240971"/>
              <a:gd name="connsiteX123" fmla="*/ 3130125 w 5730544"/>
              <a:gd name="connsiteY123" fmla="*/ 1240971 h 1240971"/>
              <a:gd name="connsiteX124" fmla="*/ 3180366 w 5730544"/>
              <a:gd name="connsiteY124" fmla="*/ 1235947 h 1240971"/>
              <a:gd name="connsiteX125" fmla="*/ 3195439 w 5730544"/>
              <a:gd name="connsiteY125" fmla="*/ 1225899 h 1240971"/>
              <a:gd name="connsiteX126" fmla="*/ 3220560 w 5730544"/>
              <a:gd name="connsiteY126" fmla="*/ 1215850 h 1240971"/>
              <a:gd name="connsiteX127" fmla="*/ 3255729 w 5730544"/>
              <a:gd name="connsiteY127" fmla="*/ 1185705 h 1240971"/>
              <a:gd name="connsiteX128" fmla="*/ 3295922 w 5730544"/>
              <a:gd name="connsiteY128" fmla="*/ 1160584 h 1240971"/>
              <a:gd name="connsiteX129" fmla="*/ 3310995 w 5730544"/>
              <a:gd name="connsiteY129" fmla="*/ 1145512 h 1240971"/>
              <a:gd name="connsiteX130" fmla="*/ 3351188 w 5730544"/>
              <a:gd name="connsiteY130" fmla="*/ 1140488 h 1240971"/>
              <a:gd name="connsiteX131" fmla="*/ 3406454 w 5730544"/>
              <a:gd name="connsiteY131" fmla="*/ 1155560 h 1240971"/>
              <a:gd name="connsiteX132" fmla="*/ 3426551 w 5730544"/>
              <a:gd name="connsiteY132" fmla="*/ 1165609 h 1240971"/>
              <a:gd name="connsiteX133" fmla="*/ 3441624 w 5730544"/>
              <a:gd name="connsiteY133" fmla="*/ 1175657 h 1240971"/>
              <a:gd name="connsiteX134" fmla="*/ 3456696 w 5730544"/>
              <a:gd name="connsiteY134" fmla="*/ 1180681 h 1240971"/>
              <a:gd name="connsiteX135" fmla="*/ 3466744 w 5730544"/>
              <a:gd name="connsiteY135" fmla="*/ 1195754 h 1240971"/>
              <a:gd name="connsiteX136" fmla="*/ 3527035 w 5730544"/>
              <a:gd name="connsiteY136" fmla="*/ 1200778 h 1240971"/>
              <a:gd name="connsiteX137" fmla="*/ 3542107 w 5730544"/>
              <a:gd name="connsiteY137" fmla="*/ 1190730 h 1240971"/>
              <a:gd name="connsiteX138" fmla="*/ 3567228 w 5730544"/>
              <a:gd name="connsiteY138" fmla="*/ 1180681 h 1240971"/>
              <a:gd name="connsiteX139" fmla="*/ 3587325 w 5730544"/>
              <a:gd name="connsiteY139" fmla="*/ 1150536 h 1240971"/>
              <a:gd name="connsiteX140" fmla="*/ 3617470 w 5730544"/>
              <a:gd name="connsiteY140" fmla="*/ 1125415 h 1240971"/>
              <a:gd name="connsiteX141" fmla="*/ 3632542 w 5730544"/>
              <a:gd name="connsiteY141" fmla="*/ 1105319 h 1240971"/>
              <a:gd name="connsiteX142" fmla="*/ 3662687 w 5730544"/>
              <a:gd name="connsiteY142" fmla="*/ 1085222 h 1240971"/>
              <a:gd name="connsiteX143" fmla="*/ 3697856 w 5730544"/>
              <a:gd name="connsiteY143" fmla="*/ 1070149 h 1240971"/>
              <a:gd name="connsiteX144" fmla="*/ 3707905 w 5730544"/>
              <a:gd name="connsiteY144" fmla="*/ 1060101 h 1240971"/>
              <a:gd name="connsiteX145" fmla="*/ 3743074 w 5730544"/>
              <a:gd name="connsiteY145" fmla="*/ 1040004 h 1240971"/>
              <a:gd name="connsiteX146" fmla="*/ 3813413 w 5730544"/>
              <a:gd name="connsiteY146" fmla="*/ 1024932 h 1240971"/>
              <a:gd name="connsiteX147" fmla="*/ 3833509 w 5730544"/>
              <a:gd name="connsiteY147" fmla="*/ 1014883 h 1240971"/>
              <a:gd name="connsiteX148" fmla="*/ 3858630 w 5730544"/>
              <a:gd name="connsiteY148" fmla="*/ 1009859 h 1240971"/>
              <a:gd name="connsiteX149" fmla="*/ 3873703 w 5730544"/>
              <a:gd name="connsiteY149" fmla="*/ 1004835 h 1240971"/>
              <a:gd name="connsiteX150" fmla="*/ 3923944 w 5730544"/>
              <a:gd name="connsiteY150" fmla="*/ 1014883 h 1240971"/>
              <a:gd name="connsiteX151" fmla="*/ 3933993 w 5730544"/>
              <a:gd name="connsiteY151" fmla="*/ 1029956 h 1240971"/>
              <a:gd name="connsiteX152" fmla="*/ 3964138 w 5730544"/>
              <a:gd name="connsiteY152" fmla="*/ 1075173 h 1240971"/>
              <a:gd name="connsiteX153" fmla="*/ 3969162 w 5730544"/>
              <a:gd name="connsiteY153" fmla="*/ 1100294 h 1240971"/>
              <a:gd name="connsiteX154" fmla="*/ 3979210 w 5730544"/>
              <a:gd name="connsiteY154" fmla="*/ 1110343 h 1240971"/>
              <a:gd name="connsiteX155" fmla="*/ 3984235 w 5730544"/>
              <a:gd name="connsiteY155" fmla="*/ 1130439 h 1240971"/>
              <a:gd name="connsiteX156" fmla="*/ 4019404 w 5730544"/>
              <a:gd name="connsiteY156" fmla="*/ 1165609 h 1240971"/>
              <a:gd name="connsiteX157" fmla="*/ 4064621 w 5730544"/>
              <a:gd name="connsiteY157" fmla="*/ 1150536 h 1240971"/>
              <a:gd name="connsiteX158" fmla="*/ 4079694 w 5730544"/>
              <a:gd name="connsiteY158" fmla="*/ 1125415 h 1240971"/>
              <a:gd name="connsiteX159" fmla="*/ 4099791 w 5730544"/>
              <a:gd name="connsiteY159" fmla="*/ 1105319 h 1240971"/>
              <a:gd name="connsiteX160" fmla="*/ 4129936 w 5730544"/>
              <a:gd name="connsiteY160" fmla="*/ 1075173 h 1240971"/>
              <a:gd name="connsiteX161" fmla="*/ 4150032 w 5730544"/>
              <a:gd name="connsiteY161" fmla="*/ 1040004 h 1240971"/>
              <a:gd name="connsiteX162" fmla="*/ 4160081 w 5730544"/>
              <a:gd name="connsiteY162" fmla="*/ 1019908 h 1240971"/>
              <a:gd name="connsiteX163" fmla="*/ 4165105 w 5730544"/>
              <a:gd name="connsiteY163" fmla="*/ 1004835 h 1240971"/>
              <a:gd name="connsiteX164" fmla="*/ 4185202 w 5730544"/>
              <a:gd name="connsiteY164" fmla="*/ 984738 h 1240971"/>
              <a:gd name="connsiteX165" fmla="*/ 4200274 w 5730544"/>
              <a:gd name="connsiteY165" fmla="*/ 979714 h 1240971"/>
              <a:gd name="connsiteX166" fmla="*/ 4235443 w 5730544"/>
              <a:gd name="connsiteY166" fmla="*/ 954593 h 1240971"/>
              <a:gd name="connsiteX167" fmla="*/ 4275637 w 5730544"/>
              <a:gd name="connsiteY167" fmla="*/ 934497 h 1240971"/>
              <a:gd name="connsiteX168" fmla="*/ 4310806 w 5730544"/>
              <a:gd name="connsiteY168" fmla="*/ 914400 h 1240971"/>
              <a:gd name="connsiteX169" fmla="*/ 4325878 w 5730544"/>
              <a:gd name="connsiteY169" fmla="*/ 904352 h 1240971"/>
              <a:gd name="connsiteX170" fmla="*/ 4381144 w 5730544"/>
              <a:gd name="connsiteY170" fmla="*/ 904352 h 1240971"/>
              <a:gd name="connsiteX171" fmla="*/ 4401241 w 5730544"/>
              <a:gd name="connsiteY171" fmla="*/ 914400 h 1240971"/>
              <a:gd name="connsiteX172" fmla="*/ 4416314 w 5730544"/>
              <a:gd name="connsiteY172" fmla="*/ 919424 h 1240971"/>
              <a:gd name="connsiteX173" fmla="*/ 4431386 w 5730544"/>
              <a:gd name="connsiteY173" fmla="*/ 929472 h 1240971"/>
              <a:gd name="connsiteX174" fmla="*/ 4456507 w 5730544"/>
              <a:gd name="connsiteY174" fmla="*/ 974690 h 1240971"/>
              <a:gd name="connsiteX175" fmla="*/ 4476604 w 5730544"/>
              <a:gd name="connsiteY175" fmla="*/ 999811 h 1240971"/>
              <a:gd name="connsiteX176" fmla="*/ 4567039 w 5730544"/>
              <a:gd name="connsiteY176" fmla="*/ 994787 h 1240971"/>
              <a:gd name="connsiteX177" fmla="*/ 4597184 w 5730544"/>
              <a:gd name="connsiteY177" fmla="*/ 969666 h 1240971"/>
              <a:gd name="connsiteX178" fmla="*/ 4617281 w 5730544"/>
              <a:gd name="connsiteY178" fmla="*/ 959617 h 1240971"/>
              <a:gd name="connsiteX179" fmla="*/ 4632353 w 5730544"/>
              <a:gd name="connsiteY179" fmla="*/ 944545 h 1240971"/>
              <a:gd name="connsiteX180" fmla="*/ 4652450 w 5730544"/>
              <a:gd name="connsiteY180" fmla="*/ 934497 h 1240971"/>
              <a:gd name="connsiteX181" fmla="*/ 4672547 w 5730544"/>
              <a:gd name="connsiteY181" fmla="*/ 919424 h 1240971"/>
              <a:gd name="connsiteX182" fmla="*/ 4737861 w 5730544"/>
              <a:gd name="connsiteY182" fmla="*/ 884255 h 1240971"/>
              <a:gd name="connsiteX183" fmla="*/ 4762982 w 5730544"/>
              <a:gd name="connsiteY183" fmla="*/ 879231 h 1240971"/>
              <a:gd name="connsiteX184" fmla="*/ 4778054 w 5730544"/>
              <a:gd name="connsiteY184" fmla="*/ 874206 h 1240971"/>
              <a:gd name="connsiteX185" fmla="*/ 4819294 w 5730544"/>
              <a:gd name="connsiteY185" fmla="*/ 873944 h 1240971"/>
              <a:gd name="connsiteX186" fmla="*/ 4877465 w 5730544"/>
              <a:gd name="connsiteY186" fmla="*/ 895638 h 1240971"/>
              <a:gd name="connsiteX187" fmla="*/ 4935347 w 5730544"/>
              <a:gd name="connsiteY187" fmla="*/ 934523 h 1240971"/>
              <a:gd name="connsiteX188" fmla="*/ 4995402 w 5730544"/>
              <a:gd name="connsiteY188" fmla="*/ 1006746 h 1240971"/>
              <a:gd name="connsiteX189" fmla="*/ 5024762 w 5730544"/>
              <a:gd name="connsiteY189" fmla="*/ 1051963 h 1240971"/>
              <a:gd name="connsiteX190" fmla="*/ 5092223 w 5730544"/>
              <a:gd name="connsiteY190" fmla="*/ 1016506 h 1240971"/>
              <a:gd name="connsiteX191" fmla="*/ 5144322 w 5730544"/>
              <a:gd name="connsiteY191" fmla="*/ 948261 h 1240971"/>
              <a:gd name="connsiteX192" fmla="*/ 5189252 w 5730544"/>
              <a:gd name="connsiteY192" fmla="*/ 886112 h 1240971"/>
              <a:gd name="connsiteX193" fmla="*/ 5226279 w 5730544"/>
              <a:gd name="connsiteY193" fmla="*/ 856230 h 1240971"/>
              <a:gd name="connsiteX194" fmla="*/ 5260637 w 5730544"/>
              <a:gd name="connsiteY194" fmla="*/ 822918 h 1240971"/>
              <a:gd name="connsiteX195" fmla="*/ 5295282 w 5730544"/>
              <a:gd name="connsiteY195" fmla="*/ 800440 h 1240971"/>
              <a:gd name="connsiteX196" fmla="*/ 5334430 w 5730544"/>
              <a:gd name="connsiteY196" fmla="*/ 794893 h 1240971"/>
              <a:gd name="connsiteX197" fmla="*/ 5412174 w 5730544"/>
              <a:gd name="connsiteY197" fmla="*/ 824252 h 1240971"/>
              <a:gd name="connsiteX198" fmla="*/ 5431197 w 5730544"/>
              <a:gd name="connsiteY198" fmla="*/ 768699 h 1240971"/>
              <a:gd name="connsiteX199" fmla="*/ 5441246 w 5730544"/>
              <a:gd name="connsiteY199" fmla="*/ 753626 h 1240971"/>
              <a:gd name="connsiteX200" fmla="*/ 5456318 w 5730544"/>
              <a:gd name="connsiteY200" fmla="*/ 708409 h 1240971"/>
              <a:gd name="connsiteX201" fmla="*/ 5466366 w 5730544"/>
              <a:gd name="connsiteY201" fmla="*/ 683288 h 1240971"/>
              <a:gd name="connsiteX202" fmla="*/ 5476415 w 5730544"/>
              <a:gd name="connsiteY202" fmla="*/ 643094 h 1240971"/>
              <a:gd name="connsiteX203" fmla="*/ 5491487 w 5730544"/>
              <a:gd name="connsiteY203" fmla="*/ 617973 h 1240971"/>
              <a:gd name="connsiteX204" fmla="*/ 5506560 w 5730544"/>
              <a:gd name="connsiteY204" fmla="*/ 572756 h 1240971"/>
              <a:gd name="connsiteX205" fmla="*/ 5526656 w 5730544"/>
              <a:gd name="connsiteY205" fmla="*/ 522514 h 1240971"/>
              <a:gd name="connsiteX206" fmla="*/ 5546753 w 5730544"/>
              <a:gd name="connsiteY206" fmla="*/ 467248 h 1240971"/>
              <a:gd name="connsiteX207" fmla="*/ 5556802 w 5730544"/>
              <a:gd name="connsiteY207" fmla="*/ 411982 h 1240971"/>
              <a:gd name="connsiteX208" fmla="*/ 5566850 w 5730544"/>
              <a:gd name="connsiteY208" fmla="*/ 381837 h 1240971"/>
              <a:gd name="connsiteX209" fmla="*/ 5576898 w 5730544"/>
              <a:gd name="connsiteY209" fmla="*/ 356716 h 1240971"/>
              <a:gd name="connsiteX210" fmla="*/ 5596995 w 5730544"/>
              <a:gd name="connsiteY210" fmla="*/ 316523 h 1240971"/>
              <a:gd name="connsiteX211" fmla="*/ 5617092 w 5730544"/>
              <a:gd name="connsiteY211" fmla="*/ 246184 h 1240971"/>
              <a:gd name="connsiteX212" fmla="*/ 5622116 w 5730544"/>
              <a:gd name="connsiteY212" fmla="*/ 226088 h 1240971"/>
              <a:gd name="connsiteX213" fmla="*/ 5632164 w 5730544"/>
              <a:gd name="connsiteY213" fmla="*/ 216039 h 1240971"/>
              <a:gd name="connsiteX214" fmla="*/ 5637188 w 5730544"/>
              <a:gd name="connsiteY214" fmla="*/ 200967 h 1240971"/>
              <a:gd name="connsiteX215" fmla="*/ 5642213 w 5730544"/>
              <a:gd name="connsiteY215" fmla="*/ 180870 h 1240971"/>
              <a:gd name="connsiteX216" fmla="*/ 5652261 w 5730544"/>
              <a:gd name="connsiteY216" fmla="*/ 165798 h 1240971"/>
              <a:gd name="connsiteX217" fmla="*/ 5693265 w 5730544"/>
              <a:gd name="connsiteY217" fmla="*/ 101268 h 1240971"/>
              <a:gd name="connsiteX218" fmla="*/ 5728722 w 5730544"/>
              <a:gd name="connsiteY218" fmla="*/ 42287 h 1240971"/>
              <a:gd name="connsiteX219" fmla="*/ 5634284 w 5730544"/>
              <a:gd name="connsiteY219" fmla="*/ 25357 h 1240971"/>
              <a:gd name="connsiteX220" fmla="*/ 5575040 w 5730544"/>
              <a:gd name="connsiteY220" fmla="*/ 39120 h 1240971"/>
              <a:gd name="connsiteX221" fmla="*/ 5470369 w 5730544"/>
              <a:gd name="connsiteY221" fmla="*/ 39381 h 1240971"/>
              <a:gd name="connsiteX222" fmla="*/ 5379124 w 5730544"/>
              <a:gd name="connsiteY222" fmla="*/ 39644 h 1240971"/>
              <a:gd name="connsiteX223" fmla="*/ 5309282 w 5730544"/>
              <a:gd name="connsiteY223" fmla="*/ 42287 h 1240971"/>
              <a:gd name="connsiteX224" fmla="*/ 5238682 w 5730544"/>
              <a:gd name="connsiteY224" fmla="*/ 54455 h 1240971"/>
              <a:gd name="connsiteX225" fmla="*/ 5075554 w 5730544"/>
              <a:gd name="connsiteY225" fmla="*/ 56574 h 1240971"/>
              <a:gd name="connsiteX226" fmla="*/ 4989070 w 5730544"/>
              <a:gd name="connsiteY226" fmla="*/ 65314 h 1240971"/>
              <a:gd name="connsiteX227" fmla="*/ 4943852 w 5730544"/>
              <a:gd name="connsiteY227" fmla="*/ 60290 h 1240971"/>
              <a:gd name="connsiteX228" fmla="*/ 4823272 w 5730544"/>
              <a:gd name="connsiteY228" fmla="*/ 50242 h 1240971"/>
              <a:gd name="connsiteX229" fmla="*/ 4677571 w 5730544"/>
              <a:gd name="connsiteY229" fmla="*/ 55266 h 1240971"/>
              <a:gd name="connsiteX230" fmla="*/ 4647426 w 5730544"/>
              <a:gd name="connsiteY230" fmla="*/ 60290 h 1240971"/>
              <a:gd name="connsiteX231" fmla="*/ 4577087 w 5730544"/>
              <a:gd name="connsiteY231" fmla="*/ 65314 h 1240971"/>
              <a:gd name="connsiteX232" fmla="*/ 4486652 w 5730544"/>
              <a:gd name="connsiteY232" fmla="*/ 75363 h 1240971"/>
              <a:gd name="connsiteX233" fmla="*/ 4139984 w 5730544"/>
              <a:gd name="connsiteY233" fmla="*/ 60290 h 1240971"/>
              <a:gd name="connsiteX234" fmla="*/ 3918920 w 5730544"/>
              <a:gd name="connsiteY234" fmla="*/ 50242 h 1240971"/>
              <a:gd name="connsiteX235" fmla="*/ 3873703 w 5730544"/>
              <a:gd name="connsiteY235" fmla="*/ 45217 h 1240971"/>
              <a:gd name="connsiteX236" fmla="*/ 3687808 w 5730544"/>
              <a:gd name="connsiteY236" fmla="*/ 40193 h 1240971"/>
              <a:gd name="connsiteX237" fmla="*/ 3662687 w 5730544"/>
              <a:gd name="connsiteY237" fmla="*/ 35169 h 1240971"/>
              <a:gd name="connsiteX238" fmla="*/ 3627518 w 5730544"/>
              <a:gd name="connsiteY238" fmla="*/ 25121 h 1240971"/>
              <a:gd name="connsiteX239" fmla="*/ 3547131 w 5730544"/>
              <a:gd name="connsiteY239" fmla="*/ 20097 h 1240971"/>
              <a:gd name="connsiteX240" fmla="*/ 3310995 w 5730544"/>
              <a:gd name="connsiteY240" fmla="*/ 25121 h 1240971"/>
              <a:gd name="connsiteX241" fmla="*/ 3265777 w 5730544"/>
              <a:gd name="connsiteY241" fmla="*/ 30145 h 1240971"/>
              <a:gd name="connsiteX242" fmla="*/ 3175342 w 5730544"/>
              <a:gd name="connsiteY242" fmla="*/ 35169 h 1240971"/>
              <a:gd name="connsiteX243" fmla="*/ 2582489 w 5730544"/>
              <a:gd name="connsiteY243" fmla="*/ 45217 h 1240971"/>
              <a:gd name="connsiteX244" fmla="*/ 2255918 w 5730544"/>
              <a:gd name="connsiteY244" fmla="*/ 40193 h 1240971"/>
              <a:gd name="connsiteX245" fmla="*/ 1974564 w 5730544"/>
              <a:gd name="connsiteY245" fmla="*/ 30145 h 1240971"/>
              <a:gd name="connsiteX246" fmla="*/ 1944419 w 5730544"/>
              <a:gd name="connsiteY246" fmla="*/ 25121 h 1240971"/>
              <a:gd name="connsiteX247" fmla="*/ 1848960 w 5730544"/>
              <a:gd name="connsiteY247" fmla="*/ 20097 h 1240971"/>
              <a:gd name="connsiteX248" fmla="*/ 1768573 w 5730544"/>
              <a:gd name="connsiteY248" fmla="*/ 10048 h 1240971"/>
              <a:gd name="connsiteX249" fmla="*/ 1502292 w 5730544"/>
              <a:gd name="connsiteY249" fmla="*/ 20097 h 1240971"/>
              <a:gd name="connsiteX250" fmla="*/ 1467122 w 5730544"/>
              <a:gd name="connsiteY250" fmla="*/ 25121 h 1240971"/>
              <a:gd name="connsiteX251" fmla="*/ 1426929 w 5730544"/>
              <a:gd name="connsiteY251" fmla="*/ 30145 h 1240971"/>
              <a:gd name="connsiteX252" fmla="*/ 1341518 w 5730544"/>
              <a:gd name="connsiteY252" fmla="*/ 45217 h 1240971"/>
              <a:gd name="connsiteX253" fmla="*/ 1095333 w 5730544"/>
              <a:gd name="connsiteY253" fmla="*/ 35169 h 1240971"/>
              <a:gd name="connsiteX254" fmla="*/ 979777 w 5730544"/>
              <a:gd name="connsiteY254" fmla="*/ 20097 h 1240971"/>
              <a:gd name="connsiteX255" fmla="*/ 939584 w 5730544"/>
              <a:gd name="connsiteY255" fmla="*/ 10048 h 1240971"/>
              <a:gd name="connsiteX256" fmla="*/ 813980 w 5730544"/>
              <a:gd name="connsiteY256" fmla="*/ 0 h 1240971"/>
              <a:gd name="connsiteX257" fmla="*/ 743641 w 5730544"/>
              <a:gd name="connsiteY257" fmla="*/ 5024 h 1240971"/>
              <a:gd name="connsiteX258" fmla="*/ 582867 w 5730544"/>
              <a:gd name="connsiteY258" fmla="*/ 15072 h 1240971"/>
              <a:gd name="connsiteX259" fmla="*/ 432142 w 5730544"/>
              <a:gd name="connsiteY259" fmla="*/ 5024 h 1240971"/>
              <a:gd name="connsiteX260" fmla="*/ 412046 w 5730544"/>
              <a:gd name="connsiteY260" fmla="*/ 0 h 1240971"/>
              <a:gd name="connsiteX261" fmla="*/ 281417 w 5730544"/>
              <a:gd name="connsiteY261" fmla="*/ 10048 h 1240971"/>
              <a:gd name="connsiteX262" fmla="*/ 261320 w 5730544"/>
              <a:gd name="connsiteY262" fmla="*/ 15072 h 1240971"/>
              <a:gd name="connsiteX263" fmla="*/ 100547 w 5730544"/>
              <a:gd name="connsiteY263" fmla="*/ 20097 h 1240971"/>
              <a:gd name="connsiteX264" fmla="*/ 5087 w 5730544"/>
              <a:gd name="connsiteY264" fmla="*/ 30145 h 1240971"/>
              <a:gd name="connsiteX0" fmla="*/ 5087 w 5730544"/>
              <a:gd name="connsiteY0" fmla="*/ 30145 h 1240971"/>
              <a:gd name="connsiteX1" fmla="*/ 15136 w 5730544"/>
              <a:gd name="connsiteY1" fmla="*/ 115556 h 1240971"/>
              <a:gd name="connsiteX2" fmla="*/ 20160 w 5730544"/>
              <a:gd name="connsiteY2" fmla="*/ 150725 h 1240971"/>
              <a:gd name="connsiteX3" fmla="*/ 25184 w 5730544"/>
              <a:gd name="connsiteY3" fmla="*/ 236136 h 1240971"/>
              <a:gd name="connsiteX4" fmla="*/ 35232 w 5730544"/>
              <a:gd name="connsiteY4" fmla="*/ 311499 h 1240971"/>
              <a:gd name="connsiteX5" fmla="*/ 40256 w 5730544"/>
              <a:gd name="connsiteY5" fmla="*/ 783771 h 1240971"/>
              <a:gd name="connsiteX6" fmla="*/ 45281 w 5730544"/>
              <a:gd name="connsiteY6" fmla="*/ 864158 h 1240971"/>
              <a:gd name="connsiteX7" fmla="*/ 35232 w 5730544"/>
              <a:gd name="connsiteY7" fmla="*/ 1034980 h 1240971"/>
              <a:gd name="connsiteX8" fmla="*/ 25184 w 5730544"/>
              <a:gd name="connsiteY8" fmla="*/ 1100294 h 1240971"/>
              <a:gd name="connsiteX9" fmla="*/ 20160 w 5730544"/>
              <a:gd name="connsiteY9" fmla="*/ 1150536 h 1240971"/>
              <a:gd name="connsiteX10" fmla="*/ 25184 w 5730544"/>
              <a:gd name="connsiteY10" fmla="*/ 1170633 h 1240971"/>
              <a:gd name="connsiteX11" fmla="*/ 35232 w 5730544"/>
              <a:gd name="connsiteY11" fmla="*/ 1160584 h 1240971"/>
              <a:gd name="connsiteX12" fmla="*/ 55329 w 5730544"/>
              <a:gd name="connsiteY12" fmla="*/ 1100294 h 1240971"/>
              <a:gd name="connsiteX13" fmla="*/ 60353 w 5730544"/>
              <a:gd name="connsiteY13" fmla="*/ 1085222 h 1240971"/>
              <a:gd name="connsiteX14" fmla="*/ 70402 w 5730544"/>
              <a:gd name="connsiteY14" fmla="*/ 1075173 h 1240971"/>
              <a:gd name="connsiteX15" fmla="*/ 95522 w 5730544"/>
              <a:gd name="connsiteY15" fmla="*/ 1045028 h 1240971"/>
              <a:gd name="connsiteX16" fmla="*/ 110595 w 5730544"/>
              <a:gd name="connsiteY16" fmla="*/ 1040004 h 1240971"/>
              <a:gd name="connsiteX17" fmla="*/ 135716 w 5730544"/>
              <a:gd name="connsiteY17" fmla="*/ 1019908 h 1240971"/>
              <a:gd name="connsiteX18" fmla="*/ 150788 w 5730544"/>
              <a:gd name="connsiteY18" fmla="*/ 1009859 h 1240971"/>
              <a:gd name="connsiteX19" fmla="*/ 175909 w 5730544"/>
              <a:gd name="connsiteY19" fmla="*/ 994787 h 1240971"/>
              <a:gd name="connsiteX20" fmla="*/ 216103 w 5730544"/>
              <a:gd name="connsiteY20" fmla="*/ 984738 h 1240971"/>
              <a:gd name="connsiteX21" fmla="*/ 286441 w 5730544"/>
              <a:gd name="connsiteY21" fmla="*/ 994787 h 1240971"/>
              <a:gd name="connsiteX22" fmla="*/ 301514 w 5730544"/>
              <a:gd name="connsiteY22" fmla="*/ 1004835 h 1240971"/>
              <a:gd name="connsiteX23" fmla="*/ 321610 w 5730544"/>
              <a:gd name="connsiteY23" fmla="*/ 1034980 h 1240971"/>
              <a:gd name="connsiteX24" fmla="*/ 356780 w 5730544"/>
              <a:gd name="connsiteY24" fmla="*/ 1065125 h 1240971"/>
              <a:gd name="connsiteX25" fmla="*/ 366828 w 5730544"/>
              <a:gd name="connsiteY25" fmla="*/ 1080198 h 1240971"/>
              <a:gd name="connsiteX26" fmla="*/ 381900 w 5730544"/>
              <a:gd name="connsiteY26" fmla="*/ 1085222 h 1240971"/>
              <a:gd name="connsiteX27" fmla="*/ 396973 w 5730544"/>
              <a:gd name="connsiteY27" fmla="*/ 1095270 h 1240971"/>
              <a:gd name="connsiteX28" fmla="*/ 407021 w 5730544"/>
              <a:gd name="connsiteY28" fmla="*/ 1105319 h 1240971"/>
              <a:gd name="connsiteX29" fmla="*/ 422094 w 5730544"/>
              <a:gd name="connsiteY29" fmla="*/ 1110343 h 1240971"/>
              <a:gd name="connsiteX30" fmla="*/ 437166 w 5730544"/>
              <a:gd name="connsiteY30" fmla="*/ 1120391 h 1240971"/>
              <a:gd name="connsiteX31" fmla="*/ 467311 w 5730544"/>
              <a:gd name="connsiteY31" fmla="*/ 1130439 h 1240971"/>
              <a:gd name="connsiteX32" fmla="*/ 522577 w 5730544"/>
              <a:gd name="connsiteY32" fmla="*/ 1115367 h 1240971"/>
              <a:gd name="connsiteX33" fmla="*/ 552722 w 5730544"/>
              <a:gd name="connsiteY33" fmla="*/ 1075173 h 1240971"/>
              <a:gd name="connsiteX34" fmla="*/ 567795 w 5730544"/>
              <a:gd name="connsiteY34" fmla="*/ 1070149 h 1240971"/>
              <a:gd name="connsiteX35" fmla="*/ 582867 w 5730544"/>
              <a:gd name="connsiteY35" fmla="*/ 1060101 h 1240971"/>
              <a:gd name="connsiteX36" fmla="*/ 638133 w 5730544"/>
              <a:gd name="connsiteY36" fmla="*/ 1045028 h 1240971"/>
              <a:gd name="connsiteX37" fmla="*/ 653206 w 5730544"/>
              <a:gd name="connsiteY37" fmla="*/ 1040004 h 1240971"/>
              <a:gd name="connsiteX38" fmla="*/ 693399 w 5730544"/>
              <a:gd name="connsiteY38" fmla="*/ 1045028 h 1240971"/>
              <a:gd name="connsiteX39" fmla="*/ 723544 w 5730544"/>
              <a:gd name="connsiteY39" fmla="*/ 1055077 h 1240971"/>
              <a:gd name="connsiteX40" fmla="*/ 733593 w 5730544"/>
              <a:gd name="connsiteY40" fmla="*/ 1065125 h 1240971"/>
              <a:gd name="connsiteX41" fmla="*/ 768762 w 5730544"/>
              <a:gd name="connsiteY41" fmla="*/ 1080198 h 1240971"/>
              <a:gd name="connsiteX42" fmla="*/ 803931 w 5730544"/>
              <a:gd name="connsiteY42" fmla="*/ 1105319 h 1240971"/>
              <a:gd name="connsiteX43" fmla="*/ 834076 w 5730544"/>
              <a:gd name="connsiteY43" fmla="*/ 1130439 h 1240971"/>
              <a:gd name="connsiteX44" fmla="*/ 869246 w 5730544"/>
              <a:gd name="connsiteY44" fmla="*/ 1140488 h 1240971"/>
              <a:gd name="connsiteX45" fmla="*/ 909439 w 5730544"/>
              <a:gd name="connsiteY45" fmla="*/ 1175657 h 1240971"/>
              <a:gd name="connsiteX46" fmla="*/ 939584 w 5730544"/>
              <a:gd name="connsiteY46" fmla="*/ 1185705 h 1240971"/>
              <a:gd name="connsiteX47" fmla="*/ 979777 w 5730544"/>
              <a:gd name="connsiteY47" fmla="*/ 1180681 h 1240971"/>
              <a:gd name="connsiteX48" fmla="*/ 989826 w 5730544"/>
              <a:gd name="connsiteY48" fmla="*/ 1170633 h 1240971"/>
              <a:gd name="connsiteX49" fmla="*/ 1004898 w 5730544"/>
              <a:gd name="connsiteY49" fmla="*/ 1150536 h 1240971"/>
              <a:gd name="connsiteX50" fmla="*/ 1014947 w 5730544"/>
              <a:gd name="connsiteY50" fmla="*/ 1120391 h 1240971"/>
              <a:gd name="connsiteX51" fmla="*/ 1040067 w 5730544"/>
              <a:gd name="connsiteY51" fmla="*/ 1095270 h 1240971"/>
              <a:gd name="connsiteX52" fmla="*/ 1050116 w 5730544"/>
              <a:gd name="connsiteY52" fmla="*/ 1085222 h 1240971"/>
              <a:gd name="connsiteX53" fmla="*/ 1075237 w 5730544"/>
              <a:gd name="connsiteY53" fmla="*/ 1065125 h 1240971"/>
              <a:gd name="connsiteX54" fmla="*/ 1090309 w 5730544"/>
              <a:gd name="connsiteY54" fmla="*/ 1050053 h 1240971"/>
              <a:gd name="connsiteX55" fmla="*/ 1120454 w 5730544"/>
              <a:gd name="connsiteY55" fmla="*/ 1040004 h 1240971"/>
              <a:gd name="connsiteX56" fmla="*/ 1135527 w 5730544"/>
              <a:gd name="connsiteY56" fmla="*/ 1034980 h 1240971"/>
              <a:gd name="connsiteX57" fmla="*/ 1160648 w 5730544"/>
              <a:gd name="connsiteY57" fmla="*/ 1019908 h 1240971"/>
              <a:gd name="connsiteX58" fmla="*/ 1175720 w 5730544"/>
              <a:gd name="connsiteY58" fmla="*/ 1014883 h 1240971"/>
              <a:gd name="connsiteX59" fmla="*/ 1195817 w 5730544"/>
              <a:gd name="connsiteY59" fmla="*/ 1004835 h 1240971"/>
              <a:gd name="connsiteX60" fmla="*/ 1281228 w 5730544"/>
              <a:gd name="connsiteY60" fmla="*/ 1014883 h 1240971"/>
              <a:gd name="connsiteX61" fmla="*/ 1296300 w 5730544"/>
              <a:gd name="connsiteY61" fmla="*/ 1024932 h 1240971"/>
              <a:gd name="connsiteX62" fmla="*/ 1311373 w 5730544"/>
              <a:gd name="connsiteY62" fmla="*/ 1029956 h 1240971"/>
              <a:gd name="connsiteX63" fmla="*/ 1326446 w 5730544"/>
              <a:gd name="connsiteY63" fmla="*/ 1060101 h 1240971"/>
              <a:gd name="connsiteX64" fmla="*/ 1341518 w 5730544"/>
              <a:gd name="connsiteY64" fmla="*/ 1065125 h 1240971"/>
              <a:gd name="connsiteX65" fmla="*/ 1356591 w 5730544"/>
              <a:gd name="connsiteY65" fmla="*/ 1075173 h 1240971"/>
              <a:gd name="connsiteX66" fmla="*/ 1396784 w 5730544"/>
              <a:gd name="connsiteY66" fmla="*/ 1090246 h 1240971"/>
              <a:gd name="connsiteX67" fmla="*/ 1447026 w 5730544"/>
              <a:gd name="connsiteY67" fmla="*/ 1105319 h 1240971"/>
              <a:gd name="connsiteX68" fmla="*/ 1462098 w 5730544"/>
              <a:gd name="connsiteY68" fmla="*/ 1110343 h 1240971"/>
              <a:gd name="connsiteX69" fmla="*/ 1497267 w 5730544"/>
              <a:gd name="connsiteY69" fmla="*/ 1120391 h 1240971"/>
              <a:gd name="connsiteX70" fmla="*/ 1552533 w 5730544"/>
              <a:gd name="connsiteY70" fmla="*/ 1115367 h 1240971"/>
              <a:gd name="connsiteX71" fmla="*/ 1567606 w 5730544"/>
              <a:gd name="connsiteY71" fmla="*/ 1110343 h 1240971"/>
              <a:gd name="connsiteX72" fmla="*/ 1587703 w 5730544"/>
              <a:gd name="connsiteY72" fmla="*/ 1090246 h 1240971"/>
              <a:gd name="connsiteX73" fmla="*/ 1637944 w 5730544"/>
              <a:gd name="connsiteY73" fmla="*/ 1050053 h 1240971"/>
              <a:gd name="connsiteX74" fmla="*/ 1653017 w 5730544"/>
              <a:gd name="connsiteY74" fmla="*/ 1029956 h 1240971"/>
              <a:gd name="connsiteX75" fmla="*/ 1688186 w 5730544"/>
              <a:gd name="connsiteY75" fmla="*/ 1019908 h 1240971"/>
              <a:gd name="connsiteX76" fmla="*/ 1788670 w 5730544"/>
              <a:gd name="connsiteY76" fmla="*/ 1029956 h 1240971"/>
              <a:gd name="connsiteX77" fmla="*/ 1818815 w 5730544"/>
              <a:gd name="connsiteY77" fmla="*/ 1040004 h 1240971"/>
              <a:gd name="connsiteX78" fmla="*/ 1853984 w 5730544"/>
              <a:gd name="connsiteY78" fmla="*/ 1050053 h 1240971"/>
              <a:gd name="connsiteX79" fmla="*/ 1869056 w 5730544"/>
              <a:gd name="connsiteY79" fmla="*/ 1060101 h 1240971"/>
              <a:gd name="connsiteX80" fmla="*/ 1894177 w 5730544"/>
              <a:gd name="connsiteY80" fmla="*/ 1065125 h 1240971"/>
              <a:gd name="connsiteX81" fmla="*/ 1949443 w 5730544"/>
              <a:gd name="connsiteY81" fmla="*/ 1085222 h 1240971"/>
              <a:gd name="connsiteX82" fmla="*/ 1969540 w 5730544"/>
              <a:gd name="connsiteY82" fmla="*/ 1090246 h 1240971"/>
              <a:gd name="connsiteX83" fmla="*/ 2014758 w 5730544"/>
              <a:gd name="connsiteY83" fmla="*/ 1110343 h 1240971"/>
              <a:gd name="connsiteX84" fmla="*/ 2039878 w 5730544"/>
              <a:gd name="connsiteY84" fmla="*/ 1125415 h 1240971"/>
              <a:gd name="connsiteX85" fmla="*/ 2120265 w 5730544"/>
              <a:gd name="connsiteY85" fmla="*/ 1120391 h 1240971"/>
              <a:gd name="connsiteX86" fmla="*/ 2130314 w 5730544"/>
              <a:gd name="connsiteY86" fmla="*/ 1110343 h 1240971"/>
              <a:gd name="connsiteX87" fmla="*/ 2155435 w 5730544"/>
              <a:gd name="connsiteY87" fmla="*/ 1100294 h 1240971"/>
              <a:gd name="connsiteX88" fmla="*/ 2190604 w 5730544"/>
              <a:gd name="connsiteY88" fmla="*/ 1070149 h 1240971"/>
              <a:gd name="connsiteX89" fmla="*/ 2230797 w 5730544"/>
              <a:gd name="connsiteY89" fmla="*/ 1040004 h 1240971"/>
              <a:gd name="connsiteX90" fmla="*/ 2245870 w 5730544"/>
              <a:gd name="connsiteY90" fmla="*/ 1034980 h 1240971"/>
              <a:gd name="connsiteX91" fmla="*/ 2270991 w 5730544"/>
              <a:gd name="connsiteY91" fmla="*/ 1019908 h 1240971"/>
              <a:gd name="connsiteX92" fmla="*/ 2301136 w 5730544"/>
              <a:gd name="connsiteY92" fmla="*/ 994787 h 1240971"/>
              <a:gd name="connsiteX93" fmla="*/ 2316208 w 5730544"/>
              <a:gd name="connsiteY93" fmla="*/ 989763 h 1240971"/>
              <a:gd name="connsiteX94" fmla="*/ 2396595 w 5730544"/>
              <a:gd name="connsiteY94" fmla="*/ 984738 h 1240971"/>
              <a:gd name="connsiteX95" fmla="*/ 2426740 w 5730544"/>
              <a:gd name="connsiteY95" fmla="*/ 989763 h 1240971"/>
              <a:gd name="connsiteX96" fmla="*/ 2461909 w 5730544"/>
              <a:gd name="connsiteY96" fmla="*/ 1024932 h 1240971"/>
              <a:gd name="connsiteX97" fmla="*/ 2476982 w 5730544"/>
              <a:gd name="connsiteY97" fmla="*/ 1029956 h 1240971"/>
              <a:gd name="connsiteX98" fmla="*/ 2487030 w 5730544"/>
              <a:gd name="connsiteY98" fmla="*/ 1045028 h 1240971"/>
              <a:gd name="connsiteX99" fmla="*/ 2497078 w 5730544"/>
              <a:gd name="connsiteY99" fmla="*/ 1055077 h 1240971"/>
              <a:gd name="connsiteX100" fmla="*/ 2532248 w 5730544"/>
              <a:gd name="connsiteY100" fmla="*/ 1095270 h 1240971"/>
              <a:gd name="connsiteX101" fmla="*/ 2567417 w 5730544"/>
              <a:gd name="connsiteY101" fmla="*/ 1135464 h 1240971"/>
              <a:gd name="connsiteX102" fmla="*/ 2582489 w 5730544"/>
              <a:gd name="connsiteY102" fmla="*/ 1145512 h 1240971"/>
              <a:gd name="connsiteX103" fmla="*/ 2622683 w 5730544"/>
              <a:gd name="connsiteY103" fmla="*/ 1170633 h 1240971"/>
              <a:gd name="connsiteX104" fmla="*/ 2657852 w 5730544"/>
              <a:gd name="connsiteY104" fmla="*/ 1160584 h 1240971"/>
              <a:gd name="connsiteX105" fmla="*/ 2682973 w 5730544"/>
              <a:gd name="connsiteY105" fmla="*/ 1145512 h 1240971"/>
              <a:gd name="connsiteX106" fmla="*/ 2713118 w 5730544"/>
              <a:gd name="connsiteY106" fmla="*/ 1130439 h 1240971"/>
              <a:gd name="connsiteX107" fmla="*/ 2728191 w 5730544"/>
              <a:gd name="connsiteY107" fmla="*/ 1120391 h 1240971"/>
              <a:gd name="connsiteX108" fmla="*/ 2748287 w 5730544"/>
              <a:gd name="connsiteY108" fmla="*/ 1115367 h 1240971"/>
              <a:gd name="connsiteX109" fmla="*/ 2778432 w 5730544"/>
              <a:gd name="connsiteY109" fmla="*/ 1105319 h 1240971"/>
              <a:gd name="connsiteX110" fmla="*/ 2868867 w 5730544"/>
              <a:gd name="connsiteY110" fmla="*/ 1075173 h 1240971"/>
              <a:gd name="connsiteX111" fmla="*/ 2893988 w 5730544"/>
              <a:gd name="connsiteY111" fmla="*/ 1070149 h 1240971"/>
              <a:gd name="connsiteX112" fmla="*/ 2919109 w 5730544"/>
              <a:gd name="connsiteY112" fmla="*/ 1075173 h 1240971"/>
              <a:gd name="connsiteX113" fmla="*/ 2934182 w 5730544"/>
              <a:gd name="connsiteY113" fmla="*/ 1080198 h 1240971"/>
              <a:gd name="connsiteX114" fmla="*/ 2944230 w 5730544"/>
              <a:gd name="connsiteY114" fmla="*/ 1110343 h 1240971"/>
              <a:gd name="connsiteX115" fmla="*/ 2959303 w 5730544"/>
              <a:gd name="connsiteY115" fmla="*/ 1125415 h 1240971"/>
              <a:gd name="connsiteX116" fmla="*/ 2979399 w 5730544"/>
              <a:gd name="connsiteY116" fmla="*/ 1155560 h 1240971"/>
              <a:gd name="connsiteX117" fmla="*/ 2994472 w 5730544"/>
              <a:gd name="connsiteY117" fmla="*/ 1160584 h 1240971"/>
              <a:gd name="connsiteX118" fmla="*/ 3014569 w 5730544"/>
              <a:gd name="connsiteY118" fmla="*/ 1180681 h 1240971"/>
              <a:gd name="connsiteX119" fmla="*/ 3024617 w 5730544"/>
              <a:gd name="connsiteY119" fmla="*/ 1190730 h 1240971"/>
              <a:gd name="connsiteX120" fmla="*/ 3069835 w 5730544"/>
              <a:gd name="connsiteY120" fmla="*/ 1215850 h 1240971"/>
              <a:gd name="connsiteX121" fmla="*/ 3079883 w 5730544"/>
              <a:gd name="connsiteY121" fmla="*/ 1225899 h 1240971"/>
              <a:gd name="connsiteX122" fmla="*/ 3099980 w 5730544"/>
              <a:gd name="connsiteY122" fmla="*/ 1230923 h 1240971"/>
              <a:gd name="connsiteX123" fmla="*/ 3130125 w 5730544"/>
              <a:gd name="connsiteY123" fmla="*/ 1240971 h 1240971"/>
              <a:gd name="connsiteX124" fmla="*/ 3180366 w 5730544"/>
              <a:gd name="connsiteY124" fmla="*/ 1235947 h 1240971"/>
              <a:gd name="connsiteX125" fmla="*/ 3195439 w 5730544"/>
              <a:gd name="connsiteY125" fmla="*/ 1225899 h 1240971"/>
              <a:gd name="connsiteX126" fmla="*/ 3220560 w 5730544"/>
              <a:gd name="connsiteY126" fmla="*/ 1215850 h 1240971"/>
              <a:gd name="connsiteX127" fmla="*/ 3255729 w 5730544"/>
              <a:gd name="connsiteY127" fmla="*/ 1185705 h 1240971"/>
              <a:gd name="connsiteX128" fmla="*/ 3295922 w 5730544"/>
              <a:gd name="connsiteY128" fmla="*/ 1160584 h 1240971"/>
              <a:gd name="connsiteX129" fmla="*/ 3310995 w 5730544"/>
              <a:gd name="connsiteY129" fmla="*/ 1145512 h 1240971"/>
              <a:gd name="connsiteX130" fmla="*/ 3351188 w 5730544"/>
              <a:gd name="connsiteY130" fmla="*/ 1140488 h 1240971"/>
              <a:gd name="connsiteX131" fmla="*/ 3406454 w 5730544"/>
              <a:gd name="connsiteY131" fmla="*/ 1155560 h 1240971"/>
              <a:gd name="connsiteX132" fmla="*/ 3426551 w 5730544"/>
              <a:gd name="connsiteY132" fmla="*/ 1165609 h 1240971"/>
              <a:gd name="connsiteX133" fmla="*/ 3441624 w 5730544"/>
              <a:gd name="connsiteY133" fmla="*/ 1175657 h 1240971"/>
              <a:gd name="connsiteX134" fmla="*/ 3456696 w 5730544"/>
              <a:gd name="connsiteY134" fmla="*/ 1180681 h 1240971"/>
              <a:gd name="connsiteX135" fmla="*/ 3466744 w 5730544"/>
              <a:gd name="connsiteY135" fmla="*/ 1195754 h 1240971"/>
              <a:gd name="connsiteX136" fmla="*/ 3527035 w 5730544"/>
              <a:gd name="connsiteY136" fmla="*/ 1200778 h 1240971"/>
              <a:gd name="connsiteX137" fmla="*/ 3542107 w 5730544"/>
              <a:gd name="connsiteY137" fmla="*/ 1190730 h 1240971"/>
              <a:gd name="connsiteX138" fmla="*/ 3567228 w 5730544"/>
              <a:gd name="connsiteY138" fmla="*/ 1180681 h 1240971"/>
              <a:gd name="connsiteX139" fmla="*/ 3587325 w 5730544"/>
              <a:gd name="connsiteY139" fmla="*/ 1150536 h 1240971"/>
              <a:gd name="connsiteX140" fmla="*/ 3617470 w 5730544"/>
              <a:gd name="connsiteY140" fmla="*/ 1125415 h 1240971"/>
              <a:gd name="connsiteX141" fmla="*/ 3632542 w 5730544"/>
              <a:gd name="connsiteY141" fmla="*/ 1105319 h 1240971"/>
              <a:gd name="connsiteX142" fmla="*/ 3662687 w 5730544"/>
              <a:gd name="connsiteY142" fmla="*/ 1085222 h 1240971"/>
              <a:gd name="connsiteX143" fmla="*/ 3697856 w 5730544"/>
              <a:gd name="connsiteY143" fmla="*/ 1070149 h 1240971"/>
              <a:gd name="connsiteX144" fmla="*/ 3707905 w 5730544"/>
              <a:gd name="connsiteY144" fmla="*/ 1060101 h 1240971"/>
              <a:gd name="connsiteX145" fmla="*/ 3743074 w 5730544"/>
              <a:gd name="connsiteY145" fmla="*/ 1040004 h 1240971"/>
              <a:gd name="connsiteX146" fmla="*/ 3813413 w 5730544"/>
              <a:gd name="connsiteY146" fmla="*/ 1024932 h 1240971"/>
              <a:gd name="connsiteX147" fmla="*/ 3833509 w 5730544"/>
              <a:gd name="connsiteY147" fmla="*/ 1014883 h 1240971"/>
              <a:gd name="connsiteX148" fmla="*/ 3858630 w 5730544"/>
              <a:gd name="connsiteY148" fmla="*/ 1009859 h 1240971"/>
              <a:gd name="connsiteX149" fmla="*/ 3873703 w 5730544"/>
              <a:gd name="connsiteY149" fmla="*/ 1004835 h 1240971"/>
              <a:gd name="connsiteX150" fmla="*/ 3923944 w 5730544"/>
              <a:gd name="connsiteY150" fmla="*/ 1014883 h 1240971"/>
              <a:gd name="connsiteX151" fmla="*/ 3933993 w 5730544"/>
              <a:gd name="connsiteY151" fmla="*/ 1029956 h 1240971"/>
              <a:gd name="connsiteX152" fmla="*/ 3964138 w 5730544"/>
              <a:gd name="connsiteY152" fmla="*/ 1075173 h 1240971"/>
              <a:gd name="connsiteX153" fmla="*/ 3969162 w 5730544"/>
              <a:gd name="connsiteY153" fmla="*/ 1100294 h 1240971"/>
              <a:gd name="connsiteX154" fmla="*/ 3979210 w 5730544"/>
              <a:gd name="connsiteY154" fmla="*/ 1110343 h 1240971"/>
              <a:gd name="connsiteX155" fmla="*/ 3984235 w 5730544"/>
              <a:gd name="connsiteY155" fmla="*/ 1130439 h 1240971"/>
              <a:gd name="connsiteX156" fmla="*/ 4019404 w 5730544"/>
              <a:gd name="connsiteY156" fmla="*/ 1165609 h 1240971"/>
              <a:gd name="connsiteX157" fmla="*/ 4064621 w 5730544"/>
              <a:gd name="connsiteY157" fmla="*/ 1150536 h 1240971"/>
              <a:gd name="connsiteX158" fmla="*/ 4079694 w 5730544"/>
              <a:gd name="connsiteY158" fmla="*/ 1125415 h 1240971"/>
              <a:gd name="connsiteX159" fmla="*/ 4099791 w 5730544"/>
              <a:gd name="connsiteY159" fmla="*/ 1105319 h 1240971"/>
              <a:gd name="connsiteX160" fmla="*/ 4129936 w 5730544"/>
              <a:gd name="connsiteY160" fmla="*/ 1075173 h 1240971"/>
              <a:gd name="connsiteX161" fmla="*/ 4150032 w 5730544"/>
              <a:gd name="connsiteY161" fmla="*/ 1040004 h 1240971"/>
              <a:gd name="connsiteX162" fmla="*/ 4160081 w 5730544"/>
              <a:gd name="connsiteY162" fmla="*/ 1019908 h 1240971"/>
              <a:gd name="connsiteX163" fmla="*/ 4165105 w 5730544"/>
              <a:gd name="connsiteY163" fmla="*/ 1004835 h 1240971"/>
              <a:gd name="connsiteX164" fmla="*/ 4185202 w 5730544"/>
              <a:gd name="connsiteY164" fmla="*/ 984738 h 1240971"/>
              <a:gd name="connsiteX165" fmla="*/ 4200274 w 5730544"/>
              <a:gd name="connsiteY165" fmla="*/ 979714 h 1240971"/>
              <a:gd name="connsiteX166" fmla="*/ 4235443 w 5730544"/>
              <a:gd name="connsiteY166" fmla="*/ 954593 h 1240971"/>
              <a:gd name="connsiteX167" fmla="*/ 4275637 w 5730544"/>
              <a:gd name="connsiteY167" fmla="*/ 934497 h 1240971"/>
              <a:gd name="connsiteX168" fmla="*/ 4310806 w 5730544"/>
              <a:gd name="connsiteY168" fmla="*/ 914400 h 1240971"/>
              <a:gd name="connsiteX169" fmla="*/ 4325878 w 5730544"/>
              <a:gd name="connsiteY169" fmla="*/ 904352 h 1240971"/>
              <a:gd name="connsiteX170" fmla="*/ 4381144 w 5730544"/>
              <a:gd name="connsiteY170" fmla="*/ 904352 h 1240971"/>
              <a:gd name="connsiteX171" fmla="*/ 4401241 w 5730544"/>
              <a:gd name="connsiteY171" fmla="*/ 914400 h 1240971"/>
              <a:gd name="connsiteX172" fmla="*/ 4416314 w 5730544"/>
              <a:gd name="connsiteY172" fmla="*/ 919424 h 1240971"/>
              <a:gd name="connsiteX173" fmla="*/ 4431386 w 5730544"/>
              <a:gd name="connsiteY173" fmla="*/ 929472 h 1240971"/>
              <a:gd name="connsiteX174" fmla="*/ 4456507 w 5730544"/>
              <a:gd name="connsiteY174" fmla="*/ 974690 h 1240971"/>
              <a:gd name="connsiteX175" fmla="*/ 4476604 w 5730544"/>
              <a:gd name="connsiteY175" fmla="*/ 999811 h 1240971"/>
              <a:gd name="connsiteX176" fmla="*/ 4567039 w 5730544"/>
              <a:gd name="connsiteY176" fmla="*/ 994787 h 1240971"/>
              <a:gd name="connsiteX177" fmla="*/ 4597184 w 5730544"/>
              <a:gd name="connsiteY177" fmla="*/ 969666 h 1240971"/>
              <a:gd name="connsiteX178" fmla="*/ 4617281 w 5730544"/>
              <a:gd name="connsiteY178" fmla="*/ 959617 h 1240971"/>
              <a:gd name="connsiteX179" fmla="*/ 4632353 w 5730544"/>
              <a:gd name="connsiteY179" fmla="*/ 944545 h 1240971"/>
              <a:gd name="connsiteX180" fmla="*/ 4652450 w 5730544"/>
              <a:gd name="connsiteY180" fmla="*/ 934497 h 1240971"/>
              <a:gd name="connsiteX181" fmla="*/ 4672547 w 5730544"/>
              <a:gd name="connsiteY181" fmla="*/ 919424 h 1240971"/>
              <a:gd name="connsiteX182" fmla="*/ 4737861 w 5730544"/>
              <a:gd name="connsiteY182" fmla="*/ 884255 h 1240971"/>
              <a:gd name="connsiteX183" fmla="*/ 4762982 w 5730544"/>
              <a:gd name="connsiteY183" fmla="*/ 879231 h 1240971"/>
              <a:gd name="connsiteX184" fmla="*/ 4778054 w 5730544"/>
              <a:gd name="connsiteY184" fmla="*/ 874206 h 1240971"/>
              <a:gd name="connsiteX185" fmla="*/ 4819294 w 5730544"/>
              <a:gd name="connsiteY185" fmla="*/ 873944 h 1240971"/>
              <a:gd name="connsiteX186" fmla="*/ 4877465 w 5730544"/>
              <a:gd name="connsiteY186" fmla="*/ 895638 h 1240971"/>
              <a:gd name="connsiteX187" fmla="*/ 4935347 w 5730544"/>
              <a:gd name="connsiteY187" fmla="*/ 934523 h 1240971"/>
              <a:gd name="connsiteX188" fmla="*/ 4995402 w 5730544"/>
              <a:gd name="connsiteY188" fmla="*/ 1006746 h 1240971"/>
              <a:gd name="connsiteX189" fmla="*/ 5024762 w 5730544"/>
              <a:gd name="connsiteY189" fmla="*/ 1051963 h 1240971"/>
              <a:gd name="connsiteX190" fmla="*/ 5092223 w 5730544"/>
              <a:gd name="connsiteY190" fmla="*/ 1016506 h 1240971"/>
              <a:gd name="connsiteX191" fmla="*/ 5144322 w 5730544"/>
              <a:gd name="connsiteY191" fmla="*/ 948261 h 1240971"/>
              <a:gd name="connsiteX192" fmla="*/ 5189252 w 5730544"/>
              <a:gd name="connsiteY192" fmla="*/ 886112 h 1240971"/>
              <a:gd name="connsiteX193" fmla="*/ 5226279 w 5730544"/>
              <a:gd name="connsiteY193" fmla="*/ 856230 h 1240971"/>
              <a:gd name="connsiteX194" fmla="*/ 5260637 w 5730544"/>
              <a:gd name="connsiteY194" fmla="*/ 822918 h 1240971"/>
              <a:gd name="connsiteX195" fmla="*/ 5295282 w 5730544"/>
              <a:gd name="connsiteY195" fmla="*/ 800440 h 1240971"/>
              <a:gd name="connsiteX196" fmla="*/ 5334430 w 5730544"/>
              <a:gd name="connsiteY196" fmla="*/ 794893 h 1240971"/>
              <a:gd name="connsiteX197" fmla="*/ 5412174 w 5730544"/>
              <a:gd name="connsiteY197" fmla="*/ 824252 h 1240971"/>
              <a:gd name="connsiteX198" fmla="*/ 5431197 w 5730544"/>
              <a:gd name="connsiteY198" fmla="*/ 768699 h 1240971"/>
              <a:gd name="connsiteX199" fmla="*/ 5441246 w 5730544"/>
              <a:gd name="connsiteY199" fmla="*/ 753626 h 1240971"/>
              <a:gd name="connsiteX200" fmla="*/ 5456318 w 5730544"/>
              <a:gd name="connsiteY200" fmla="*/ 708409 h 1240971"/>
              <a:gd name="connsiteX201" fmla="*/ 5466366 w 5730544"/>
              <a:gd name="connsiteY201" fmla="*/ 683288 h 1240971"/>
              <a:gd name="connsiteX202" fmla="*/ 5476415 w 5730544"/>
              <a:gd name="connsiteY202" fmla="*/ 643094 h 1240971"/>
              <a:gd name="connsiteX203" fmla="*/ 5491487 w 5730544"/>
              <a:gd name="connsiteY203" fmla="*/ 617973 h 1240971"/>
              <a:gd name="connsiteX204" fmla="*/ 5506560 w 5730544"/>
              <a:gd name="connsiteY204" fmla="*/ 572756 h 1240971"/>
              <a:gd name="connsiteX205" fmla="*/ 5526656 w 5730544"/>
              <a:gd name="connsiteY205" fmla="*/ 522514 h 1240971"/>
              <a:gd name="connsiteX206" fmla="*/ 5546753 w 5730544"/>
              <a:gd name="connsiteY206" fmla="*/ 467248 h 1240971"/>
              <a:gd name="connsiteX207" fmla="*/ 5556802 w 5730544"/>
              <a:gd name="connsiteY207" fmla="*/ 411982 h 1240971"/>
              <a:gd name="connsiteX208" fmla="*/ 5566850 w 5730544"/>
              <a:gd name="connsiteY208" fmla="*/ 381837 h 1240971"/>
              <a:gd name="connsiteX209" fmla="*/ 5576898 w 5730544"/>
              <a:gd name="connsiteY209" fmla="*/ 356716 h 1240971"/>
              <a:gd name="connsiteX210" fmla="*/ 5596995 w 5730544"/>
              <a:gd name="connsiteY210" fmla="*/ 316523 h 1240971"/>
              <a:gd name="connsiteX211" fmla="*/ 5617092 w 5730544"/>
              <a:gd name="connsiteY211" fmla="*/ 246184 h 1240971"/>
              <a:gd name="connsiteX212" fmla="*/ 5622116 w 5730544"/>
              <a:gd name="connsiteY212" fmla="*/ 226088 h 1240971"/>
              <a:gd name="connsiteX213" fmla="*/ 5632164 w 5730544"/>
              <a:gd name="connsiteY213" fmla="*/ 216039 h 1240971"/>
              <a:gd name="connsiteX214" fmla="*/ 5637188 w 5730544"/>
              <a:gd name="connsiteY214" fmla="*/ 200967 h 1240971"/>
              <a:gd name="connsiteX215" fmla="*/ 5642213 w 5730544"/>
              <a:gd name="connsiteY215" fmla="*/ 180870 h 1240971"/>
              <a:gd name="connsiteX216" fmla="*/ 5652261 w 5730544"/>
              <a:gd name="connsiteY216" fmla="*/ 165798 h 1240971"/>
              <a:gd name="connsiteX217" fmla="*/ 5693265 w 5730544"/>
              <a:gd name="connsiteY217" fmla="*/ 101268 h 1240971"/>
              <a:gd name="connsiteX218" fmla="*/ 5728722 w 5730544"/>
              <a:gd name="connsiteY218" fmla="*/ 42287 h 1240971"/>
              <a:gd name="connsiteX219" fmla="*/ 5634284 w 5730544"/>
              <a:gd name="connsiteY219" fmla="*/ 25357 h 1240971"/>
              <a:gd name="connsiteX220" fmla="*/ 5575040 w 5730544"/>
              <a:gd name="connsiteY220" fmla="*/ 39120 h 1240971"/>
              <a:gd name="connsiteX221" fmla="*/ 5470369 w 5730544"/>
              <a:gd name="connsiteY221" fmla="*/ 39381 h 1240971"/>
              <a:gd name="connsiteX222" fmla="*/ 5379124 w 5730544"/>
              <a:gd name="connsiteY222" fmla="*/ 39644 h 1240971"/>
              <a:gd name="connsiteX223" fmla="*/ 5309282 w 5730544"/>
              <a:gd name="connsiteY223" fmla="*/ 42287 h 1240971"/>
              <a:gd name="connsiteX224" fmla="*/ 5238682 w 5730544"/>
              <a:gd name="connsiteY224" fmla="*/ 54455 h 1240971"/>
              <a:gd name="connsiteX225" fmla="*/ 5075554 w 5730544"/>
              <a:gd name="connsiteY225" fmla="*/ 56574 h 1240971"/>
              <a:gd name="connsiteX226" fmla="*/ 4989070 w 5730544"/>
              <a:gd name="connsiteY226" fmla="*/ 65314 h 1240971"/>
              <a:gd name="connsiteX227" fmla="*/ 4943852 w 5730544"/>
              <a:gd name="connsiteY227" fmla="*/ 60290 h 1240971"/>
              <a:gd name="connsiteX228" fmla="*/ 4823272 w 5730544"/>
              <a:gd name="connsiteY228" fmla="*/ 50242 h 1240971"/>
              <a:gd name="connsiteX229" fmla="*/ 4677571 w 5730544"/>
              <a:gd name="connsiteY229" fmla="*/ 55266 h 1240971"/>
              <a:gd name="connsiteX230" fmla="*/ 4647426 w 5730544"/>
              <a:gd name="connsiteY230" fmla="*/ 60290 h 1240971"/>
              <a:gd name="connsiteX231" fmla="*/ 4577087 w 5730544"/>
              <a:gd name="connsiteY231" fmla="*/ 65314 h 1240971"/>
              <a:gd name="connsiteX232" fmla="*/ 4417596 w 5730544"/>
              <a:gd name="connsiteY232" fmla="*/ 44406 h 1240971"/>
              <a:gd name="connsiteX233" fmla="*/ 4139984 w 5730544"/>
              <a:gd name="connsiteY233" fmla="*/ 60290 h 1240971"/>
              <a:gd name="connsiteX234" fmla="*/ 3918920 w 5730544"/>
              <a:gd name="connsiteY234" fmla="*/ 50242 h 1240971"/>
              <a:gd name="connsiteX235" fmla="*/ 3873703 w 5730544"/>
              <a:gd name="connsiteY235" fmla="*/ 45217 h 1240971"/>
              <a:gd name="connsiteX236" fmla="*/ 3687808 w 5730544"/>
              <a:gd name="connsiteY236" fmla="*/ 40193 h 1240971"/>
              <a:gd name="connsiteX237" fmla="*/ 3662687 w 5730544"/>
              <a:gd name="connsiteY237" fmla="*/ 35169 h 1240971"/>
              <a:gd name="connsiteX238" fmla="*/ 3627518 w 5730544"/>
              <a:gd name="connsiteY238" fmla="*/ 25121 h 1240971"/>
              <a:gd name="connsiteX239" fmla="*/ 3547131 w 5730544"/>
              <a:gd name="connsiteY239" fmla="*/ 20097 h 1240971"/>
              <a:gd name="connsiteX240" fmla="*/ 3310995 w 5730544"/>
              <a:gd name="connsiteY240" fmla="*/ 25121 h 1240971"/>
              <a:gd name="connsiteX241" fmla="*/ 3265777 w 5730544"/>
              <a:gd name="connsiteY241" fmla="*/ 30145 h 1240971"/>
              <a:gd name="connsiteX242" fmla="*/ 3175342 w 5730544"/>
              <a:gd name="connsiteY242" fmla="*/ 35169 h 1240971"/>
              <a:gd name="connsiteX243" fmla="*/ 2582489 w 5730544"/>
              <a:gd name="connsiteY243" fmla="*/ 45217 h 1240971"/>
              <a:gd name="connsiteX244" fmla="*/ 2255918 w 5730544"/>
              <a:gd name="connsiteY244" fmla="*/ 40193 h 1240971"/>
              <a:gd name="connsiteX245" fmla="*/ 1974564 w 5730544"/>
              <a:gd name="connsiteY245" fmla="*/ 30145 h 1240971"/>
              <a:gd name="connsiteX246" fmla="*/ 1944419 w 5730544"/>
              <a:gd name="connsiteY246" fmla="*/ 25121 h 1240971"/>
              <a:gd name="connsiteX247" fmla="*/ 1848960 w 5730544"/>
              <a:gd name="connsiteY247" fmla="*/ 20097 h 1240971"/>
              <a:gd name="connsiteX248" fmla="*/ 1768573 w 5730544"/>
              <a:gd name="connsiteY248" fmla="*/ 10048 h 1240971"/>
              <a:gd name="connsiteX249" fmla="*/ 1502292 w 5730544"/>
              <a:gd name="connsiteY249" fmla="*/ 20097 h 1240971"/>
              <a:gd name="connsiteX250" fmla="*/ 1467122 w 5730544"/>
              <a:gd name="connsiteY250" fmla="*/ 25121 h 1240971"/>
              <a:gd name="connsiteX251" fmla="*/ 1426929 w 5730544"/>
              <a:gd name="connsiteY251" fmla="*/ 30145 h 1240971"/>
              <a:gd name="connsiteX252" fmla="*/ 1341518 w 5730544"/>
              <a:gd name="connsiteY252" fmla="*/ 45217 h 1240971"/>
              <a:gd name="connsiteX253" fmla="*/ 1095333 w 5730544"/>
              <a:gd name="connsiteY253" fmla="*/ 35169 h 1240971"/>
              <a:gd name="connsiteX254" fmla="*/ 979777 w 5730544"/>
              <a:gd name="connsiteY254" fmla="*/ 20097 h 1240971"/>
              <a:gd name="connsiteX255" fmla="*/ 939584 w 5730544"/>
              <a:gd name="connsiteY255" fmla="*/ 10048 h 1240971"/>
              <a:gd name="connsiteX256" fmla="*/ 813980 w 5730544"/>
              <a:gd name="connsiteY256" fmla="*/ 0 h 1240971"/>
              <a:gd name="connsiteX257" fmla="*/ 743641 w 5730544"/>
              <a:gd name="connsiteY257" fmla="*/ 5024 h 1240971"/>
              <a:gd name="connsiteX258" fmla="*/ 582867 w 5730544"/>
              <a:gd name="connsiteY258" fmla="*/ 15072 h 1240971"/>
              <a:gd name="connsiteX259" fmla="*/ 432142 w 5730544"/>
              <a:gd name="connsiteY259" fmla="*/ 5024 h 1240971"/>
              <a:gd name="connsiteX260" fmla="*/ 412046 w 5730544"/>
              <a:gd name="connsiteY260" fmla="*/ 0 h 1240971"/>
              <a:gd name="connsiteX261" fmla="*/ 281417 w 5730544"/>
              <a:gd name="connsiteY261" fmla="*/ 10048 h 1240971"/>
              <a:gd name="connsiteX262" fmla="*/ 261320 w 5730544"/>
              <a:gd name="connsiteY262" fmla="*/ 15072 h 1240971"/>
              <a:gd name="connsiteX263" fmla="*/ 100547 w 5730544"/>
              <a:gd name="connsiteY263" fmla="*/ 20097 h 1240971"/>
              <a:gd name="connsiteX264" fmla="*/ 5087 w 5730544"/>
              <a:gd name="connsiteY264" fmla="*/ 30145 h 1240971"/>
              <a:gd name="connsiteX0" fmla="*/ 5087 w 5730544"/>
              <a:gd name="connsiteY0" fmla="*/ 30145 h 1240971"/>
              <a:gd name="connsiteX1" fmla="*/ 15136 w 5730544"/>
              <a:gd name="connsiteY1" fmla="*/ 115556 h 1240971"/>
              <a:gd name="connsiteX2" fmla="*/ 20160 w 5730544"/>
              <a:gd name="connsiteY2" fmla="*/ 150725 h 1240971"/>
              <a:gd name="connsiteX3" fmla="*/ 25184 w 5730544"/>
              <a:gd name="connsiteY3" fmla="*/ 236136 h 1240971"/>
              <a:gd name="connsiteX4" fmla="*/ 35232 w 5730544"/>
              <a:gd name="connsiteY4" fmla="*/ 311499 h 1240971"/>
              <a:gd name="connsiteX5" fmla="*/ 40256 w 5730544"/>
              <a:gd name="connsiteY5" fmla="*/ 783771 h 1240971"/>
              <a:gd name="connsiteX6" fmla="*/ 45281 w 5730544"/>
              <a:gd name="connsiteY6" fmla="*/ 864158 h 1240971"/>
              <a:gd name="connsiteX7" fmla="*/ 35232 w 5730544"/>
              <a:gd name="connsiteY7" fmla="*/ 1034980 h 1240971"/>
              <a:gd name="connsiteX8" fmla="*/ 25184 w 5730544"/>
              <a:gd name="connsiteY8" fmla="*/ 1100294 h 1240971"/>
              <a:gd name="connsiteX9" fmla="*/ 20160 w 5730544"/>
              <a:gd name="connsiteY9" fmla="*/ 1150536 h 1240971"/>
              <a:gd name="connsiteX10" fmla="*/ 25184 w 5730544"/>
              <a:gd name="connsiteY10" fmla="*/ 1170633 h 1240971"/>
              <a:gd name="connsiteX11" fmla="*/ 35232 w 5730544"/>
              <a:gd name="connsiteY11" fmla="*/ 1160584 h 1240971"/>
              <a:gd name="connsiteX12" fmla="*/ 55329 w 5730544"/>
              <a:gd name="connsiteY12" fmla="*/ 1100294 h 1240971"/>
              <a:gd name="connsiteX13" fmla="*/ 60353 w 5730544"/>
              <a:gd name="connsiteY13" fmla="*/ 1085222 h 1240971"/>
              <a:gd name="connsiteX14" fmla="*/ 70402 w 5730544"/>
              <a:gd name="connsiteY14" fmla="*/ 1075173 h 1240971"/>
              <a:gd name="connsiteX15" fmla="*/ 95522 w 5730544"/>
              <a:gd name="connsiteY15" fmla="*/ 1045028 h 1240971"/>
              <a:gd name="connsiteX16" fmla="*/ 110595 w 5730544"/>
              <a:gd name="connsiteY16" fmla="*/ 1040004 h 1240971"/>
              <a:gd name="connsiteX17" fmla="*/ 135716 w 5730544"/>
              <a:gd name="connsiteY17" fmla="*/ 1019908 h 1240971"/>
              <a:gd name="connsiteX18" fmla="*/ 150788 w 5730544"/>
              <a:gd name="connsiteY18" fmla="*/ 1009859 h 1240971"/>
              <a:gd name="connsiteX19" fmla="*/ 175909 w 5730544"/>
              <a:gd name="connsiteY19" fmla="*/ 994787 h 1240971"/>
              <a:gd name="connsiteX20" fmla="*/ 216103 w 5730544"/>
              <a:gd name="connsiteY20" fmla="*/ 984738 h 1240971"/>
              <a:gd name="connsiteX21" fmla="*/ 286441 w 5730544"/>
              <a:gd name="connsiteY21" fmla="*/ 994787 h 1240971"/>
              <a:gd name="connsiteX22" fmla="*/ 301514 w 5730544"/>
              <a:gd name="connsiteY22" fmla="*/ 1004835 h 1240971"/>
              <a:gd name="connsiteX23" fmla="*/ 321610 w 5730544"/>
              <a:gd name="connsiteY23" fmla="*/ 1034980 h 1240971"/>
              <a:gd name="connsiteX24" fmla="*/ 356780 w 5730544"/>
              <a:gd name="connsiteY24" fmla="*/ 1065125 h 1240971"/>
              <a:gd name="connsiteX25" fmla="*/ 366828 w 5730544"/>
              <a:gd name="connsiteY25" fmla="*/ 1080198 h 1240971"/>
              <a:gd name="connsiteX26" fmla="*/ 381900 w 5730544"/>
              <a:gd name="connsiteY26" fmla="*/ 1085222 h 1240971"/>
              <a:gd name="connsiteX27" fmla="*/ 396973 w 5730544"/>
              <a:gd name="connsiteY27" fmla="*/ 1095270 h 1240971"/>
              <a:gd name="connsiteX28" fmla="*/ 407021 w 5730544"/>
              <a:gd name="connsiteY28" fmla="*/ 1105319 h 1240971"/>
              <a:gd name="connsiteX29" fmla="*/ 422094 w 5730544"/>
              <a:gd name="connsiteY29" fmla="*/ 1110343 h 1240971"/>
              <a:gd name="connsiteX30" fmla="*/ 437166 w 5730544"/>
              <a:gd name="connsiteY30" fmla="*/ 1120391 h 1240971"/>
              <a:gd name="connsiteX31" fmla="*/ 467311 w 5730544"/>
              <a:gd name="connsiteY31" fmla="*/ 1130439 h 1240971"/>
              <a:gd name="connsiteX32" fmla="*/ 522577 w 5730544"/>
              <a:gd name="connsiteY32" fmla="*/ 1115367 h 1240971"/>
              <a:gd name="connsiteX33" fmla="*/ 552722 w 5730544"/>
              <a:gd name="connsiteY33" fmla="*/ 1075173 h 1240971"/>
              <a:gd name="connsiteX34" fmla="*/ 567795 w 5730544"/>
              <a:gd name="connsiteY34" fmla="*/ 1070149 h 1240971"/>
              <a:gd name="connsiteX35" fmla="*/ 582867 w 5730544"/>
              <a:gd name="connsiteY35" fmla="*/ 1060101 h 1240971"/>
              <a:gd name="connsiteX36" fmla="*/ 638133 w 5730544"/>
              <a:gd name="connsiteY36" fmla="*/ 1045028 h 1240971"/>
              <a:gd name="connsiteX37" fmla="*/ 653206 w 5730544"/>
              <a:gd name="connsiteY37" fmla="*/ 1040004 h 1240971"/>
              <a:gd name="connsiteX38" fmla="*/ 693399 w 5730544"/>
              <a:gd name="connsiteY38" fmla="*/ 1045028 h 1240971"/>
              <a:gd name="connsiteX39" fmla="*/ 723544 w 5730544"/>
              <a:gd name="connsiteY39" fmla="*/ 1055077 h 1240971"/>
              <a:gd name="connsiteX40" fmla="*/ 733593 w 5730544"/>
              <a:gd name="connsiteY40" fmla="*/ 1065125 h 1240971"/>
              <a:gd name="connsiteX41" fmla="*/ 768762 w 5730544"/>
              <a:gd name="connsiteY41" fmla="*/ 1080198 h 1240971"/>
              <a:gd name="connsiteX42" fmla="*/ 803931 w 5730544"/>
              <a:gd name="connsiteY42" fmla="*/ 1105319 h 1240971"/>
              <a:gd name="connsiteX43" fmla="*/ 834076 w 5730544"/>
              <a:gd name="connsiteY43" fmla="*/ 1130439 h 1240971"/>
              <a:gd name="connsiteX44" fmla="*/ 869246 w 5730544"/>
              <a:gd name="connsiteY44" fmla="*/ 1140488 h 1240971"/>
              <a:gd name="connsiteX45" fmla="*/ 909439 w 5730544"/>
              <a:gd name="connsiteY45" fmla="*/ 1175657 h 1240971"/>
              <a:gd name="connsiteX46" fmla="*/ 939584 w 5730544"/>
              <a:gd name="connsiteY46" fmla="*/ 1185705 h 1240971"/>
              <a:gd name="connsiteX47" fmla="*/ 979777 w 5730544"/>
              <a:gd name="connsiteY47" fmla="*/ 1180681 h 1240971"/>
              <a:gd name="connsiteX48" fmla="*/ 989826 w 5730544"/>
              <a:gd name="connsiteY48" fmla="*/ 1170633 h 1240971"/>
              <a:gd name="connsiteX49" fmla="*/ 1004898 w 5730544"/>
              <a:gd name="connsiteY49" fmla="*/ 1150536 h 1240971"/>
              <a:gd name="connsiteX50" fmla="*/ 1014947 w 5730544"/>
              <a:gd name="connsiteY50" fmla="*/ 1120391 h 1240971"/>
              <a:gd name="connsiteX51" fmla="*/ 1040067 w 5730544"/>
              <a:gd name="connsiteY51" fmla="*/ 1095270 h 1240971"/>
              <a:gd name="connsiteX52" fmla="*/ 1050116 w 5730544"/>
              <a:gd name="connsiteY52" fmla="*/ 1085222 h 1240971"/>
              <a:gd name="connsiteX53" fmla="*/ 1075237 w 5730544"/>
              <a:gd name="connsiteY53" fmla="*/ 1065125 h 1240971"/>
              <a:gd name="connsiteX54" fmla="*/ 1090309 w 5730544"/>
              <a:gd name="connsiteY54" fmla="*/ 1050053 h 1240971"/>
              <a:gd name="connsiteX55" fmla="*/ 1120454 w 5730544"/>
              <a:gd name="connsiteY55" fmla="*/ 1040004 h 1240971"/>
              <a:gd name="connsiteX56" fmla="*/ 1135527 w 5730544"/>
              <a:gd name="connsiteY56" fmla="*/ 1034980 h 1240971"/>
              <a:gd name="connsiteX57" fmla="*/ 1160648 w 5730544"/>
              <a:gd name="connsiteY57" fmla="*/ 1019908 h 1240971"/>
              <a:gd name="connsiteX58" fmla="*/ 1175720 w 5730544"/>
              <a:gd name="connsiteY58" fmla="*/ 1014883 h 1240971"/>
              <a:gd name="connsiteX59" fmla="*/ 1195817 w 5730544"/>
              <a:gd name="connsiteY59" fmla="*/ 1004835 h 1240971"/>
              <a:gd name="connsiteX60" fmla="*/ 1281228 w 5730544"/>
              <a:gd name="connsiteY60" fmla="*/ 1014883 h 1240971"/>
              <a:gd name="connsiteX61" fmla="*/ 1296300 w 5730544"/>
              <a:gd name="connsiteY61" fmla="*/ 1024932 h 1240971"/>
              <a:gd name="connsiteX62" fmla="*/ 1311373 w 5730544"/>
              <a:gd name="connsiteY62" fmla="*/ 1029956 h 1240971"/>
              <a:gd name="connsiteX63" fmla="*/ 1326446 w 5730544"/>
              <a:gd name="connsiteY63" fmla="*/ 1060101 h 1240971"/>
              <a:gd name="connsiteX64" fmla="*/ 1341518 w 5730544"/>
              <a:gd name="connsiteY64" fmla="*/ 1065125 h 1240971"/>
              <a:gd name="connsiteX65" fmla="*/ 1356591 w 5730544"/>
              <a:gd name="connsiteY65" fmla="*/ 1075173 h 1240971"/>
              <a:gd name="connsiteX66" fmla="*/ 1396784 w 5730544"/>
              <a:gd name="connsiteY66" fmla="*/ 1090246 h 1240971"/>
              <a:gd name="connsiteX67" fmla="*/ 1447026 w 5730544"/>
              <a:gd name="connsiteY67" fmla="*/ 1105319 h 1240971"/>
              <a:gd name="connsiteX68" fmla="*/ 1462098 w 5730544"/>
              <a:gd name="connsiteY68" fmla="*/ 1110343 h 1240971"/>
              <a:gd name="connsiteX69" fmla="*/ 1497267 w 5730544"/>
              <a:gd name="connsiteY69" fmla="*/ 1120391 h 1240971"/>
              <a:gd name="connsiteX70" fmla="*/ 1552533 w 5730544"/>
              <a:gd name="connsiteY70" fmla="*/ 1115367 h 1240971"/>
              <a:gd name="connsiteX71" fmla="*/ 1567606 w 5730544"/>
              <a:gd name="connsiteY71" fmla="*/ 1110343 h 1240971"/>
              <a:gd name="connsiteX72" fmla="*/ 1587703 w 5730544"/>
              <a:gd name="connsiteY72" fmla="*/ 1090246 h 1240971"/>
              <a:gd name="connsiteX73" fmla="*/ 1637944 w 5730544"/>
              <a:gd name="connsiteY73" fmla="*/ 1050053 h 1240971"/>
              <a:gd name="connsiteX74" fmla="*/ 1653017 w 5730544"/>
              <a:gd name="connsiteY74" fmla="*/ 1029956 h 1240971"/>
              <a:gd name="connsiteX75" fmla="*/ 1688186 w 5730544"/>
              <a:gd name="connsiteY75" fmla="*/ 1019908 h 1240971"/>
              <a:gd name="connsiteX76" fmla="*/ 1788670 w 5730544"/>
              <a:gd name="connsiteY76" fmla="*/ 1029956 h 1240971"/>
              <a:gd name="connsiteX77" fmla="*/ 1818815 w 5730544"/>
              <a:gd name="connsiteY77" fmla="*/ 1040004 h 1240971"/>
              <a:gd name="connsiteX78" fmla="*/ 1853984 w 5730544"/>
              <a:gd name="connsiteY78" fmla="*/ 1050053 h 1240971"/>
              <a:gd name="connsiteX79" fmla="*/ 1869056 w 5730544"/>
              <a:gd name="connsiteY79" fmla="*/ 1060101 h 1240971"/>
              <a:gd name="connsiteX80" fmla="*/ 1894177 w 5730544"/>
              <a:gd name="connsiteY80" fmla="*/ 1065125 h 1240971"/>
              <a:gd name="connsiteX81" fmla="*/ 1949443 w 5730544"/>
              <a:gd name="connsiteY81" fmla="*/ 1085222 h 1240971"/>
              <a:gd name="connsiteX82" fmla="*/ 1969540 w 5730544"/>
              <a:gd name="connsiteY82" fmla="*/ 1090246 h 1240971"/>
              <a:gd name="connsiteX83" fmla="*/ 2014758 w 5730544"/>
              <a:gd name="connsiteY83" fmla="*/ 1110343 h 1240971"/>
              <a:gd name="connsiteX84" fmla="*/ 2039878 w 5730544"/>
              <a:gd name="connsiteY84" fmla="*/ 1125415 h 1240971"/>
              <a:gd name="connsiteX85" fmla="*/ 2120265 w 5730544"/>
              <a:gd name="connsiteY85" fmla="*/ 1120391 h 1240971"/>
              <a:gd name="connsiteX86" fmla="*/ 2130314 w 5730544"/>
              <a:gd name="connsiteY86" fmla="*/ 1110343 h 1240971"/>
              <a:gd name="connsiteX87" fmla="*/ 2155435 w 5730544"/>
              <a:gd name="connsiteY87" fmla="*/ 1100294 h 1240971"/>
              <a:gd name="connsiteX88" fmla="*/ 2190604 w 5730544"/>
              <a:gd name="connsiteY88" fmla="*/ 1070149 h 1240971"/>
              <a:gd name="connsiteX89" fmla="*/ 2230797 w 5730544"/>
              <a:gd name="connsiteY89" fmla="*/ 1040004 h 1240971"/>
              <a:gd name="connsiteX90" fmla="*/ 2245870 w 5730544"/>
              <a:gd name="connsiteY90" fmla="*/ 1034980 h 1240971"/>
              <a:gd name="connsiteX91" fmla="*/ 2270991 w 5730544"/>
              <a:gd name="connsiteY91" fmla="*/ 1019908 h 1240971"/>
              <a:gd name="connsiteX92" fmla="*/ 2301136 w 5730544"/>
              <a:gd name="connsiteY92" fmla="*/ 994787 h 1240971"/>
              <a:gd name="connsiteX93" fmla="*/ 2316208 w 5730544"/>
              <a:gd name="connsiteY93" fmla="*/ 989763 h 1240971"/>
              <a:gd name="connsiteX94" fmla="*/ 2396595 w 5730544"/>
              <a:gd name="connsiteY94" fmla="*/ 984738 h 1240971"/>
              <a:gd name="connsiteX95" fmla="*/ 2426740 w 5730544"/>
              <a:gd name="connsiteY95" fmla="*/ 989763 h 1240971"/>
              <a:gd name="connsiteX96" fmla="*/ 2461909 w 5730544"/>
              <a:gd name="connsiteY96" fmla="*/ 1024932 h 1240971"/>
              <a:gd name="connsiteX97" fmla="*/ 2476982 w 5730544"/>
              <a:gd name="connsiteY97" fmla="*/ 1029956 h 1240971"/>
              <a:gd name="connsiteX98" fmla="*/ 2487030 w 5730544"/>
              <a:gd name="connsiteY98" fmla="*/ 1045028 h 1240971"/>
              <a:gd name="connsiteX99" fmla="*/ 2497078 w 5730544"/>
              <a:gd name="connsiteY99" fmla="*/ 1055077 h 1240971"/>
              <a:gd name="connsiteX100" fmla="*/ 2532248 w 5730544"/>
              <a:gd name="connsiteY100" fmla="*/ 1095270 h 1240971"/>
              <a:gd name="connsiteX101" fmla="*/ 2567417 w 5730544"/>
              <a:gd name="connsiteY101" fmla="*/ 1135464 h 1240971"/>
              <a:gd name="connsiteX102" fmla="*/ 2582489 w 5730544"/>
              <a:gd name="connsiteY102" fmla="*/ 1145512 h 1240971"/>
              <a:gd name="connsiteX103" fmla="*/ 2622683 w 5730544"/>
              <a:gd name="connsiteY103" fmla="*/ 1170633 h 1240971"/>
              <a:gd name="connsiteX104" fmla="*/ 2657852 w 5730544"/>
              <a:gd name="connsiteY104" fmla="*/ 1160584 h 1240971"/>
              <a:gd name="connsiteX105" fmla="*/ 2682973 w 5730544"/>
              <a:gd name="connsiteY105" fmla="*/ 1145512 h 1240971"/>
              <a:gd name="connsiteX106" fmla="*/ 2713118 w 5730544"/>
              <a:gd name="connsiteY106" fmla="*/ 1130439 h 1240971"/>
              <a:gd name="connsiteX107" fmla="*/ 2728191 w 5730544"/>
              <a:gd name="connsiteY107" fmla="*/ 1120391 h 1240971"/>
              <a:gd name="connsiteX108" fmla="*/ 2748287 w 5730544"/>
              <a:gd name="connsiteY108" fmla="*/ 1115367 h 1240971"/>
              <a:gd name="connsiteX109" fmla="*/ 2778432 w 5730544"/>
              <a:gd name="connsiteY109" fmla="*/ 1105319 h 1240971"/>
              <a:gd name="connsiteX110" fmla="*/ 2868867 w 5730544"/>
              <a:gd name="connsiteY110" fmla="*/ 1075173 h 1240971"/>
              <a:gd name="connsiteX111" fmla="*/ 2893988 w 5730544"/>
              <a:gd name="connsiteY111" fmla="*/ 1070149 h 1240971"/>
              <a:gd name="connsiteX112" fmla="*/ 2919109 w 5730544"/>
              <a:gd name="connsiteY112" fmla="*/ 1075173 h 1240971"/>
              <a:gd name="connsiteX113" fmla="*/ 2934182 w 5730544"/>
              <a:gd name="connsiteY113" fmla="*/ 1080198 h 1240971"/>
              <a:gd name="connsiteX114" fmla="*/ 2944230 w 5730544"/>
              <a:gd name="connsiteY114" fmla="*/ 1110343 h 1240971"/>
              <a:gd name="connsiteX115" fmla="*/ 2959303 w 5730544"/>
              <a:gd name="connsiteY115" fmla="*/ 1125415 h 1240971"/>
              <a:gd name="connsiteX116" fmla="*/ 2979399 w 5730544"/>
              <a:gd name="connsiteY116" fmla="*/ 1155560 h 1240971"/>
              <a:gd name="connsiteX117" fmla="*/ 2994472 w 5730544"/>
              <a:gd name="connsiteY117" fmla="*/ 1160584 h 1240971"/>
              <a:gd name="connsiteX118" fmla="*/ 3014569 w 5730544"/>
              <a:gd name="connsiteY118" fmla="*/ 1180681 h 1240971"/>
              <a:gd name="connsiteX119" fmla="*/ 3024617 w 5730544"/>
              <a:gd name="connsiteY119" fmla="*/ 1190730 h 1240971"/>
              <a:gd name="connsiteX120" fmla="*/ 3069835 w 5730544"/>
              <a:gd name="connsiteY120" fmla="*/ 1215850 h 1240971"/>
              <a:gd name="connsiteX121" fmla="*/ 3079883 w 5730544"/>
              <a:gd name="connsiteY121" fmla="*/ 1225899 h 1240971"/>
              <a:gd name="connsiteX122" fmla="*/ 3099980 w 5730544"/>
              <a:gd name="connsiteY122" fmla="*/ 1230923 h 1240971"/>
              <a:gd name="connsiteX123" fmla="*/ 3130125 w 5730544"/>
              <a:gd name="connsiteY123" fmla="*/ 1240971 h 1240971"/>
              <a:gd name="connsiteX124" fmla="*/ 3180366 w 5730544"/>
              <a:gd name="connsiteY124" fmla="*/ 1235947 h 1240971"/>
              <a:gd name="connsiteX125" fmla="*/ 3195439 w 5730544"/>
              <a:gd name="connsiteY125" fmla="*/ 1225899 h 1240971"/>
              <a:gd name="connsiteX126" fmla="*/ 3220560 w 5730544"/>
              <a:gd name="connsiteY126" fmla="*/ 1215850 h 1240971"/>
              <a:gd name="connsiteX127" fmla="*/ 3255729 w 5730544"/>
              <a:gd name="connsiteY127" fmla="*/ 1185705 h 1240971"/>
              <a:gd name="connsiteX128" fmla="*/ 3295922 w 5730544"/>
              <a:gd name="connsiteY128" fmla="*/ 1160584 h 1240971"/>
              <a:gd name="connsiteX129" fmla="*/ 3310995 w 5730544"/>
              <a:gd name="connsiteY129" fmla="*/ 1145512 h 1240971"/>
              <a:gd name="connsiteX130" fmla="*/ 3351188 w 5730544"/>
              <a:gd name="connsiteY130" fmla="*/ 1140488 h 1240971"/>
              <a:gd name="connsiteX131" fmla="*/ 3406454 w 5730544"/>
              <a:gd name="connsiteY131" fmla="*/ 1155560 h 1240971"/>
              <a:gd name="connsiteX132" fmla="*/ 3426551 w 5730544"/>
              <a:gd name="connsiteY132" fmla="*/ 1165609 h 1240971"/>
              <a:gd name="connsiteX133" fmla="*/ 3441624 w 5730544"/>
              <a:gd name="connsiteY133" fmla="*/ 1175657 h 1240971"/>
              <a:gd name="connsiteX134" fmla="*/ 3456696 w 5730544"/>
              <a:gd name="connsiteY134" fmla="*/ 1180681 h 1240971"/>
              <a:gd name="connsiteX135" fmla="*/ 3466744 w 5730544"/>
              <a:gd name="connsiteY135" fmla="*/ 1195754 h 1240971"/>
              <a:gd name="connsiteX136" fmla="*/ 3527035 w 5730544"/>
              <a:gd name="connsiteY136" fmla="*/ 1200778 h 1240971"/>
              <a:gd name="connsiteX137" fmla="*/ 3542107 w 5730544"/>
              <a:gd name="connsiteY137" fmla="*/ 1190730 h 1240971"/>
              <a:gd name="connsiteX138" fmla="*/ 3567228 w 5730544"/>
              <a:gd name="connsiteY138" fmla="*/ 1180681 h 1240971"/>
              <a:gd name="connsiteX139" fmla="*/ 3587325 w 5730544"/>
              <a:gd name="connsiteY139" fmla="*/ 1150536 h 1240971"/>
              <a:gd name="connsiteX140" fmla="*/ 3617470 w 5730544"/>
              <a:gd name="connsiteY140" fmla="*/ 1125415 h 1240971"/>
              <a:gd name="connsiteX141" fmla="*/ 3632542 w 5730544"/>
              <a:gd name="connsiteY141" fmla="*/ 1105319 h 1240971"/>
              <a:gd name="connsiteX142" fmla="*/ 3662687 w 5730544"/>
              <a:gd name="connsiteY142" fmla="*/ 1085222 h 1240971"/>
              <a:gd name="connsiteX143" fmla="*/ 3697856 w 5730544"/>
              <a:gd name="connsiteY143" fmla="*/ 1070149 h 1240971"/>
              <a:gd name="connsiteX144" fmla="*/ 3707905 w 5730544"/>
              <a:gd name="connsiteY144" fmla="*/ 1060101 h 1240971"/>
              <a:gd name="connsiteX145" fmla="*/ 3743074 w 5730544"/>
              <a:gd name="connsiteY145" fmla="*/ 1040004 h 1240971"/>
              <a:gd name="connsiteX146" fmla="*/ 3813413 w 5730544"/>
              <a:gd name="connsiteY146" fmla="*/ 1024932 h 1240971"/>
              <a:gd name="connsiteX147" fmla="*/ 3833509 w 5730544"/>
              <a:gd name="connsiteY147" fmla="*/ 1014883 h 1240971"/>
              <a:gd name="connsiteX148" fmla="*/ 3858630 w 5730544"/>
              <a:gd name="connsiteY148" fmla="*/ 1009859 h 1240971"/>
              <a:gd name="connsiteX149" fmla="*/ 3873703 w 5730544"/>
              <a:gd name="connsiteY149" fmla="*/ 1004835 h 1240971"/>
              <a:gd name="connsiteX150" fmla="*/ 3923944 w 5730544"/>
              <a:gd name="connsiteY150" fmla="*/ 1014883 h 1240971"/>
              <a:gd name="connsiteX151" fmla="*/ 3933993 w 5730544"/>
              <a:gd name="connsiteY151" fmla="*/ 1029956 h 1240971"/>
              <a:gd name="connsiteX152" fmla="*/ 3964138 w 5730544"/>
              <a:gd name="connsiteY152" fmla="*/ 1075173 h 1240971"/>
              <a:gd name="connsiteX153" fmla="*/ 3969162 w 5730544"/>
              <a:gd name="connsiteY153" fmla="*/ 1100294 h 1240971"/>
              <a:gd name="connsiteX154" fmla="*/ 3979210 w 5730544"/>
              <a:gd name="connsiteY154" fmla="*/ 1110343 h 1240971"/>
              <a:gd name="connsiteX155" fmla="*/ 3984235 w 5730544"/>
              <a:gd name="connsiteY155" fmla="*/ 1130439 h 1240971"/>
              <a:gd name="connsiteX156" fmla="*/ 4019404 w 5730544"/>
              <a:gd name="connsiteY156" fmla="*/ 1165609 h 1240971"/>
              <a:gd name="connsiteX157" fmla="*/ 4064621 w 5730544"/>
              <a:gd name="connsiteY157" fmla="*/ 1150536 h 1240971"/>
              <a:gd name="connsiteX158" fmla="*/ 4079694 w 5730544"/>
              <a:gd name="connsiteY158" fmla="*/ 1125415 h 1240971"/>
              <a:gd name="connsiteX159" fmla="*/ 4099791 w 5730544"/>
              <a:gd name="connsiteY159" fmla="*/ 1105319 h 1240971"/>
              <a:gd name="connsiteX160" fmla="*/ 4129936 w 5730544"/>
              <a:gd name="connsiteY160" fmla="*/ 1075173 h 1240971"/>
              <a:gd name="connsiteX161" fmla="*/ 4150032 w 5730544"/>
              <a:gd name="connsiteY161" fmla="*/ 1040004 h 1240971"/>
              <a:gd name="connsiteX162" fmla="*/ 4160081 w 5730544"/>
              <a:gd name="connsiteY162" fmla="*/ 1019908 h 1240971"/>
              <a:gd name="connsiteX163" fmla="*/ 4165105 w 5730544"/>
              <a:gd name="connsiteY163" fmla="*/ 1004835 h 1240971"/>
              <a:gd name="connsiteX164" fmla="*/ 4185202 w 5730544"/>
              <a:gd name="connsiteY164" fmla="*/ 984738 h 1240971"/>
              <a:gd name="connsiteX165" fmla="*/ 4200274 w 5730544"/>
              <a:gd name="connsiteY165" fmla="*/ 979714 h 1240971"/>
              <a:gd name="connsiteX166" fmla="*/ 4235443 w 5730544"/>
              <a:gd name="connsiteY166" fmla="*/ 954593 h 1240971"/>
              <a:gd name="connsiteX167" fmla="*/ 4275637 w 5730544"/>
              <a:gd name="connsiteY167" fmla="*/ 934497 h 1240971"/>
              <a:gd name="connsiteX168" fmla="*/ 4310806 w 5730544"/>
              <a:gd name="connsiteY168" fmla="*/ 914400 h 1240971"/>
              <a:gd name="connsiteX169" fmla="*/ 4325878 w 5730544"/>
              <a:gd name="connsiteY169" fmla="*/ 904352 h 1240971"/>
              <a:gd name="connsiteX170" fmla="*/ 4381144 w 5730544"/>
              <a:gd name="connsiteY170" fmla="*/ 904352 h 1240971"/>
              <a:gd name="connsiteX171" fmla="*/ 4401241 w 5730544"/>
              <a:gd name="connsiteY171" fmla="*/ 914400 h 1240971"/>
              <a:gd name="connsiteX172" fmla="*/ 4416314 w 5730544"/>
              <a:gd name="connsiteY172" fmla="*/ 919424 h 1240971"/>
              <a:gd name="connsiteX173" fmla="*/ 4431386 w 5730544"/>
              <a:gd name="connsiteY173" fmla="*/ 929472 h 1240971"/>
              <a:gd name="connsiteX174" fmla="*/ 4456507 w 5730544"/>
              <a:gd name="connsiteY174" fmla="*/ 974690 h 1240971"/>
              <a:gd name="connsiteX175" fmla="*/ 4476604 w 5730544"/>
              <a:gd name="connsiteY175" fmla="*/ 999811 h 1240971"/>
              <a:gd name="connsiteX176" fmla="*/ 4567039 w 5730544"/>
              <a:gd name="connsiteY176" fmla="*/ 994787 h 1240971"/>
              <a:gd name="connsiteX177" fmla="*/ 4597184 w 5730544"/>
              <a:gd name="connsiteY177" fmla="*/ 969666 h 1240971"/>
              <a:gd name="connsiteX178" fmla="*/ 4617281 w 5730544"/>
              <a:gd name="connsiteY178" fmla="*/ 959617 h 1240971"/>
              <a:gd name="connsiteX179" fmla="*/ 4632353 w 5730544"/>
              <a:gd name="connsiteY179" fmla="*/ 944545 h 1240971"/>
              <a:gd name="connsiteX180" fmla="*/ 4652450 w 5730544"/>
              <a:gd name="connsiteY180" fmla="*/ 934497 h 1240971"/>
              <a:gd name="connsiteX181" fmla="*/ 4672547 w 5730544"/>
              <a:gd name="connsiteY181" fmla="*/ 919424 h 1240971"/>
              <a:gd name="connsiteX182" fmla="*/ 4737861 w 5730544"/>
              <a:gd name="connsiteY182" fmla="*/ 884255 h 1240971"/>
              <a:gd name="connsiteX183" fmla="*/ 4762982 w 5730544"/>
              <a:gd name="connsiteY183" fmla="*/ 879231 h 1240971"/>
              <a:gd name="connsiteX184" fmla="*/ 4778054 w 5730544"/>
              <a:gd name="connsiteY184" fmla="*/ 874206 h 1240971"/>
              <a:gd name="connsiteX185" fmla="*/ 4819294 w 5730544"/>
              <a:gd name="connsiteY185" fmla="*/ 873944 h 1240971"/>
              <a:gd name="connsiteX186" fmla="*/ 4877465 w 5730544"/>
              <a:gd name="connsiteY186" fmla="*/ 895638 h 1240971"/>
              <a:gd name="connsiteX187" fmla="*/ 4935347 w 5730544"/>
              <a:gd name="connsiteY187" fmla="*/ 934523 h 1240971"/>
              <a:gd name="connsiteX188" fmla="*/ 4995402 w 5730544"/>
              <a:gd name="connsiteY188" fmla="*/ 1006746 h 1240971"/>
              <a:gd name="connsiteX189" fmla="*/ 5024762 w 5730544"/>
              <a:gd name="connsiteY189" fmla="*/ 1051963 h 1240971"/>
              <a:gd name="connsiteX190" fmla="*/ 5092223 w 5730544"/>
              <a:gd name="connsiteY190" fmla="*/ 1016506 h 1240971"/>
              <a:gd name="connsiteX191" fmla="*/ 5144322 w 5730544"/>
              <a:gd name="connsiteY191" fmla="*/ 948261 h 1240971"/>
              <a:gd name="connsiteX192" fmla="*/ 5189252 w 5730544"/>
              <a:gd name="connsiteY192" fmla="*/ 886112 h 1240971"/>
              <a:gd name="connsiteX193" fmla="*/ 5226279 w 5730544"/>
              <a:gd name="connsiteY193" fmla="*/ 856230 h 1240971"/>
              <a:gd name="connsiteX194" fmla="*/ 5260637 w 5730544"/>
              <a:gd name="connsiteY194" fmla="*/ 822918 h 1240971"/>
              <a:gd name="connsiteX195" fmla="*/ 5295282 w 5730544"/>
              <a:gd name="connsiteY195" fmla="*/ 800440 h 1240971"/>
              <a:gd name="connsiteX196" fmla="*/ 5334430 w 5730544"/>
              <a:gd name="connsiteY196" fmla="*/ 794893 h 1240971"/>
              <a:gd name="connsiteX197" fmla="*/ 5412174 w 5730544"/>
              <a:gd name="connsiteY197" fmla="*/ 824252 h 1240971"/>
              <a:gd name="connsiteX198" fmla="*/ 5431197 w 5730544"/>
              <a:gd name="connsiteY198" fmla="*/ 768699 h 1240971"/>
              <a:gd name="connsiteX199" fmla="*/ 5441246 w 5730544"/>
              <a:gd name="connsiteY199" fmla="*/ 753626 h 1240971"/>
              <a:gd name="connsiteX200" fmla="*/ 5456318 w 5730544"/>
              <a:gd name="connsiteY200" fmla="*/ 708409 h 1240971"/>
              <a:gd name="connsiteX201" fmla="*/ 5466366 w 5730544"/>
              <a:gd name="connsiteY201" fmla="*/ 683288 h 1240971"/>
              <a:gd name="connsiteX202" fmla="*/ 5476415 w 5730544"/>
              <a:gd name="connsiteY202" fmla="*/ 643094 h 1240971"/>
              <a:gd name="connsiteX203" fmla="*/ 5491487 w 5730544"/>
              <a:gd name="connsiteY203" fmla="*/ 617973 h 1240971"/>
              <a:gd name="connsiteX204" fmla="*/ 5506560 w 5730544"/>
              <a:gd name="connsiteY204" fmla="*/ 572756 h 1240971"/>
              <a:gd name="connsiteX205" fmla="*/ 5526656 w 5730544"/>
              <a:gd name="connsiteY205" fmla="*/ 522514 h 1240971"/>
              <a:gd name="connsiteX206" fmla="*/ 5546753 w 5730544"/>
              <a:gd name="connsiteY206" fmla="*/ 467248 h 1240971"/>
              <a:gd name="connsiteX207" fmla="*/ 5556802 w 5730544"/>
              <a:gd name="connsiteY207" fmla="*/ 411982 h 1240971"/>
              <a:gd name="connsiteX208" fmla="*/ 5566850 w 5730544"/>
              <a:gd name="connsiteY208" fmla="*/ 381837 h 1240971"/>
              <a:gd name="connsiteX209" fmla="*/ 5576898 w 5730544"/>
              <a:gd name="connsiteY209" fmla="*/ 356716 h 1240971"/>
              <a:gd name="connsiteX210" fmla="*/ 5596995 w 5730544"/>
              <a:gd name="connsiteY210" fmla="*/ 316523 h 1240971"/>
              <a:gd name="connsiteX211" fmla="*/ 5617092 w 5730544"/>
              <a:gd name="connsiteY211" fmla="*/ 246184 h 1240971"/>
              <a:gd name="connsiteX212" fmla="*/ 5622116 w 5730544"/>
              <a:gd name="connsiteY212" fmla="*/ 226088 h 1240971"/>
              <a:gd name="connsiteX213" fmla="*/ 5632164 w 5730544"/>
              <a:gd name="connsiteY213" fmla="*/ 216039 h 1240971"/>
              <a:gd name="connsiteX214" fmla="*/ 5637188 w 5730544"/>
              <a:gd name="connsiteY214" fmla="*/ 200967 h 1240971"/>
              <a:gd name="connsiteX215" fmla="*/ 5642213 w 5730544"/>
              <a:gd name="connsiteY215" fmla="*/ 180870 h 1240971"/>
              <a:gd name="connsiteX216" fmla="*/ 5652261 w 5730544"/>
              <a:gd name="connsiteY216" fmla="*/ 165798 h 1240971"/>
              <a:gd name="connsiteX217" fmla="*/ 5693265 w 5730544"/>
              <a:gd name="connsiteY217" fmla="*/ 101268 h 1240971"/>
              <a:gd name="connsiteX218" fmla="*/ 5728722 w 5730544"/>
              <a:gd name="connsiteY218" fmla="*/ 42287 h 1240971"/>
              <a:gd name="connsiteX219" fmla="*/ 5634284 w 5730544"/>
              <a:gd name="connsiteY219" fmla="*/ 25357 h 1240971"/>
              <a:gd name="connsiteX220" fmla="*/ 5575040 w 5730544"/>
              <a:gd name="connsiteY220" fmla="*/ 39120 h 1240971"/>
              <a:gd name="connsiteX221" fmla="*/ 5470369 w 5730544"/>
              <a:gd name="connsiteY221" fmla="*/ 39381 h 1240971"/>
              <a:gd name="connsiteX222" fmla="*/ 5379124 w 5730544"/>
              <a:gd name="connsiteY222" fmla="*/ 39644 h 1240971"/>
              <a:gd name="connsiteX223" fmla="*/ 5309282 w 5730544"/>
              <a:gd name="connsiteY223" fmla="*/ 42287 h 1240971"/>
              <a:gd name="connsiteX224" fmla="*/ 5238682 w 5730544"/>
              <a:gd name="connsiteY224" fmla="*/ 54455 h 1240971"/>
              <a:gd name="connsiteX225" fmla="*/ 5075554 w 5730544"/>
              <a:gd name="connsiteY225" fmla="*/ 56574 h 1240971"/>
              <a:gd name="connsiteX226" fmla="*/ 4989070 w 5730544"/>
              <a:gd name="connsiteY226" fmla="*/ 65314 h 1240971"/>
              <a:gd name="connsiteX227" fmla="*/ 4943852 w 5730544"/>
              <a:gd name="connsiteY227" fmla="*/ 60290 h 1240971"/>
              <a:gd name="connsiteX228" fmla="*/ 4823272 w 5730544"/>
              <a:gd name="connsiteY228" fmla="*/ 50242 h 1240971"/>
              <a:gd name="connsiteX229" fmla="*/ 4677571 w 5730544"/>
              <a:gd name="connsiteY229" fmla="*/ 55266 h 1240971"/>
              <a:gd name="connsiteX230" fmla="*/ 4647426 w 5730544"/>
              <a:gd name="connsiteY230" fmla="*/ 60290 h 1240971"/>
              <a:gd name="connsiteX231" fmla="*/ 4565180 w 5730544"/>
              <a:gd name="connsiteY231" fmla="*/ 46264 h 1240971"/>
              <a:gd name="connsiteX232" fmla="*/ 4417596 w 5730544"/>
              <a:gd name="connsiteY232" fmla="*/ 44406 h 1240971"/>
              <a:gd name="connsiteX233" fmla="*/ 4139984 w 5730544"/>
              <a:gd name="connsiteY233" fmla="*/ 60290 h 1240971"/>
              <a:gd name="connsiteX234" fmla="*/ 3918920 w 5730544"/>
              <a:gd name="connsiteY234" fmla="*/ 50242 h 1240971"/>
              <a:gd name="connsiteX235" fmla="*/ 3873703 w 5730544"/>
              <a:gd name="connsiteY235" fmla="*/ 45217 h 1240971"/>
              <a:gd name="connsiteX236" fmla="*/ 3687808 w 5730544"/>
              <a:gd name="connsiteY236" fmla="*/ 40193 h 1240971"/>
              <a:gd name="connsiteX237" fmla="*/ 3662687 w 5730544"/>
              <a:gd name="connsiteY237" fmla="*/ 35169 h 1240971"/>
              <a:gd name="connsiteX238" fmla="*/ 3627518 w 5730544"/>
              <a:gd name="connsiteY238" fmla="*/ 25121 h 1240971"/>
              <a:gd name="connsiteX239" fmla="*/ 3547131 w 5730544"/>
              <a:gd name="connsiteY239" fmla="*/ 20097 h 1240971"/>
              <a:gd name="connsiteX240" fmla="*/ 3310995 w 5730544"/>
              <a:gd name="connsiteY240" fmla="*/ 25121 h 1240971"/>
              <a:gd name="connsiteX241" fmla="*/ 3265777 w 5730544"/>
              <a:gd name="connsiteY241" fmla="*/ 30145 h 1240971"/>
              <a:gd name="connsiteX242" fmla="*/ 3175342 w 5730544"/>
              <a:gd name="connsiteY242" fmla="*/ 35169 h 1240971"/>
              <a:gd name="connsiteX243" fmla="*/ 2582489 w 5730544"/>
              <a:gd name="connsiteY243" fmla="*/ 45217 h 1240971"/>
              <a:gd name="connsiteX244" fmla="*/ 2255918 w 5730544"/>
              <a:gd name="connsiteY244" fmla="*/ 40193 h 1240971"/>
              <a:gd name="connsiteX245" fmla="*/ 1974564 w 5730544"/>
              <a:gd name="connsiteY245" fmla="*/ 30145 h 1240971"/>
              <a:gd name="connsiteX246" fmla="*/ 1944419 w 5730544"/>
              <a:gd name="connsiteY246" fmla="*/ 25121 h 1240971"/>
              <a:gd name="connsiteX247" fmla="*/ 1848960 w 5730544"/>
              <a:gd name="connsiteY247" fmla="*/ 20097 h 1240971"/>
              <a:gd name="connsiteX248" fmla="*/ 1768573 w 5730544"/>
              <a:gd name="connsiteY248" fmla="*/ 10048 h 1240971"/>
              <a:gd name="connsiteX249" fmla="*/ 1502292 w 5730544"/>
              <a:gd name="connsiteY249" fmla="*/ 20097 h 1240971"/>
              <a:gd name="connsiteX250" fmla="*/ 1467122 w 5730544"/>
              <a:gd name="connsiteY250" fmla="*/ 25121 h 1240971"/>
              <a:gd name="connsiteX251" fmla="*/ 1426929 w 5730544"/>
              <a:gd name="connsiteY251" fmla="*/ 30145 h 1240971"/>
              <a:gd name="connsiteX252" fmla="*/ 1341518 w 5730544"/>
              <a:gd name="connsiteY252" fmla="*/ 45217 h 1240971"/>
              <a:gd name="connsiteX253" fmla="*/ 1095333 w 5730544"/>
              <a:gd name="connsiteY253" fmla="*/ 35169 h 1240971"/>
              <a:gd name="connsiteX254" fmla="*/ 979777 w 5730544"/>
              <a:gd name="connsiteY254" fmla="*/ 20097 h 1240971"/>
              <a:gd name="connsiteX255" fmla="*/ 939584 w 5730544"/>
              <a:gd name="connsiteY255" fmla="*/ 10048 h 1240971"/>
              <a:gd name="connsiteX256" fmla="*/ 813980 w 5730544"/>
              <a:gd name="connsiteY256" fmla="*/ 0 h 1240971"/>
              <a:gd name="connsiteX257" fmla="*/ 743641 w 5730544"/>
              <a:gd name="connsiteY257" fmla="*/ 5024 h 1240971"/>
              <a:gd name="connsiteX258" fmla="*/ 582867 w 5730544"/>
              <a:gd name="connsiteY258" fmla="*/ 15072 h 1240971"/>
              <a:gd name="connsiteX259" fmla="*/ 432142 w 5730544"/>
              <a:gd name="connsiteY259" fmla="*/ 5024 h 1240971"/>
              <a:gd name="connsiteX260" fmla="*/ 412046 w 5730544"/>
              <a:gd name="connsiteY260" fmla="*/ 0 h 1240971"/>
              <a:gd name="connsiteX261" fmla="*/ 281417 w 5730544"/>
              <a:gd name="connsiteY261" fmla="*/ 10048 h 1240971"/>
              <a:gd name="connsiteX262" fmla="*/ 261320 w 5730544"/>
              <a:gd name="connsiteY262" fmla="*/ 15072 h 1240971"/>
              <a:gd name="connsiteX263" fmla="*/ 100547 w 5730544"/>
              <a:gd name="connsiteY263" fmla="*/ 20097 h 1240971"/>
              <a:gd name="connsiteX264" fmla="*/ 5087 w 5730544"/>
              <a:gd name="connsiteY264" fmla="*/ 30145 h 1240971"/>
              <a:gd name="connsiteX0" fmla="*/ 5087 w 5730544"/>
              <a:gd name="connsiteY0" fmla="*/ 30145 h 1240971"/>
              <a:gd name="connsiteX1" fmla="*/ 15136 w 5730544"/>
              <a:gd name="connsiteY1" fmla="*/ 115556 h 1240971"/>
              <a:gd name="connsiteX2" fmla="*/ 20160 w 5730544"/>
              <a:gd name="connsiteY2" fmla="*/ 150725 h 1240971"/>
              <a:gd name="connsiteX3" fmla="*/ 25184 w 5730544"/>
              <a:gd name="connsiteY3" fmla="*/ 236136 h 1240971"/>
              <a:gd name="connsiteX4" fmla="*/ 35232 w 5730544"/>
              <a:gd name="connsiteY4" fmla="*/ 311499 h 1240971"/>
              <a:gd name="connsiteX5" fmla="*/ 40256 w 5730544"/>
              <a:gd name="connsiteY5" fmla="*/ 783771 h 1240971"/>
              <a:gd name="connsiteX6" fmla="*/ 45281 w 5730544"/>
              <a:gd name="connsiteY6" fmla="*/ 864158 h 1240971"/>
              <a:gd name="connsiteX7" fmla="*/ 35232 w 5730544"/>
              <a:gd name="connsiteY7" fmla="*/ 1034980 h 1240971"/>
              <a:gd name="connsiteX8" fmla="*/ 25184 w 5730544"/>
              <a:gd name="connsiteY8" fmla="*/ 1100294 h 1240971"/>
              <a:gd name="connsiteX9" fmla="*/ 20160 w 5730544"/>
              <a:gd name="connsiteY9" fmla="*/ 1150536 h 1240971"/>
              <a:gd name="connsiteX10" fmla="*/ 25184 w 5730544"/>
              <a:gd name="connsiteY10" fmla="*/ 1170633 h 1240971"/>
              <a:gd name="connsiteX11" fmla="*/ 35232 w 5730544"/>
              <a:gd name="connsiteY11" fmla="*/ 1160584 h 1240971"/>
              <a:gd name="connsiteX12" fmla="*/ 55329 w 5730544"/>
              <a:gd name="connsiteY12" fmla="*/ 1100294 h 1240971"/>
              <a:gd name="connsiteX13" fmla="*/ 60353 w 5730544"/>
              <a:gd name="connsiteY13" fmla="*/ 1085222 h 1240971"/>
              <a:gd name="connsiteX14" fmla="*/ 70402 w 5730544"/>
              <a:gd name="connsiteY14" fmla="*/ 1075173 h 1240971"/>
              <a:gd name="connsiteX15" fmla="*/ 95522 w 5730544"/>
              <a:gd name="connsiteY15" fmla="*/ 1045028 h 1240971"/>
              <a:gd name="connsiteX16" fmla="*/ 110595 w 5730544"/>
              <a:gd name="connsiteY16" fmla="*/ 1040004 h 1240971"/>
              <a:gd name="connsiteX17" fmla="*/ 135716 w 5730544"/>
              <a:gd name="connsiteY17" fmla="*/ 1019908 h 1240971"/>
              <a:gd name="connsiteX18" fmla="*/ 150788 w 5730544"/>
              <a:gd name="connsiteY18" fmla="*/ 1009859 h 1240971"/>
              <a:gd name="connsiteX19" fmla="*/ 175909 w 5730544"/>
              <a:gd name="connsiteY19" fmla="*/ 994787 h 1240971"/>
              <a:gd name="connsiteX20" fmla="*/ 216103 w 5730544"/>
              <a:gd name="connsiteY20" fmla="*/ 984738 h 1240971"/>
              <a:gd name="connsiteX21" fmla="*/ 286441 w 5730544"/>
              <a:gd name="connsiteY21" fmla="*/ 994787 h 1240971"/>
              <a:gd name="connsiteX22" fmla="*/ 301514 w 5730544"/>
              <a:gd name="connsiteY22" fmla="*/ 1004835 h 1240971"/>
              <a:gd name="connsiteX23" fmla="*/ 321610 w 5730544"/>
              <a:gd name="connsiteY23" fmla="*/ 1034980 h 1240971"/>
              <a:gd name="connsiteX24" fmla="*/ 356780 w 5730544"/>
              <a:gd name="connsiteY24" fmla="*/ 1065125 h 1240971"/>
              <a:gd name="connsiteX25" fmla="*/ 366828 w 5730544"/>
              <a:gd name="connsiteY25" fmla="*/ 1080198 h 1240971"/>
              <a:gd name="connsiteX26" fmla="*/ 381900 w 5730544"/>
              <a:gd name="connsiteY26" fmla="*/ 1085222 h 1240971"/>
              <a:gd name="connsiteX27" fmla="*/ 396973 w 5730544"/>
              <a:gd name="connsiteY27" fmla="*/ 1095270 h 1240971"/>
              <a:gd name="connsiteX28" fmla="*/ 407021 w 5730544"/>
              <a:gd name="connsiteY28" fmla="*/ 1105319 h 1240971"/>
              <a:gd name="connsiteX29" fmla="*/ 422094 w 5730544"/>
              <a:gd name="connsiteY29" fmla="*/ 1110343 h 1240971"/>
              <a:gd name="connsiteX30" fmla="*/ 437166 w 5730544"/>
              <a:gd name="connsiteY30" fmla="*/ 1120391 h 1240971"/>
              <a:gd name="connsiteX31" fmla="*/ 467311 w 5730544"/>
              <a:gd name="connsiteY31" fmla="*/ 1130439 h 1240971"/>
              <a:gd name="connsiteX32" fmla="*/ 522577 w 5730544"/>
              <a:gd name="connsiteY32" fmla="*/ 1115367 h 1240971"/>
              <a:gd name="connsiteX33" fmla="*/ 552722 w 5730544"/>
              <a:gd name="connsiteY33" fmla="*/ 1075173 h 1240971"/>
              <a:gd name="connsiteX34" fmla="*/ 567795 w 5730544"/>
              <a:gd name="connsiteY34" fmla="*/ 1070149 h 1240971"/>
              <a:gd name="connsiteX35" fmla="*/ 582867 w 5730544"/>
              <a:gd name="connsiteY35" fmla="*/ 1060101 h 1240971"/>
              <a:gd name="connsiteX36" fmla="*/ 638133 w 5730544"/>
              <a:gd name="connsiteY36" fmla="*/ 1045028 h 1240971"/>
              <a:gd name="connsiteX37" fmla="*/ 653206 w 5730544"/>
              <a:gd name="connsiteY37" fmla="*/ 1040004 h 1240971"/>
              <a:gd name="connsiteX38" fmla="*/ 693399 w 5730544"/>
              <a:gd name="connsiteY38" fmla="*/ 1045028 h 1240971"/>
              <a:gd name="connsiteX39" fmla="*/ 723544 w 5730544"/>
              <a:gd name="connsiteY39" fmla="*/ 1055077 h 1240971"/>
              <a:gd name="connsiteX40" fmla="*/ 733593 w 5730544"/>
              <a:gd name="connsiteY40" fmla="*/ 1065125 h 1240971"/>
              <a:gd name="connsiteX41" fmla="*/ 768762 w 5730544"/>
              <a:gd name="connsiteY41" fmla="*/ 1080198 h 1240971"/>
              <a:gd name="connsiteX42" fmla="*/ 803931 w 5730544"/>
              <a:gd name="connsiteY42" fmla="*/ 1105319 h 1240971"/>
              <a:gd name="connsiteX43" fmla="*/ 834076 w 5730544"/>
              <a:gd name="connsiteY43" fmla="*/ 1130439 h 1240971"/>
              <a:gd name="connsiteX44" fmla="*/ 869246 w 5730544"/>
              <a:gd name="connsiteY44" fmla="*/ 1140488 h 1240971"/>
              <a:gd name="connsiteX45" fmla="*/ 909439 w 5730544"/>
              <a:gd name="connsiteY45" fmla="*/ 1175657 h 1240971"/>
              <a:gd name="connsiteX46" fmla="*/ 939584 w 5730544"/>
              <a:gd name="connsiteY46" fmla="*/ 1185705 h 1240971"/>
              <a:gd name="connsiteX47" fmla="*/ 979777 w 5730544"/>
              <a:gd name="connsiteY47" fmla="*/ 1180681 h 1240971"/>
              <a:gd name="connsiteX48" fmla="*/ 989826 w 5730544"/>
              <a:gd name="connsiteY48" fmla="*/ 1170633 h 1240971"/>
              <a:gd name="connsiteX49" fmla="*/ 1004898 w 5730544"/>
              <a:gd name="connsiteY49" fmla="*/ 1150536 h 1240971"/>
              <a:gd name="connsiteX50" fmla="*/ 1014947 w 5730544"/>
              <a:gd name="connsiteY50" fmla="*/ 1120391 h 1240971"/>
              <a:gd name="connsiteX51" fmla="*/ 1040067 w 5730544"/>
              <a:gd name="connsiteY51" fmla="*/ 1095270 h 1240971"/>
              <a:gd name="connsiteX52" fmla="*/ 1050116 w 5730544"/>
              <a:gd name="connsiteY52" fmla="*/ 1085222 h 1240971"/>
              <a:gd name="connsiteX53" fmla="*/ 1075237 w 5730544"/>
              <a:gd name="connsiteY53" fmla="*/ 1065125 h 1240971"/>
              <a:gd name="connsiteX54" fmla="*/ 1090309 w 5730544"/>
              <a:gd name="connsiteY54" fmla="*/ 1050053 h 1240971"/>
              <a:gd name="connsiteX55" fmla="*/ 1120454 w 5730544"/>
              <a:gd name="connsiteY55" fmla="*/ 1040004 h 1240971"/>
              <a:gd name="connsiteX56" fmla="*/ 1135527 w 5730544"/>
              <a:gd name="connsiteY56" fmla="*/ 1034980 h 1240971"/>
              <a:gd name="connsiteX57" fmla="*/ 1160648 w 5730544"/>
              <a:gd name="connsiteY57" fmla="*/ 1019908 h 1240971"/>
              <a:gd name="connsiteX58" fmla="*/ 1175720 w 5730544"/>
              <a:gd name="connsiteY58" fmla="*/ 1014883 h 1240971"/>
              <a:gd name="connsiteX59" fmla="*/ 1195817 w 5730544"/>
              <a:gd name="connsiteY59" fmla="*/ 1004835 h 1240971"/>
              <a:gd name="connsiteX60" fmla="*/ 1281228 w 5730544"/>
              <a:gd name="connsiteY60" fmla="*/ 1014883 h 1240971"/>
              <a:gd name="connsiteX61" fmla="*/ 1296300 w 5730544"/>
              <a:gd name="connsiteY61" fmla="*/ 1024932 h 1240971"/>
              <a:gd name="connsiteX62" fmla="*/ 1311373 w 5730544"/>
              <a:gd name="connsiteY62" fmla="*/ 1029956 h 1240971"/>
              <a:gd name="connsiteX63" fmla="*/ 1326446 w 5730544"/>
              <a:gd name="connsiteY63" fmla="*/ 1060101 h 1240971"/>
              <a:gd name="connsiteX64" fmla="*/ 1341518 w 5730544"/>
              <a:gd name="connsiteY64" fmla="*/ 1065125 h 1240971"/>
              <a:gd name="connsiteX65" fmla="*/ 1356591 w 5730544"/>
              <a:gd name="connsiteY65" fmla="*/ 1075173 h 1240971"/>
              <a:gd name="connsiteX66" fmla="*/ 1396784 w 5730544"/>
              <a:gd name="connsiteY66" fmla="*/ 1090246 h 1240971"/>
              <a:gd name="connsiteX67" fmla="*/ 1447026 w 5730544"/>
              <a:gd name="connsiteY67" fmla="*/ 1105319 h 1240971"/>
              <a:gd name="connsiteX68" fmla="*/ 1462098 w 5730544"/>
              <a:gd name="connsiteY68" fmla="*/ 1110343 h 1240971"/>
              <a:gd name="connsiteX69" fmla="*/ 1497267 w 5730544"/>
              <a:gd name="connsiteY69" fmla="*/ 1120391 h 1240971"/>
              <a:gd name="connsiteX70" fmla="*/ 1552533 w 5730544"/>
              <a:gd name="connsiteY70" fmla="*/ 1115367 h 1240971"/>
              <a:gd name="connsiteX71" fmla="*/ 1567606 w 5730544"/>
              <a:gd name="connsiteY71" fmla="*/ 1110343 h 1240971"/>
              <a:gd name="connsiteX72" fmla="*/ 1587703 w 5730544"/>
              <a:gd name="connsiteY72" fmla="*/ 1090246 h 1240971"/>
              <a:gd name="connsiteX73" fmla="*/ 1637944 w 5730544"/>
              <a:gd name="connsiteY73" fmla="*/ 1050053 h 1240971"/>
              <a:gd name="connsiteX74" fmla="*/ 1653017 w 5730544"/>
              <a:gd name="connsiteY74" fmla="*/ 1029956 h 1240971"/>
              <a:gd name="connsiteX75" fmla="*/ 1688186 w 5730544"/>
              <a:gd name="connsiteY75" fmla="*/ 1019908 h 1240971"/>
              <a:gd name="connsiteX76" fmla="*/ 1788670 w 5730544"/>
              <a:gd name="connsiteY76" fmla="*/ 1029956 h 1240971"/>
              <a:gd name="connsiteX77" fmla="*/ 1818815 w 5730544"/>
              <a:gd name="connsiteY77" fmla="*/ 1040004 h 1240971"/>
              <a:gd name="connsiteX78" fmla="*/ 1853984 w 5730544"/>
              <a:gd name="connsiteY78" fmla="*/ 1050053 h 1240971"/>
              <a:gd name="connsiteX79" fmla="*/ 1869056 w 5730544"/>
              <a:gd name="connsiteY79" fmla="*/ 1060101 h 1240971"/>
              <a:gd name="connsiteX80" fmla="*/ 1894177 w 5730544"/>
              <a:gd name="connsiteY80" fmla="*/ 1065125 h 1240971"/>
              <a:gd name="connsiteX81" fmla="*/ 1949443 w 5730544"/>
              <a:gd name="connsiteY81" fmla="*/ 1085222 h 1240971"/>
              <a:gd name="connsiteX82" fmla="*/ 1969540 w 5730544"/>
              <a:gd name="connsiteY82" fmla="*/ 1090246 h 1240971"/>
              <a:gd name="connsiteX83" fmla="*/ 2014758 w 5730544"/>
              <a:gd name="connsiteY83" fmla="*/ 1110343 h 1240971"/>
              <a:gd name="connsiteX84" fmla="*/ 2039878 w 5730544"/>
              <a:gd name="connsiteY84" fmla="*/ 1125415 h 1240971"/>
              <a:gd name="connsiteX85" fmla="*/ 2120265 w 5730544"/>
              <a:gd name="connsiteY85" fmla="*/ 1120391 h 1240971"/>
              <a:gd name="connsiteX86" fmla="*/ 2130314 w 5730544"/>
              <a:gd name="connsiteY86" fmla="*/ 1110343 h 1240971"/>
              <a:gd name="connsiteX87" fmla="*/ 2155435 w 5730544"/>
              <a:gd name="connsiteY87" fmla="*/ 1100294 h 1240971"/>
              <a:gd name="connsiteX88" fmla="*/ 2190604 w 5730544"/>
              <a:gd name="connsiteY88" fmla="*/ 1070149 h 1240971"/>
              <a:gd name="connsiteX89" fmla="*/ 2230797 w 5730544"/>
              <a:gd name="connsiteY89" fmla="*/ 1040004 h 1240971"/>
              <a:gd name="connsiteX90" fmla="*/ 2245870 w 5730544"/>
              <a:gd name="connsiteY90" fmla="*/ 1034980 h 1240971"/>
              <a:gd name="connsiteX91" fmla="*/ 2270991 w 5730544"/>
              <a:gd name="connsiteY91" fmla="*/ 1019908 h 1240971"/>
              <a:gd name="connsiteX92" fmla="*/ 2301136 w 5730544"/>
              <a:gd name="connsiteY92" fmla="*/ 994787 h 1240971"/>
              <a:gd name="connsiteX93" fmla="*/ 2316208 w 5730544"/>
              <a:gd name="connsiteY93" fmla="*/ 989763 h 1240971"/>
              <a:gd name="connsiteX94" fmla="*/ 2396595 w 5730544"/>
              <a:gd name="connsiteY94" fmla="*/ 984738 h 1240971"/>
              <a:gd name="connsiteX95" fmla="*/ 2426740 w 5730544"/>
              <a:gd name="connsiteY95" fmla="*/ 989763 h 1240971"/>
              <a:gd name="connsiteX96" fmla="*/ 2461909 w 5730544"/>
              <a:gd name="connsiteY96" fmla="*/ 1024932 h 1240971"/>
              <a:gd name="connsiteX97" fmla="*/ 2476982 w 5730544"/>
              <a:gd name="connsiteY97" fmla="*/ 1029956 h 1240971"/>
              <a:gd name="connsiteX98" fmla="*/ 2487030 w 5730544"/>
              <a:gd name="connsiteY98" fmla="*/ 1045028 h 1240971"/>
              <a:gd name="connsiteX99" fmla="*/ 2497078 w 5730544"/>
              <a:gd name="connsiteY99" fmla="*/ 1055077 h 1240971"/>
              <a:gd name="connsiteX100" fmla="*/ 2532248 w 5730544"/>
              <a:gd name="connsiteY100" fmla="*/ 1095270 h 1240971"/>
              <a:gd name="connsiteX101" fmla="*/ 2567417 w 5730544"/>
              <a:gd name="connsiteY101" fmla="*/ 1135464 h 1240971"/>
              <a:gd name="connsiteX102" fmla="*/ 2582489 w 5730544"/>
              <a:gd name="connsiteY102" fmla="*/ 1145512 h 1240971"/>
              <a:gd name="connsiteX103" fmla="*/ 2622683 w 5730544"/>
              <a:gd name="connsiteY103" fmla="*/ 1170633 h 1240971"/>
              <a:gd name="connsiteX104" fmla="*/ 2657852 w 5730544"/>
              <a:gd name="connsiteY104" fmla="*/ 1160584 h 1240971"/>
              <a:gd name="connsiteX105" fmla="*/ 2682973 w 5730544"/>
              <a:gd name="connsiteY105" fmla="*/ 1145512 h 1240971"/>
              <a:gd name="connsiteX106" fmla="*/ 2713118 w 5730544"/>
              <a:gd name="connsiteY106" fmla="*/ 1130439 h 1240971"/>
              <a:gd name="connsiteX107" fmla="*/ 2728191 w 5730544"/>
              <a:gd name="connsiteY107" fmla="*/ 1120391 h 1240971"/>
              <a:gd name="connsiteX108" fmla="*/ 2748287 w 5730544"/>
              <a:gd name="connsiteY108" fmla="*/ 1115367 h 1240971"/>
              <a:gd name="connsiteX109" fmla="*/ 2778432 w 5730544"/>
              <a:gd name="connsiteY109" fmla="*/ 1105319 h 1240971"/>
              <a:gd name="connsiteX110" fmla="*/ 2868867 w 5730544"/>
              <a:gd name="connsiteY110" fmla="*/ 1075173 h 1240971"/>
              <a:gd name="connsiteX111" fmla="*/ 2893988 w 5730544"/>
              <a:gd name="connsiteY111" fmla="*/ 1070149 h 1240971"/>
              <a:gd name="connsiteX112" fmla="*/ 2919109 w 5730544"/>
              <a:gd name="connsiteY112" fmla="*/ 1075173 h 1240971"/>
              <a:gd name="connsiteX113" fmla="*/ 2934182 w 5730544"/>
              <a:gd name="connsiteY113" fmla="*/ 1080198 h 1240971"/>
              <a:gd name="connsiteX114" fmla="*/ 2944230 w 5730544"/>
              <a:gd name="connsiteY114" fmla="*/ 1110343 h 1240971"/>
              <a:gd name="connsiteX115" fmla="*/ 2959303 w 5730544"/>
              <a:gd name="connsiteY115" fmla="*/ 1125415 h 1240971"/>
              <a:gd name="connsiteX116" fmla="*/ 2979399 w 5730544"/>
              <a:gd name="connsiteY116" fmla="*/ 1155560 h 1240971"/>
              <a:gd name="connsiteX117" fmla="*/ 2994472 w 5730544"/>
              <a:gd name="connsiteY117" fmla="*/ 1160584 h 1240971"/>
              <a:gd name="connsiteX118" fmla="*/ 3014569 w 5730544"/>
              <a:gd name="connsiteY118" fmla="*/ 1180681 h 1240971"/>
              <a:gd name="connsiteX119" fmla="*/ 3024617 w 5730544"/>
              <a:gd name="connsiteY119" fmla="*/ 1190730 h 1240971"/>
              <a:gd name="connsiteX120" fmla="*/ 3069835 w 5730544"/>
              <a:gd name="connsiteY120" fmla="*/ 1215850 h 1240971"/>
              <a:gd name="connsiteX121" fmla="*/ 3079883 w 5730544"/>
              <a:gd name="connsiteY121" fmla="*/ 1225899 h 1240971"/>
              <a:gd name="connsiteX122" fmla="*/ 3099980 w 5730544"/>
              <a:gd name="connsiteY122" fmla="*/ 1230923 h 1240971"/>
              <a:gd name="connsiteX123" fmla="*/ 3130125 w 5730544"/>
              <a:gd name="connsiteY123" fmla="*/ 1240971 h 1240971"/>
              <a:gd name="connsiteX124" fmla="*/ 3180366 w 5730544"/>
              <a:gd name="connsiteY124" fmla="*/ 1235947 h 1240971"/>
              <a:gd name="connsiteX125" fmla="*/ 3195439 w 5730544"/>
              <a:gd name="connsiteY125" fmla="*/ 1225899 h 1240971"/>
              <a:gd name="connsiteX126" fmla="*/ 3220560 w 5730544"/>
              <a:gd name="connsiteY126" fmla="*/ 1215850 h 1240971"/>
              <a:gd name="connsiteX127" fmla="*/ 3255729 w 5730544"/>
              <a:gd name="connsiteY127" fmla="*/ 1185705 h 1240971"/>
              <a:gd name="connsiteX128" fmla="*/ 3295922 w 5730544"/>
              <a:gd name="connsiteY128" fmla="*/ 1160584 h 1240971"/>
              <a:gd name="connsiteX129" fmla="*/ 3310995 w 5730544"/>
              <a:gd name="connsiteY129" fmla="*/ 1145512 h 1240971"/>
              <a:gd name="connsiteX130" fmla="*/ 3351188 w 5730544"/>
              <a:gd name="connsiteY130" fmla="*/ 1140488 h 1240971"/>
              <a:gd name="connsiteX131" fmla="*/ 3406454 w 5730544"/>
              <a:gd name="connsiteY131" fmla="*/ 1155560 h 1240971"/>
              <a:gd name="connsiteX132" fmla="*/ 3426551 w 5730544"/>
              <a:gd name="connsiteY132" fmla="*/ 1165609 h 1240971"/>
              <a:gd name="connsiteX133" fmla="*/ 3441624 w 5730544"/>
              <a:gd name="connsiteY133" fmla="*/ 1175657 h 1240971"/>
              <a:gd name="connsiteX134" fmla="*/ 3456696 w 5730544"/>
              <a:gd name="connsiteY134" fmla="*/ 1180681 h 1240971"/>
              <a:gd name="connsiteX135" fmla="*/ 3466744 w 5730544"/>
              <a:gd name="connsiteY135" fmla="*/ 1195754 h 1240971"/>
              <a:gd name="connsiteX136" fmla="*/ 3527035 w 5730544"/>
              <a:gd name="connsiteY136" fmla="*/ 1200778 h 1240971"/>
              <a:gd name="connsiteX137" fmla="*/ 3542107 w 5730544"/>
              <a:gd name="connsiteY137" fmla="*/ 1190730 h 1240971"/>
              <a:gd name="connsiteX138" fmla="*/ 3567228 w 5730544"/>
              <a:gd name="connsiteY138" fmla="*/ 1180681 h 1240971"/>
              <a:gd name="connsiteX139" fmla="*/ 3587325 w 5730544"/>
              <a:gd name="connsiteY139" fmla="*/ 1150536 h 1240971"/>
              <a:gd name="connsiteX140" fmla="*/ 3617470 w 5730544"/>
              <a:gd name="connsiteY140" fmla="*/ 1125415 h 1240971"/>
              <a:gd name="connsiteX141" fmla="*/ 3632542 w 5730544"/>
              <a:gd name="connsiteY141" fmla="*/ 1105319 h 1240971"/>
              <a:gd name="connsiteX142" fmla="*/ 3662687 w 5730544"/>
              <a:gd name="connsiteY142" fmla="*/ 1085222 h 1240971"/>
              <a:gd name="connsiteX143" fmla="*/ 3697856 w 5730544"/>
              <a:gd name="connsiteY143" fmla="*/ 1070149 h 1240971"/>
              <a:gd name="connsiteX144" fmla="*/ 3707905 w 5730544"/>
              <a:gd name="connsiteY144" fmla="*/ 1060101 h 1240971"/>
              <a:gd name="connsiteX145" fmla="*/ 3743074 w 5730544"/>
              <a:gd name="connsiteY145" fmla="*/ 1040004 h 1240971"/>
              <a:gd name="connsiteX146" fmla="*/ 3813413 w 5730544"/>
              <a:gd name="connsiteY146" fmla="*/ 1024932 h 1240971"/>
              <a:gd name="connsiteX147" fmla="*/ 3833509 w 5730544"/>
              <a:gd name="connsiteY147" fmla="*/ 1014883 h 1240971"/>
              <a:gd name="connsiteX148" fmla="*/ 3858630 w 5730544"/>
              <a:gd name="connsiteY148" fmla="*/ 1009859 h 1240971"/>
              <a:gd name="connsiteX149" fmla="*/ 3873703 w 5730544"/>
              <a:gd name="connsiteY149" fmla="*/ 1004835 h 1240971"/>
              <a:gd name="connsiteX150" fmla="*/ 3923944 w 5730544"/>
              <a:gd name="connsiteY150" fmla="*/ 1014883 h 1240971"/>
              <a:gd name="connsiteX151" fmla="*/ 3933993 w 5730544"/>
              <a:gd name="connsiteY151" fmla="*/ 1029956 h 1240971"/>
              <a:gd name="connsiteX152" fmla="*/ 3964138 w 5730544"/>
              <a:gd name="connsiteY152" fmla="*/ 1075173 h 1240971"/>
              <a:gd name="connsiteX153" fmla="*/ 3969162 w 5730544"/>
              <a:gd name="connsiteY153" fmla="*/ 1100294 h 1240971"/>
              <a:gd name="connsiteX154" fmla="*/ 3979210 w 5730544"/>
              <a:gd name="connsiteY154" fmla="*/ 1110343 h 1240971"/>
              <a:gd name="connsiteX155" fmla="*/ 3984235 w 5730544"/>
              <a:gd name="connsiteY155" fmla="*/ 1130439 h 1240971"/>
              <a:gd name="connsiteX156" fmla="*/ 4019404 w 5730544"/>
              <a:gd name="connsiteY156" fmla="*/ 1165609 h 1240971"/>
              <a:gd name="connsiteX157" fmla="*/ 4064621 w 5730544"/>
              <a:gd name="connsiteY157" fmla="*/ 1150536 h 1240971"/>
              <a:gd name="connsiteX158" fmla="*/ 4079694 w 5730544"/>
              <a:gd name="connsiteY158" fmla="*/ 1125415 h 1240971"/>
              <a:gd name="connsiteX159" fmla="*/ 4099791 w 5730544"/>
              <a:gd name="connsiteY159" fmla="*/ 1105319 h 1240971"/>
              <a:gd name="connsiteX160" fmla="*/ 4129936 w 5730544"/>
              <a:gd name="connsiteY160" fmla="*/ 1075173 h 1240971"/>
              <a:gd name="connsiteX161" fmla="*/ 4150032 w 5730544"/>
              <a:gd name="connsiteY161" fmla="*/ 1040004 h 1240971"/>
              <a:gd name="connsiteX162" fmla="*/ 4160081 w 5730544"/>
              <a:gd name="connsiteY162" fmla="*/ 1019908 h 1240971"/>
              <a:gd name="connsiteX163" fmla="*/ 4165105 w 5730544"/>
              <a:gd name="connsiteY163" fmla="*/ 1004835 h 1240971"/>
              <a:gd name="connsiteX164" fmla="*/ 4185202 w 5730544"/>
              <a:gd name="connsiteY164" fmla="*/ 984738 h 1240971"/>
              <a:gd name="connsiteX165" fmla="*/ 4200274 w 5730544"/>
              <a:gd name="connsiteY165" fmla="*/ 979714 h 1240971"/>
              <a:gd name="connsiteX166" fmla="*/ 4235443 w 5730544"/>
              <a:gd name="connsiteY166" fmla="*/ 954593 h 1240971"/>
              <a:gd name="connsiteX167" fmla="*/ 4275637 w 5730544"/>
              <a:gd name="connsiteY167" fmla="*/ 934497 h 1240971"/>
              <a:gd name="connsiteX168" fmla="*/ 4310806 w 5730544"/>
              <a:gd name="connsiteY168" fmla="*/ 914400 h 1240971"/>
              <a:gd name="connsiteX169" fmla="*/ 4325878 w 5730544"/>
              <a:gd name="connsiteY169" fmla="*/ 904352 h 1240971"/>
              <a:gd name="connsiteX170" fmla="*/ 4381144 w 5730544"/>
              <a:gd name="connsiteY170" fmla="*/ 904352 h 1240971"/>
              <a:gd name="connsiteX171" fmla="*/ 4401241 w 5730544"/>
              <a:gd name="connsiteY171" fmla="*/ 914400 h 1240971"/>
              <a:gd name="connsiteX172" fmla="*/ 4416314 w 5730544"/>
              <a:gd name="connsiteY172" fmla="*/ 919424 h 1240971"/>
              <a:gd name="connsiteX173" fmla="*/ 4431386 w 5730544"/>
              <a:gd name="connsiteY173" fmla="*/ 929472 h 1240971"/>
              <a:gd name="connsiteX174" fmla="*/ 4456507 w 5730544"/>
              <a:gd name="connsiteY174" fmla="*/ 974690 h 1240971"/>
              <a:gd name="connsiteX175" fmla="*/ 4476604 w 5730544"/>
              <a:gd name="connsiteY175" fmla="*/ 999811 h 1240971"/>
              <a:gd name="connsiteX176" fmla="*/ 4567039 w 5730544"/>
              <a:gd name="connsiteY176" fmla="*/ 994787 h 1240971"/>
              <a:gd name="connsiteX177" fmla="*/ 4597184 w 5730544"/>
              <a:gd name="connsiteY177" fmla="*/ 969666 h 1240971"/>
              <a:gd name="connsiteX178" fmla="*/ 4617281 w 5730544"/>
              <a:gd name="connsiteY178" fmla="*/ 959617 h 1240971"/>
              <a:gd name="connsiteX179" fmla="*/ 4632353 w 5730544"/>
              <a:gd name="connsiteY179" fmla="*/ 944545 h 1240971"/>
              <a:gd name="connsiteX180" fmla="*/ 4652450 w 5730544"/>
              <a:gd name="connsiteY180" fmla="*/ 934497 h 1240971"/>
              <a:gd name="connsiteX181" fmla="*/ 4672547 w 5730544"/>
              <a:gd name="connsiteY181" fmla="*/ 919424 h 1240971"/>
              <a:gd name="connsiteX182" fmla="*/ 4737861 w 5730544"/>
              <a:gd name="connsiteY182" fmla="*/ 884255 h 1240971"/>
              <a:gd name="connsiteX183" fmla="*/ 4762982 w 5730544"/>
              <a:gd name="connsiteY183" fmla="*/ 879231 h 1240971"/>
              <a:gd name="connsiteX184" fmla="*/ 4778054 w 5730544"/>
              <a:gd name="connsiteY184" fmla="*/ 874206 h 1240971"/>
              <a:gd name="connsiteX185" fmla="*/ 4819294 w 5730544"/>
              <a:gd name="connsiteY185" fmla="*/ 873944 h 1240971"/>
              <a:gd name="connsiteX186" fmla="*/ 4877465 w 5730544"/>
              <a:gd name="connsiteY186" fmla="*/ 895638 h 1240971"/>
              <a:gd name="connsiteX187" fmla="*/ 4935347 w 5730544"/>
              <a:gd name="connsiteY187" fmla="*/ 934523 h 1240971"/>
              <a:gd name="connsiteX188" fmla="*/ 4995402 w 5730544"/>
              <a:gd name="connsiteY188" fmla="*/ 1006746 h 1240971"/>
              <a:gd name="connsiteX189" fmla="*/ 5024762 w 5730544"/>
              <a:gd name="connsiteY189" fmla="*/ 1051963 h 1240971"/>
              <a:gd name="connsiteX190" fmla="*/ 5092223 w 5730544"/>
              <a:gd name="connsiteY190" fmla="*/ 1016506 h 1240971"/>
              <a:gd name="connsiteX191" fmla="*/ 5144322 w 5730544"/>
              <a:gd name="connsiteY191" fmla="*/ 948261 h 1240971"/>
              <a:gd name="connsiteX192" fmla="*/ 5189252 w 5730544"/>
              <a:gd name="connsiteY192" fmla="*/ 886112 h 1240971"/>
              <a:gd name="connsiteX193" fmla="*/ 5226279 w 5730544"/>
              <a:gd name="connsiteY193" fmla="*/ 856230 h 1240971"/>
              <a:gd name="connsiteX194" fmla="*/ 5260637 w 5730544"/>
              <a:gd name="connsiteY194" fmla="*/ 822918 h 1240971"/>
              <a:gd name="connsiteX195" fmla="*/ 5295282 w 5730544"/>
              <a:gd name="connsiteY195" fmla="*/ 800440 h 1240971"/>
              <a:gd name="connsiteX196" fmla="*/ 5334430 w 5730544"/>
              <a:gd name="connsiteY196" fmla="*/ 794893 h 1240971"/>
              <a:gd name="connsiteX197" fmla="*/ 5412174 w 5730544"/>
              <a:gd name="connsiteY197" fmla="*/ 824252 h 1240971"/>
              <a:gd name="connsiteX198" fmla="*/ 5431197 w 5730544"/>
              <a:gd name="connsiteY198" fmla="*/ 768699 h 1240971"/>
              <a:gd name="connsiteX199" fmla="*/ 5441246 w 5730544"/>
              <a:gd name="connsiteY199" fmla="*/ 753626 h 1240971"/>
              <a:gd name="connsiteX200" fmla="*/ 5456318 w 5730544"/>
              <a:gd name="connsiteY200" fmla="*/ 708409 h 1240971"/>
              <a:gd name="connsiteX201" fmla="*/ 5466366 w 5730544"/>
              <a:gd name="connsiteY201" fmla="*/ 683288 h 1240971"/>
              <a:gd name="connsiteX202" fmla="*/ 5476415 w 5730544"/>
              <a:gd name="connsiteY202" fmla="*/ 643094 h 1240971"/>
              <a:gd name="connsiteX203" fmla="*/ 5491487 w 5730544"/>
              <a:gd name="connsiteY203" fmla="*/ 617973 h 1240971"/>
              <a:gd name="connsiteX204" fmla="*/ 5506560 w 5730544"/>
              <a:gd name="connsiteY204" fmla="*/ 572756 h 1240971"/>
              <a:gd name="connsiteX205" fmla="*/ 5526656 w 5730544"/>
              <a:gd name="connsiteY205" fmla="*/ 522514 h 1240971"/>
              <a:gd name="connsiteX206" fmla="*/ 5546753 w 5730544"/>
              <a:gd name="connsiteY206" fmla="*/ 467248 h 1240971"/>
              <a:gd name="connsiteX207" fmla="*/ 5556802 w 5730544"/>
              <a:gd name="connsiteY207" fmla="*/ 411982 h 1240971"/>
              <a:gd name="connsiteX208" fmla="*/ 5566850 w 5730544"/>
              <a:gd name="connsiteY208" fmla="*/ 381837 h 1240971"/>
              <a:gd name="connsiteX209" fmla="*/ 5576898 w 5730544"/>
              <a:gd name="connsiteY209" fmla="*/ 356716 h 1240971"/>
              <a:gd name="connsiteX210" fmla="*/ 5596995 w 5730544"/>
              <a:gd name="connsiteY210" fmla="*/ 316523 h 1240971"/>
              <a:gd name="connsiteX211" fmla="*/ 5617092 w 5730544"/>
              <a:gd name="connsiteY211" fmla="*/ 246184 h 1240971"/>
              <a:gd name="connsiteX212" fmla="*/ 5622116 w 5730544"/>
              <a:gd name="connsiteY212" fmla="*/ 226088 h 1240971"/>
              <a:gd name="connsiteX213" fmla="*/ 5632164 w 5730544"/>
              <a:gd name="connsiteY213" fmla="*/ 216039 h 1240971"/>
              <a:gd name="connsiteX214" fmla="*/ 5637188 w 5730544"/>
              <a:gd name="connsiteY214" fmla="*/ 200967 h 1240971"/>
              <a:gd name="connsiteX215" fmla="*/ 5642213 w 5730544"/>
              <a:gd name="connsiteY215" fmla="*/ 180870 h 1240971"/>
              <a:gd name="connsiteX216" fmla="*/ 5652261 w 5730544"/>
              <a:gd name="connsiteY216" fmla="*/ 165798 h 1240971"/>
              <a:gd name="connsiteX217" fmla="*/ 5693265 w 5730544"/>
              <a:gd name="connsiteY217" fmla="*/ 101268 h 1240971"/>
              <a:gd name="connsiteX218" fmla="*/ 5728722 w 5730544"/>
              <a:gd name="connsiteY218" fmla="*/ 42287 h 1240971"/>
              <a:gd name="connsiteX219" fmla="*/ 5634284 w 5730544"/>
              <a:gd name="connsiteY219" fmla="*/ 25357 h 1240971"/>
              <a:gd name="connsiteX220" fmla="*/ 5575040 w 5730544"/>
              <a:gd name="connsiteY220" fmla="*/ 39120 h 1240971"/>
              <a:gd name="connsiteX221" fmla="*/ 5470369 w 5730544"/>
              <a:gd name="connsiteY221" fmla="*/ 39381 h 1240971"/>
              <a:gd name="connsiteX222" fmla="*/ 5379124 w 5730544"/>
              <a:gd name="connsiteY222" fmla="*/ 39644 h 1240971"/>
              <a:gd name="connsiteX223" fmla="*/ 5309282 w 5730544"/>
              <a:gd name="connsiteY223" fmla="*/ 42287 h 1240971"/>
              <a:gd name="connsiteX224" fmla="*/ 5238682 w 5730544"/>
              <a:gd name="connsiteY224" fmla="*/ 54455 h 1240971"/>
              <a:gd name="connsiteX225" fmla="*/ 5075554 w 5730544"/>
              <a:gd name="connsiteY225" fmla="*/ 56574 h 1240971"/>
              <a:gd name="connsiteX226" fmla="*/ 4989070 w 5730544"/>
              <a:gd name="connsiteY226" fmla="*/ 65314 h 1240971"/>
              <a:gd name="connsiteX227" fmla="*/ 4943852 w 5730544"/>
              <a:gd name="connsiteY227" fmla="*/ 60290 h 1240971"/>
              <a:gd name="connsiteX228" fmla="*/ 4823272 w 5730544"/>
              <a:gd name="connsiteY228" fmla="*/ 50242 h 1240971"/>
              <a:gd name="connsiteX229" fmla="*/ 4727577 w 5730544"/>
              <a:gd name="connsiteY229" fmla="*/ 29073 h 1240971"/>
              <a:gd name="connsiteX230" fmla="*/ 4647426 w 5730544"/>
              <a:gd name="connsiteY230" fmla="*/ 60290 h 1240971"/>
              <a:gd name="connsiteX231" fmla="*/ 4565180 w 5730544"/>
              <a:gd name="connsiteY231" fmla="*/ 46264 h 1240971"/>
              <a:gd name="connsiteX232" fmla="*/ 4417596 w 5730544"/>
              <a:gd name="connsiteY232" fmla="*/ 44406 h 1240971"/>
              <a:gd name="connsiteX233" fmla="*/ 4139984 w 5730544"/>
              <a:gd name="connsiteY233" fmla="*/ 60290 h 1240971"/>
              <a:gd name="connsiteX234" fmla="*/ 3918920 w 5730544"/>
              <a:gd name="connsiteY234" fmla="*/ 50242 h 1240971"/>
              <a:gd name="connsiteX235" fmla="*/ 3873703 w 5730544"/>
              <a:gd name="connsiteY235" fmla="*/ 45217 h 1240971"/>
              <a:gd name="connsiteX236" fmla="*/ 3687808 w 5730544"/>
              <a:gd name="connsiteY236" fmla="*/ 40193 h 1240971"/>
              <a:gd name="connsiteX237" fmla="*/ 3662687 w 5730544"/>
              <a:gd name="connsiteY237" fmla="*/ 35169 h 1240971"/>
              <a:gd name="connsiteX238" fmla="*/ 3627518 w 5730544"/>
              <a:gd name="connsiteY238" fmla="*/ 25121 h 1240971"/>
              <a:gd name="connsiteX239" fmla="*/ 3547131 w 5730544"/>
              <a:gd name="connsiteY239" fmla="*/ 20097 h 1240971"/>
              <a:gd name="connsiteX240" fmla="*/ 3310995 w 5730544"/>
              <a:gd name="connsiteY240" fmla="*/ 25121 h 1240971"/>
              <a:gd name="connsiteX241" fmla="*/ 3265777 w 5730544"/>
              <a:gd name="connsiteY241" fmla="*/ 30145 h 1240971"/>
              <a:gd name="connsiteX242" fmla="*/ 3175342 w 5730544"/>
              <a:gd name="connsiteY242" fmla="*/ 35169 h 1240971"/>
              <a:gd name="connsiteX243" fmla="*/ 2582489 w 5730544"/>
              <a:gd name="connsiteY243" fmla="*/ 45217 h 1240971"/>
              <a:gd name="connsiteX244" fmla="*/ 2255918 w 5730544"/>
              <a:gd name="connsiteY244" fmla="*/ 40193 h 1240971"/>
              <a:gd name="connsiteX245" fmla="*/ 1974564 w 5730544"/>
              <a:gd name="connsiteY245" fmla="*/ 30145 h 1240971"/>
              <a:gd name="connsiteX246" fmla="*/ 1944419 w 5730544"/>
              <a:gd name="connsiteY246" fmla="*/ 25121 h 1240971"/>
              <a:gd name="connsiteX247" fmla="*/ 1848960 w 5730544"/>
              <a:gd name="connsiteY247" fmla="*/ 20097 h 1240971"/>
              <a:gd name="connsiteX248" fmla="*/ 1768573 w 5730544"/>
              <a:gd name="connsiteY248" fmla="*/ 10048 h 1240971"/>
              <a:gd name="connsiteX249" fmla="*/ 1502292 w 5730544"/>
              <a:gd name="connsiteY249" fmla="*/ 20097 h 1240971"/>
              <a:gd name="connsiteX250" fmla="*/ 1467122 w 5730544"/>
              <a:gd name="connsiteY250" fmla="*/ 25121 h 1240971"/>
              <a:gd name="connsiteX251" fmla="*/ 1426929 w 5730544"/>
              <a:gd name="connsiteY251" fmla="*/ 30145 h 1240971"/>
              <a:gd name="connsiteX252" fmla="*/ 1341518 w 5730544"/>
              <a:gd name="connsiteY252" fmla="*/ 45217 h 1240971"/>
              <a:gd name="connsiteX253" fmla="*/ 1095333 w 5730544"/>
              <a:gd name="connsiteY253" fmla="*/ 35169 h 1240971"/>
              <a:gd name="connsiteX254" fmla="*/ 979777 w 5730544"/>
              <a:gd name="connsiteY254" fmla="*/ 20097 h 1240971"/>
              <a:gd name="connsiteX255" fmla="*/ 939584 w 5730544"/>
              <a:gd name="connsiteY255" fmla="*/ 10048 h 1240971"/>
              <a:gd name="connsiteX256" fmla="*/ 813980 w 5730544"/>
              <a:gd name="connsiteY256" fmla="*/ 0 h 1240971"/>
              <a:gd name="connsiteX257" fmla="*/ 743641 w 5730544"/>
              <a:gd name="connsiteY257" fmla="*/ 5024 h 1240971"/>
              <a:gd name="connsiteX258" fmla="*/ 582867 w 5730544"/>
              <a:gd name="connsiteY258" fmla="*/ 15072 h 1240971"/>
              <a:gd name="connsiteX259" fmla="*/ 432142 w 5730544"/>
              <a:gd name="connsiteY259" fmla="*/ 5024 h 1240971"/>
              <a:gd name="connsiteX260" fmla="*/ 412046 w 5730544"/>
              <a:gd name="connsiteY260" fmla="*/ 0 h 1240971"/>
              <a:gd name="connsiteX261" fmla="*/ 281417 w 5730544"/>
              <a:gd name="connsiteY261" fmla="*/ 10048 h 1240971"/>
              <a:gd name="connsiteX262" fmla="*/ 261320 w 5730544"/>
              <a:gd name="connsiteY262" fmla="*/ 15072 h 1240971"/>
              <a:gd name="connsiteX263" fmla="*/ 100547 w 5730544"/>
              <a:gd name="connsiteY263" fmla="*/ 20097 h 1240971"/>
              <a:gd name="connsiteX264" fmla="*/ 5087 w 5730544"/>
              <a:gd name="connsiteY264" fmla="*/ 30145 h 1240971"/>
              <a:gd name="connsiteX0" fmla="*/ 5087 w 5730544"/>
              <a:gd name="connsiteY0" fmla="*/ 30145 h 1240971"/>
              <a:gd name="connsiteX1" fmla="*/ 15136 w 5730544"/>
              <a:gd name="connsiteY1" fmla="*/ 115556 h 1240971"/>
              <a:gd name="connsiteX2" fmla="*/ 20160 w 5730544"/>
              <a:gd name="connsiteY2" fmla="*/ 150725 h 1240971"/>
              <a:gd name="connsiteX3" fmla="*/ 25184 w 5730544"/>
              <a:gd name="connsiteY3" fmla="*/ 236136 h 1240971"/>
              <a:gd name="connsiteX4" fmla="*/ 35232 w 5730544"/>
              <a:gd name="connsiteY4" fmla="*/ 311499 h 1240971"/>
              <a:gd name="connsiteX5" fmla="*/ 40256 w 5730544"/>
              <a:gd name="connsiteY5" fmla="*/ 783771 h 1240971"/>
              <a:gd name="connsiteX6" fmla="*/ 45281 w 5730544"/>
              <a:gd name="connsiteY6" fmla="*/ 864158 h 1240971"/>
              <a:gd name="connsiteX7" fmla="*/ 35232 w 5730544"/>
              <a:gd name="connsiteY7" fmla="*/ 1034980 h 1240971"/>
              <a:gd name="connsiteX8" fmla="*/ 25184 w 5730544"/>
              <a:gd name="connsiteY8" fmla="*/ 1100294 h 1240971"/>
              <a:gd name="connsiteX9" fmla="*/ 20160 w 5730544"/>
              <a:gd name="connsiteY9" fmla="*/ 1150536 h 1240971"/>
              <a:gd name="connsiteX10" fmla="*/ 25184 w 5730544"/>
              <a:gd name="connsiteY10" fmla="*/ 1170633 h 1240971"/>
              <a:gd name="connsiteX11" fmla="*/ 35232 w 5730544"/>
              <a:gd name="connsiteY11" fmla="*/ 1160584 h 1240971"/>
              <a:gd name="connsiteX12" fmla="*/ 55329 w 5730544"/>
              <a:gd name="connsiteY12" fmla="*/ 1100294 h 1240971"/>
              <a:gd name="connsiteX13" fmla="*/ 60353 w 5730544"/>
              <a:gd name="connsiteY13" fmla="*/ 1085222 h 1240971"/>
              <a:gd name="connsiteX14" fmla="*/ 70402 w 5730544"/>
              <a:gd name="connsiteY14" fmla="*/ 1075173 h 1240971"/>
              <a:gd name="connsiteX15" fmla="*/ 95522 w 5730544"/>
              <a:gd name="connsiteY15" fmla="*/ 1045028 h 1240971"/>
              <a:gd name="connsiteX16" fmla="*/ 110595 w 5730544"/>
              <a:gd name="connsiteY16" fmla="*/ 1040004 h 1240971"/>
              <a:gd name="connsiteX17" fmla="*/ 135716 w 5730544"/>
              <a:gd name="connsiteY17" fmla="*/ 1019908 h 1240971"/>
              <a:gd name="connsiteX18" fmla="*/ 150788 w 5730544"/>
              <a:gd name="connsiteY18" fmla="*/ 1009859 h 1240971"/>
              <a:gd name="connsiteX19" fmla="*/ 175909 w 5730544"/>
              <a:gd name="connsiteY19" fmla="*/ 994787 h 1240971"/>
              <a:gd name="connsiteX20" fmla="*/ 216103 w 5730544"/>
              <a:gd name="connsiteY20" fmla="*/ 984738 h 1240971"/>
              <a:gd name="connsiteX21" fmla="*/ 286441 w 5730544"/>
              <a:gd name="connsiteY21" fmla="*/ 994787 h 1240971"/>
              <a:gd name="connsiteX22" fmla="*/ 301514 w 5730544"/>
              <a:gd name="connsiteY22" fmla="*/ 1004835 h 1240971"/>
              <a:gd name="connsiteX23" fmla="*/ 321610 w 5730544"/>
              <a:gd name="connsiteY23" fmla="*/ 1034980 h 1240971"/>
              <a:gd name="connsiteX24" fmla="*/ 356780 w 5730544"/>
              <a:gd name="connsiteY24" fmla="*/ 1065125 h 1240971"/>
              <a:gd name="connsiteX25" fmla="*/ 366828 w 5730544"/>
              <a:gd name="connsiteY25" fmla="*/ 1080198 h 1240971"/>
              <a:gd name="connsiteX26" fmla="*/ 381900 w 5730544"/>
              <a:gd name="connsiteY26" fmla="*/ 1085222 h 1240971"/>
              <a:gd name="connsiteX27" fmla="*/ 396973 w 5730544"/>
              <a:gd name="connsiteY27" fmla="*/ 1095270 h 1240971"/>
              <a:gd name="connsiteX28" fmla="*/ 407021 w 5730544"/>
              <a:gd name="connsiteY28" fmla="*/ 1105319 h 1240971"/>
              <a:gd name="connsiteX29" fmla="*/ 422094 w 5730544"/>
              <a:gd name="connsiteY29" fmla="*/ 1110343 h 1240971"/>
              <a:gd name="connsiteX30" fmla="*/ 437166 w 5730544"/>
              <a:gd name="connsiteY30" fmla="*/ 1120391 h 1240971"/>
              <a:gd name="connsiteX31" fmla="*/ 467311 w 5730544"/>
              <a:gd name="connsiteY31" fmla="*/ 1130439 h 1240971"/>
              <a:gd name="connsiteX32" fmla="*/ 522577 w 5730544"/>
              <a:gd name="connsiteY32" fmla="*/ 1115367 h 1240971"/>
              <a:gd name="connsiteX33" fmla="*/ 552722 w 5730544"/>
              <a:gd name="connsiteY33" fmla="*/ 1075173 h 1240971"/>
              <a:gd name="connsiteX34" fmla="*/ 567795 w 5730544"/>
              <a:gd name="connsiteY34" fmla="*/ 1070149 h 1240971"/>
              <a:gd name="connsiteX35" fmla="*/ 582867 w 5730544"/>
              <a:gd name="connsiteY35" fmla="*/ 1060101 h 1240971"/>
              <a:gd name="connsiteX36" fmla="*/ 638133 w 5730544"/>
              <a:gd name="connsiteY36" fmla="*/ 1045028 h 1240971"/>
              <a:gd name="connsiteX37" fmla="*/ 653206 w 5730544"/>
              <a:gd name="connsiteY37" fmla="*/ 1040004 h 1240971"/>
              <a:gd name="connsiteX38" fmla="*/ 693399 w 5730544"/>
              <a:gd name="connsiteY38" fmla="*/ 1045028 h 1240971"/>
              <a:gd name="connsiteX39" fmla="*/ 723544 w 5730544"/>
              <a:gd name="connsiteY39" fmla="*/ 1055077 h 1240971"/>
              <a:gd name="connsiteX40" fmla="*/ 733593 w 5730544"/>
              <a:gd name="connsiteY40" fmla="*/ 1065125 h 1240971"/>
              <a:gd name="connsiteX41" fmla="*/ 768762 w 5730544"/>
              <a:gd name="connsiteY41" fmla="*/ 1080198 h 1240971"/>
              <a:gd name="connsiteX42" fmla="*/ 803931 w 5730544"/>
              <a:gd name="connsiteY42" fmla="*/ 1105319 h 1240971"/>
              <a:gd name="connsiteX43" fmla="*/ 834076 w 5730544"/>
              <a:gd name="connsiteY43" fmla="*/ 1130439 h 1240971"/>
              <a:gd name="connsiteX44" fmla="*/ 869246 w 5730544"/>
              <a:gd name="connsiteY44" fmla="*/ 1140488 h 1240971"/>
              <a:gd name="connsiteX45" fmla="*/ 909439 w 5730544"/>
              <a:gd name="connsiteY45" fmla="*/ 1175657 h 1240971"/>
              <a:gd name="connsiteX46" fmla="*/ 939584 w 5730544"/>
              <a:gd name="connsiteY46" fmla="*/ 1185705 h 1240971"/>
              <a:gd name="connsiteX47" fmla="*/ 979777 w 5730544"/>
              <a:gd name="connsiteY47" fmla="*/ 1180681 h 1240971"/>
              <a:gd name="connsiteX48" fmla="*/ 989826 w 5730544"/>
              <a:gd name="connsiteY48" fmla="*/ 1170633 h 1240971"/>
              <a:gd name="connsiteX49" fmla="*/ 1004898 w 5730544"/>
              <a:gd name="connsiteY49" fmla="*/ 1150536 h 1240971"/>
              <a:gd name="connsiteX50" fmla="*/ 1014947 w 5730544"/>
              <a:gd name="connsiteY50" fmla="*/ 1120391 h 1240971"/>
              <a:gd name="connsiteX51" fmla="*/ 1040067 w 5730544"/>
              <a:gd name="connsiteY51" fmla="*/ 1095270 h 1240971"/>
              <a:gd name="connsiteX52" fmla="*/ 1050116 w 5730544"/>
              <a:gd name="connsiteY52" fmla="*/ 1085222 h 1240971"/>
              <a:gd name="connsiteX53" fmla="*/ 1075237 w 5730544"/>
              <a:gd name="connsiteY53" fmla="*/ 1065125 h 1240971"/>
              <a:gd name="connsiteX54" fmla="*/ 1090309 w 5730544"/>
              <a:gd name="connsiteY54" fmla="*/ 1050053 h 1240971"/>
              <a:gd name="connsiteX55" fmla="*/ 1120454 w 5730544"/>
              <a:gd name="connsiteY55" fmla="*/ 1040004 h 1240971"/>
              <a:gd name="connsiteX56" fmla="*/ 1135527 w 5730544"/>
              <a:gd name="connsiteY56" fmla="*/ 1034980 h 1240971"/>
              <a:gd name="connsiteX57" fmla="*/ 1160648 w 5730544"/>
              <a:gd name="connsiteY57" fmla="*/ 1019908 h 1240971"/>
              <a:gd name="connsiteX58" fmla="*/ 1175720 w 5730544"/>
              <a:gd name="connsiteY58" fmla="*/ 1014883 h 1240971"/>
              <a:gd name="connsiteX59" fmla="*/ 1195817 w 5730544"/>
              <a:gd name="connsiteY59" fmla="*/ 1004835 h 1240971"/>
              <a:gd name="connsiteX60" fmla="*/ 1281228 w 5730544"/>
              <a:gd name="connsiteY60" fmla="*/ 1014883 h 1240971"/>
              <a:gd name="connsiteX61" fmla="*/ 1296300 w 5730544"/>
              <a:gd name="connsiteY61" fmla="*/ 1024932 h 1240971"/>
              <a:gd name="connsiteX62" fmla="*/ 1311373 w 5730544"/>
              <a:gd name="connsiteY62" fmla="*/ 1029956 h 1240971"/>
              <a:gd name="connsiteX63" fmla="*/ 1326446 w 5730544"/>
              <a:gd name="connsiteY63" fmla="*/ 1060101 h 1240971"/>
              <a:gd name="connsiteX64" fmla="*/ 1341518 w 5730544"/>
              <a:gd name="connsiteY64" fmla="*/ 1065125 h 1240971"/>
              <a:gd name="connsiteX65" fmla="*/ 1356591 w 5730544"/>
              <a:gd name="connsiteY65" fmla="*/ 1075173 h 1240971"/>
              <a:gd name="connsiteX66" fmla="*/ 1396784 w 5730544"/>
              <a:gd name="connsiteY66" fmla="*/ 1090246 h 1240971"/>
              <a:gd name="connsiteX67" fmla="*/ 1447026 w 5730544"/>
              <a:gd name="connsiteY67" fmla="*/ 1105319 h 1240971"/>
              <a:gd name="connsiteX68" fmla="*/ 1462098 w 5730544"/>
              <a:gd name="connsiteY68" fmla="*/ 1110343 h 1240971"/>
              <a:gd name="connsiteX69" fmla="*/ 1497267 w 5730544"/>
              <a:gd name="connsiteY69" fmla="*/ 1120391 h 1240971"/>
              <a:gd name="connsiteX70" fmla="*/ 1552533 w 5730544"/>
              <a:gd name="connsiteY70" fmla="*/ 1115367 h 1240971"/>
              <a:gd name="connsiteX71" fmla="*/ 1567606 w 5730544"/>
              <a:gd name="connsiteY71" fmla="*/ 1110343 h 1240971"/>
              <a:gd name="connsiteX72" fmla="*/ 1587703 w 5730544"/>
              <a:gd name="connsiteY72" fmla="*/ 1090246 h 1240971"/>
              <a:gd name="connsiteX73" fmla="*/ 1637944 w 5730544"/>
              <a:gd name="connsiteY73" fmla="*/ 1050053 h 1240971"/>
              <a:gd name="connsiteX74" fmla="*/ 1653017 w 5730544"/>
              <a:gd name="connsiteY74" fmla="*/ 1029956 h 1240971"/>
              <a:gd name="connsiteX75" fmla="*/ 1688186 w 5730544"/>
              <a:gd name="connsiteY75" fmla="*/ 1019908 h 1240971"/>
              <a:gd name="connsiteX76" fmla="*/ 1788670 w 5730544"/>
              <a:gd name="connsiteY76" fmla="*/ 1029956 h 1240971"/>
              <a:gd name="connsiteX77" fmla="*/ 1818815 w 5730544"/>
              <a:gd name="connsiteY77" fmla="*/ 1040004 h 1240971"/>
              <a:gd name="connsiteX78" fmla="*/ 1853984 w 5730544"/>
              <a:gd name="connsiteY78" fmla="*/ 1050053 h 1240971"/>
              <a:gd name="connsiteX79" fmla="*/ 1869056 w 5730544"/>
              <a:gd name="connsiteY79" fmla="*/ 1060101 h 1240971"/>
              <a:gd name="connsiteX80" fmla="*/ 1894177 w 5730544"/>
              <a:gd name="connsiteY80" fmla="*/ 1065125 h 1240971"/>
              <a:gd name="connsiteX81" fmla="*/ 1949443 w 5730544"/>
              <a:gd name="connsiteY81" fmla="*/ 1085222 h 1240971"/>
              <a:gd name="connsiteX82" fmla="*/ 1969540 w 5730544"/>
              <a:gd name="connsiteY82" fmla="*/ 1090246 h 1240971"/>
              <a:gd name="connsiteX83" fmla="*/ 2014758 w 5730544"/>
              <a:gd name="connsiteY83" fmla="*/ 1110343 h 1240971"/>
              <a:gd name="connsiteX84" fmla="*/ 2039878 w 5730544"/>
              <a:gd name="connsiteY84" fmla="*/ 1125415 h 1240971"/>
              <a:gd name="connsiteX85" fmla="*/ 2120265 w 5730544"/>
              <a:gd name="connsiteY85" fmla="*/ 1120391 h 1240971"/>
              <a:gd name="connsiteX86" fmla="*/ 2130314 w 5730544"/>
              <a:gd name="connsiteY86" fmla="*/ 1110343 h 1240971"/>
              <a:gd name="connsiteX87" fmla="*/ 2155435 w 5730544"/>
              <a:gd name="connsiteY87" fmla="*/ 1100294 h 1240971"/>
              <a:gd name="connsiteX88" fmla="*/ 2190604 w 5730544"/>
              <a:gd name="connsiteY88" fmla="*/ 1070149 h 1240971"/>
              <a:gd name="connsiteX89" fmla="*/ 2230797 w 5730544"/>
              <a:gd name="connsiteY89" fmla="*/ 1040004 h 1240971"/>
              <a:gd name="connsiteX90" fmla="*/ 2245870 w 5730544"/>
              <a:gd name="connsiteY90" fmla="*/ 1034980 h 1240971"/>
              <a:gd name="connsiteX91" fmla="*/ 2270991 w 5730544"/>
              <a:gd name="connsiteY91" fmla="*/ 1019908 h 1240971"/>
              <a:gd name="connsiteX92" fmla="*/ 2301136 w 5730544"/>
              <a:gd name="connsiteY92" fmla="*/ 994787 h 1240971"/>
              <a:gd name="connsiteX93" fmla="*/ 2316208 w 5730544"/>
              <a:gd name="connsiteY93" fmla="*/ 989763 h 1240971"/>
              <a:gd name="connsiteX94" fmla="*/ 2396595 w 5730544"/>
              <a:gd name="connsiteY94" fmla="*/ 984738 h 1240971"/>
              <a:gd name="connsiteX95" fmla="*/ 2426740 w 5730544"/>
              <a:gd name="connsiteY95" fmla="*/ 989763 h 1240971"/>
              <a:gd name="connsiteX96" fmla="*/ 2461909 w 5730544"/>
              <a:gd name="connsiteY96" fmla="*/ 1024932 h 1240971"/>
              <a:gd name="connsiteX97" fmla="*/ 2476982 w 5730544"/>
              <a:gd name="connsiteY97" fmla="*/ 1029956 h 1240971"/>
              <a:gd name="connsiteX98" fmla="*/ 2487030 w 5730544"/>
              <a:gd name="connsiteY98" fmla="*/ 1045028 h 1240971"/>
              <a:gd name="connsiteX99" fmla="*/ 2497078 w 5730544"/>
              <a:gd name="connsiteY99" fmla="*/ 1055077 h 1240971"/>
              <a:gd name="connsiteX100" fmla="*/ 2532248 w 5730544"/>
              <a:gd name="connsiteY100" fmla="*/ 1095270 h 1240971"/>
              <a:gd name="connsiteX101" fmla="*/ 2567417 w 5730544"/>
              <a:gd name="connsiteY101" fmla="*/ 1135464 h 1240971"/>
              <a:gd name="connsiteX102" fmla="*/ 2582489 w 5730544"/>
              <a:gd name="connsiteY102" fmla="*/ 1145512 h 1240971"/>
              <a:gd name="connsiteX103" fmla="*/ 2622683 w 5730544"/>
              <a:gd name="connsiteY103" fmla="*/ 1170633 h 1240971"/>
              <a:gd name="connsiteX104" fmla="*/ 2657852 w 5730544"/>
              <a:gd name="connsiteY104" fmla="*/ 1160584 h 1240971"/>
              <a:gd name="connsiteX105" fmla="*/ 2682973 w 5730544"/>
              <a:gd name="connsiteY105" fmla="*/ 1145512 h 1240971"/>
              <a:gd name="connsiteX106" fmla="*/ 2713118 w 5730544"/>
              <a:gd name="connsiteY106" fmla="*/ 1130439 h 1240971"/>
              <a:gd name="connsiteX107" fmla="*/ 2728191 w 5730544"/>
              <a:gd name="connsiteY107" fmla="*/ 1120391 h 1240971"/>
              <a:gd name="connsiteX108" fmla="*/ 2748287 w 5730544"/>
              <a:gd name="connsiteY108" fmla="*/ 1115367 h 1240971"/>
              <a:gd name="connsiteX109" fmla="*/ 2778432 w 5730544"/>
              <a:gd name="connsiteY109" fmla="*/ 1105319 h 1240971"/>
              <a:gd name="connsiteX110" fmla="*/ 2868867 w 5730544"/>
              <a:gd name="connsiteY110" fmla="*/ 1075173 h 1240971"/>
              <a:gd name="connsiteX111" fmla="*/ 2893988 w 5730544"/>
              <a:gd name="connsiteY111" fmla="*/ 1070149 h 1240971"/>
              <a:gd name="connsiteX112" fmla="*/ 2919109 w 5730544"/>
              <a:gd name="connsiteY112" fmla="*/ 1075173 h 1240971"/>
              <a:gd name="connsiteX113" fmla="*/ 2934182 w 5730544"/>
              <a:gd name="connsiteY113" fmla="*/ 1080198 h 1240971"/>
              <a:gd name="connsiteX114" fmla="*/ 2944230 w 5730544"/>
              <a:gd name="connsiteY114" fmla="*/ 1110343 h 1240971"/>
              <a:gd name="connsiteX115" fmla="*/ 2959303 w 5730544"/>
              <a:gd name="connsiteY115" fmla="*/ 1125415 h 1240971"/>
              <a:gd name="connsiteX116" fmla="*/ 2979399 w 5730544"/>
              <a:gd name="connsiteY116" fmla="*/ 1155560 h 1240971"/>
              <a:gd name="connsiteX117" fmla="*/ 2994472 w 5730544"/>
              <a:gd name="connsiteY117" fmla="*/ 1160584 h 1240971"/>
              <a:gd name="connsiteX118" fmla="*/ 3014569 w 5730544"/>
              <a:gd name="connsiteY118" fmla="*/ 1180681 h 1240971"/>
              <a:gd name="connsiteX119" fmla="*/ 3024617 w 5730544"/>
              <a:gd name="connsiteY119" fmla="*/ 1190730 h 1240971"/>
              <a:gd name="connsiteX120" fmla="*/ 3069835 w 5730544"/>
              <a:gd name="connsiteY120" fmla="*/ 1215850 h 1240971"/>
              <a:gd name="connsiteX121" fmla="*/ 3079883 w 5730544"/>
              <a:gd name="connsiteY121" fmla="*/ 1225899 h 1240971"/>
              <a:gd name="connsiteX122" fmla="*/ 3099980 w 5730544"/>
              <a:gd name="connsiteY122" fmla="*/ 1230923 h 1240971"/>
              <a:gd name="connsiteX123" fmla="*/ 3130125 w 5730544"/>
              <a:gd name="connsiteY123" fmla="*/ 1240971 h 1240971"/>
              <a:gd name="connsiteX124" fmla="*/ 3180366 w 5730544"/>
              <a:gd name="connsiteY124" fmla="*/ 1235947 h 1240971"/>
              <a:gd name="connsiteX125" fmla="*/ 3195439 w 5730544"/>
              <a:gd name="connsiteY125" fmla="*/ 1225899 h 1240971"/>
              <a:gd name="connsiteX126" fmla="*/ 3220560 w 5730544"/>
              <a:gd name="connsiteY126" fmla="*/ 1215850 h 1240971"/>
              <a:gd name="connsiteX127" fmla="*/ 3255729 w 5730544"/>
              <a:gd name="connsiteY127" fmla="*/ 1185705 h 1240971"/>
              <a:gd name="connsiteX128" fmla="*/ 3295922 w 5730544"/>
              <a:gd name="connsiteY128" fmla="*/ 1160584 h 1240971"/>
              <a:gd name="connsiteX129" fmla="*/ 3310995 w 5730544"/>
              <a:gd name="connsiteY129" fmla="*/ 1145512 h 1240971"/>
              <a:gd name="connsiteX130" fmla="*/ 3351188 w 5730544"/>
              <a:gd name="connsiteY130" fmla="*/ 1140488 h 1240971"/>
              <a:gd name="connsiteX131" fmla="*/ 3406454 w 5730544"/>
              <a:gd name="connsiteY131" fmla="*/ 1155560 h 1240971"/>
              <a:gd name="connsiteX132" fmla="*/ 3426551 w 5730544"/>
              <a:gd name="connsiteY132" fmla="*/ 1165609 h 1240971"/>
              <a:gd name="connsiteX133" fmla="*/ 3441624 w 5730544"/>
              <a:gd name="connsiteY133" fmla="*/ 1175657 h 1240971"/>
              <a:gd name="connsiteX134" fmla="*/ 3456696 w 5730544"/>
              <a:gd name="connsiteY134" fmla="*/ 1180681 h 1240971"/>
              <a:gd name="connsiteX135" fmla="*/ 3466744 w 5730544"/>
              <a:gd name="connsiteY135" fmla="*/ 1195754 h 1240971"/>
              <a:gd name="connsiteX136" fmla="*/ 3527035 w 5730544"/>
              <a:gd name="connsiteY136" fmla="*/ 1200778 h 1240971"/>
              <a:gd name="connsiteX137" fmla="*/ 3542107 w 5730544"/>
              <a:gd name="connsiteY137" fmla="*/ 1190730 h 1240971"/>
              <a:gd name="connsiteX138" fmla="*/ 3567228 w 5730544"/>
              <a:gd name="connsiteY138" fmla="*/ 1180681 h 1240971"/>
              <a:gd name="connsiteX139" fmla="*/ 3587325 w 5730544"/>
              <a:gd name="connsiteY139" fmla="*/ 1150536 h 1240971"/>
              <a:gd name="connsiteX140" fmla="*/ 3617470 w 5730544"/>
              <a:gd name="connsiteY140" fmla="*/ 1125415 h 1240971"/>
              <a:gd name="connsiteX141" fmla="*/ 3632542 w 5730544"/>
              <a:gd name="connsiteY141" fmla="*/ 1105319 h 1240971"/>
              <a:gd name="connsiteX142" fmla="*/ 3662687 w 5730544"/>
              <a:gd name="connsiteY142" fmla="*/ 1085222 h 1240971"/>
              <a:gd name="connsiteX143" fmla="*/ 3697856 w 5730544"/>
              <a:gd name="connsiteY143" fmla="*/ 1070149 h 1240971"/>
              <a:gd name="connsiteX144" fmla="*/ 3707905 w 5730544"/>
              <a:gd name="connsiteY144" fmla="*/ 1060101 h 1240971"/>
              <a:gd name="connsiteX145" fmla="*/ 3743074 w 5730544"/>
              <a:gd name="connsiteY145" fmla="*/ 1040004 h 1240971"/>
              <a:gd name="connsiteX146" fmla="*/ 3813413 w 5730544"/>
              <a:gd name="connsiteY146" fmla="*/ 1024932 h 1240971"/>
              <a:gd name="connsiteX147" fmla="*/ 3833509 w 5730544"/>
              <a:gd name="connsiteY147" fmla="*/ 1014883 h 1240971"/>
              <a:gd name="connsiteX148" fmla="*/ 3858630 w 5730544"/>
              <a:gd name="connsiteY148" fmla="*/ 1009859 h 1240971"/>
              <a:gd name="connsiteX149" fmla="*/ 3873703 w 5730544"/>
              <a:gd name="connsiteY149" fmla="*/ 1004835 h 1240971"/>
              <a:gd name="connsiteX150" fmla="*/ 3923944 w 5730544"/>
              <a:gd name="connsiteY150" fmla="*/ 1014883 h 1240971"/>
              <a:gd name="connsiteX151" fmla="*/ 3933993 w 5730544"/>
              <a:gd name="connsiteY151" fmla="*/ 1029956 h 1240971"/>
              <a:gd name="connsiteX152" fmla="*/ 3964138 w 5730544"/>
              <a:gd name="connsiteY152" fmla="*/ 1075173 h 1240971"/>
              <a:gd name="connsiteX153" fmla="*/ 3969162 w 5730544"/>
              <a:gd name="connsiteY153" fmla="*/ 1100294 h 1240971"/>
              <a:gd name="connsiteX154" fmla="*/ 3979210 w 5730544"/>
              <a:gd name="connsiteY154" fmla="*/ 1110343 h 1240971"/>
              <a:gd name="connsiteX155" fmla="*/ 3984235 w 5730544"/>
              <a:gd name="connsiteY155" fmla="*/ 1130439 h 1240971"/>
              <a:gd name="connsiteX156" fmla="*/ 4019404 w 5730544"/>
              <a:gd name="connsiteY156" fmla="*/ 1165609 h 1240971"/>
              <a:gd name="connsiteX157" fmla="*/ 4064621 w 5730544"/>
              <a:gd name="connsiteY157" fmla="*/ 1150536 h 1240971"/>
              <a:gd name="connsiteX158" fmla="*/ 4079694 w 5730544"/>
              <a:gd name="connsiteY158" fmla="*/ 1125415 h 1240971"/>
              <a:gd name="connsiteX159" fmla="*/ 4099791 w 5730544"/>
              <a:gd name="connsiteY159" fmla="*/ 1105319 h 1240971"/>
              <a:gd name="connsiteX160" fmla="*/ 4129936 w 5730544"/>
              <a:gd name="connsiteY160" fmla="*/ 1075173 h 1240971"/>
              <a:gd name="connsiteX161" fmla="*/ 4150032 w 5730544"/>
              <a:gd name="connsiteY161" fmla="*/ 1040004 h 1240971"/>
              <a:gd name="connsiteX162" fmla="*/ 4160081 w 5730544"/>
              <a:gd name="connsiteY162" fmla="*/ 1019908 h 1240971"/>
              <a:gd name="connsiteX163" fmla="*/ 4165105 w 5730544"/>
              <a:gd name="connsiteY163" fmla="*/ 1004835 h 1240971"/>
              <a:gd name="connsiteX164" fmla="*/ 4185202 w 5730544"/>
              <a:gd name="connsiteY164" fmla="*/ 984738 h 1240971"/>
              <a:gd name="connsiteX165" fmla="*/ 4200274 w 5730544"/>
              <a:gd name="connsiteY165" fmla="*/ 979714 h 1240971"/>
              <a:gd name="connsiteX166" fmla="*/ 4235443 w 5730544"/>
              <a:gd name="connsiteY166" fmla="*/ 954593 h 1240971"/>
              <a:gd name="connsiteX167" fmla="*/ 4275637 w 5730544"/>
              <a:gd name="connsiteY167" fmla="*/ 934497 h 1240971"/>
              <a:gd name="connsiteX168" fmla="*/ 4310806 w 5730544"/>
              <a:gd name="connsiteY168" fmla="*/ 914400 h 1240971"/>
              <a:gd name="connsiteX169" fmla="*/ 4325878 w 5730544"/>
              <a:gd name="connsiteY169" fmla="*/ 904352 h 1240971"/>
              <a:gd name="connsiteX170" fmla="*/ 4381144 w 5730544"/>
              <a:gd name="connsiteY170" fmla="*/ 904352 h 1240971"/>
              <a:gd name="connsiteX171" fmla="*/ 4401241 w 5730544"/>
              <a:gd name="connsiteY171" fmla="*/ 914400 h 1240971"/>
              <a:gd name="connsiteX172" fmla="*/ 4416314 w 5730544"/>
              <a:gd name="connsiteY172" fmla="*/ 919424 h 1240971"/>
              <a:gd name="connsiteX173" fmla="*/ 4431386 w 5730544"/>
              <a:gd name="connsiteY173" fmla="*/ 929472 h 1240971"/>
              <a:gd name="connsiteX174" fmla="*/ 4456507 w 5730544"/>
              <a:gd name="connsiteY174" fmla="*/ 974690 h 1240971"/>
              <a:gd name="connsiteX175" fmla="*/ 4476604 w 5730544"/>
              <a:gd name="connsiteY175" fmla="*/ 999811 h 1240971"/>
              <a:gd name="connsiteX176" fmla="*/ 4567039 w 5730544"/>
              <a:gd name="connsiteY176" fmla="*/ 994787 h 1240971"/>
              <a:gd name="connsiteX177" fmla="*/ 4597184 w 5730544"/>
              <a:gd name="connsiteY177" fmla="*/ 969666 h 1240971"/>
              <a:gd name="connsiteX178" fmla="*/ 4617281 w 5730544"/>
              <a:gd name="connsiteY178" fmla="*/ 959617 h 1240971"/>
              <a:gd name="connsiteX179" fmla="*/ 4632353 w 5730544"/>
              <a:gd name="connsiteY179" fmla="*/ 944545 h 1240971"/>
              <a:gd name="connsiteX180" fmla="*/ 4652450 w 5730544"/>
              <a:gd name="connsiteY180" fmla="*/ 934497 h 1240971"/>
              <a:gd name="connsiteX181" fmla="*/ 4672547 w 5730544"/>
              <a:gd name="connsiteY181" fmla="*/ 919424 h 1240971"/>
              <a:gd name="connsiteX182" fmla="*/ 4737861 w 5730544"/>
              <a:gd name="connsiteY182" fmla="*/ 884255 h 1240971"/>
              <a:gd name="connsiteX183" fmla="*/ 4762982 w 5730544"/>
              <a:gd name="connsiteY183" fmla="*/ 879231 h 1240971"/>
              <a:gd name="connsiteX184" fmla="*/ 4778054 w 5730544"/>
              <a:gd name="connsiteY184" fmla="*/ 874206 h 1240971"/>
              <a:gd name="connsiteX185" fmla="*/ 4819294 w 5730544"/>
              <a:gd name="connsiteY185" fmla="*/ 873944 h 1240971"/>
              <a:gd name="connsiteX186" fmla="*/ 4877465 w 5730544"/>
              <a:gd name="connsiteY186" fmla="*/ 895638 h 1240971"/>
              <a:gd name="connsiteX187" fmla="*/ 4935347 w 5730544"/>
              <a:gd name="connsiteY187" fmla="*/ 934523 h 1240971"/>
              <a:gd name="connsiteX188" fmla="*/ 4995402 w 5730544"/>
              <a:gd name="connsiteY188" fmla="*/ 1006746 h 1240971"/>
              <a:gd name="connsiteX189" fmla="*/ 5024762 w 5730544"/>
              <a:gd name="connsiteY189" fmla="*/ 1051963 h 1240971"/>
              <a:gd name="connsiteX190" fmla="*/ 5092223 w 5730544"/>
              <a:gd name="connsiteY190" fmla="*/ 1016506 h 1240971"/>
              <a:gd name="connsiteX191" fmla="*/ 5144322 w 5730544"/>
              <a:gd name="connsiteY191" fmla="*/ 948261 h 1240971"/>
              <a:gd name="connsiteX192" fmla="*/ 5189252 w 5730544"/>
              <a:gd name="connsiteY192" fmla="*/ 886112 h 1240971"/>
              <a:gd name="connsiteX193" fmla="*/ 5226279 w 5730544"/>
              <a:gd name="connsiteY193" fmla="*/ 856230 h 1240971"/>
              <a:gd name="connsiteX194" fmla="*/ 5260637 w 5730544"/>
              <a:gd name="connsiteY194" fmla="*/ 822918 h 1240971"/>
              <a:gd name="connsiteX195" fmla="*/ 5295282 w 5730544"/>
              <a:gd name="connsiteY195" fmla="*/ 800440 h 1240971"/>
              <a:gd name="connsiteX196" fmla="*/ 5334430 w 5730544"/>
              <a:gd name="connsiteY196" fmla="*/ 794893 h 1240971"/>
              <a:gd name="connsiteX197" fmla="*/ 5412174 w 5730544"/>
              <a:gd name="connsiteY197" fmla="*/ 824252 h 1240971"/>
              <a:gd name="connsiteX198" fmla="*/ 5431197 w 5730544"/>
              <a:gd name="connsiteY198" fmla="*/ 768699 h 1240971"/>
              <a:gd name="connsiteX199" fmla="*/ 5441246 w 5730544"/>
              <a:gd name="connsiteY199" fmla="*/ 753626 h 1240971"/>
              <a:gd name="connsiteX200" fmla="*/ 5456318 w 5730544"/>
              <a:gd name="connsiteY200" fmla="*/ 708409 h 1240971"/>
              <a:gd name="connsiteX201" fmla="*/ 5466366 w 5730544"/>
              <a:gd name="connsiteY201" fmla="*/ 683288 h 1240971"/>
              <a:gd name="connsiteX202" fmla="*/ 5476415 w 5730544"/>
              <a:gd name="connsiteY202" fmla="*/ 643094 h 1240971"/>
              <a:gd name="connsiteX203" fmla="*/ 5491487 w 5730544"/>
              <a:gd name="connsiteY203" fmla="*/ 617973 h 1240971"/>
              <a:gd name="connsiteX204" fmla="*/ 5506560 w 5730544"/>
              <a:gd name="connsiteY204" fmla="*/ 572756 h 1240971"/>
              <a:gd name="connsiteX205" fmla="*/ 5526656 w 5730544"/>
              <a:gd name="connsiteY205" fmla="*/ 522514 h 1240971"/>
              <a:gd name="connsiteX206" fmla="*/ 5546753 w 5730544"/>
              <a:gd name="connsiteY206" fmla="*/ 467248 h 1240971"/>
              <a:gd name="connsiteX207" fmla="*/ 5556802 w 5730544"/>
              <a:gd name="connsiteY207" fmla="*/ 411982 h 1240971"/>
              <a:gd name="connsiteX208" fmla="*/ 5566850 w 5730544"/>
              <a:gd name="connsiteY208" fmla="*/ 381837 h 1240971"/>
              <a:gd name="connsiteX209" fmla="*/ 5576898 w 5730544"/>
              <a:gd name="connsiteY209" fmla="*/ 356716 h 1240971"/>
              <a:gd name="connsiteX210" fmla="*/ 5596995 w 5730544"/>
              <a:gd name="connsiteY210" fmla="*/ 316523 h 1240971"/>
              <a:gd name="connsiteX211" fmla="*/ 5617092 w 5730544"/>
              <a:gd name="connsiteY211" fmla="*/ 246184 h 1240971"/>
              <a:gd name="connsiteX212" fmla="*/ 5622116 w 5730544"/>
              <a:gd name="connsiteY212" fmla="*/ 226088 h 1240971"/>
              <a:gd name="connsiteX213" fmla="*/ 5632164 w 5730544"/>
              <a:gd name="connsiteY213" fmla="*/ 216039 h 1240971"/>
              <a:gd name="connsiteX214" fmla="*/ 5637188 w 5730544"/>
              <a:gd name="connsiteY214" fmla="*/ 200967 h 1240971"/>
              <a:gd name="connsiteX215" fmla="*/ 5642213 w 5730544"/>
              <a:gd name="connsiteY215" fmla="*/ 180870 h 1240971"/>
              <a:gd name="connsiteX216" fmla="*/ 5652261 w 5730544"/>
              <a:gd name="connsiteY216" fmla="*/ 165798 h 1240971"/>
              <a:gd name="connsiteX217" fmla="*/ 5693265 w 5730544"/>
              <a:gd name="connsiteY217" fmla="*/ 101268 h 1240971"/>
              <a:gd name="connsiteX218" fmla="*/ 5728722 w 5730544"/>
              <a:gd name="connsiteY218" fmla="*/ 42287 h 1240971"/>
              <a:gd name="connsiteX219" fmla="*/ 5634284 w 5730544"/>
              <a:gd name="connsiteY219" fmla="*/ 25357 h 1240971"/>
              <a:gd name="connsiteX220" fmla="*/ 5575040 w 5730544"/>
              <a:gd name="connsiteY220" fmla="*/ 39120 h 1240971"/>
              <a:gd name="connsiteX221" fmla="*/ 5470369 w 5730544"/>
              <a:gd name="connsiteY221" fmla="*/ 39381 h 1240971"/>
              <a:gd name="connsiteX222" fmla="*/ 5379124 w 5730544"/>
              <a:gd name="connsiteY222" fmla="*/ 39644 h 1240971"/>
              <a:gd name="connsiteX223" fmla="*/ 5309282 w 5730544"/>
              <a:gd name="connsiteY223" fmla="*/ 42287 h 1240971"/>
              <a:gd name="connsiteX224" fmla="*/ 5238682 w 5730544"/>
              <a:gd name="connsiteY224" fmla="*/ 54455 h 1240971"/>
              <a:gd name="connsiteX225" fmla="*/ 5075554 w 5730544"/>
              <a:gd name="connsiteY225" fmla="*/ 56574 h 1240971"/>
              <a:gd name="connsiteX226" fmla="*/ 4989070 w 5730544"/>
              <a:gd name="connsiteY226" fmla="*/ 65314 h 1240971"/>
              <a:gd name="connsiteX227" fmla="*/ 4943852 w 5730544"/>
              <a:gd name="connsiteY227" fmla="*/ 60290 h 1240971"/>
              <a:gd name="connsiteX228" fmla="*/ 4823272 w 5730544"/>
              <a:gd name="connsiteY228" fmla="*/ 50242 h 1240971"/>
              <a:gd name="connsiteX229" fmla="*/ 4727577 w 5730544"/>
              <a:gd name="connsiteY229" fmla="*/ 29073 h 1240971"/>
              <a:gd name="connsiteX230" fmla="*/ 4628376 w 5730544"/>
              <a:gd name="connsiteY230" fmla="*/ 41240 h 1240971"/>
              <a:gd name="connsiteX231" fmla="*/ 4565180 w 5730544"/>
              <a:gd name="connsiteY231" fmla="*/ 46264 h 1240971"/>
              <a:gd name="connsiteX232" fmla="*/ 4417596 w 5730544"/>
              <a:gd name="connsiteY232" fmla="*/ 44406 h 1240971"/>
              <a:gd name="connsiteX233" fmla="*/ 4139984 w 5730544"/>
              <a:gd name="connsiteY233" fmla="*/ 60290 h 1240971"/>
              <a:gd name="connsiteX234" fmla="*/ 3918920 w 5730544"/>
              <a:gd name="connsiteY234" fmla="*/ 50242 h 1240971"/>
              <a:gd name="connsiteX235" fmla="*/ 3873703 w 5730544"/>
              <a:gd name="connsiteY235" fmla="*/ 45217 h 1240971"/>
              <a:gd name="connsiteX236" fmla="*/ 3687808 w 5730544"/>
              <a:gd name="connsiteY236" fmla="*/ 40193 h 1240971"/>
              <a:gd name="connsiteX237" fmla="*/ 3662687 w 5730544"/>
              <a:gd name="connsiteY237" fmla="*/ 35169 h 1240971"/>
              <a:gd name="connsiteX238" fmla="*/ 3627518 w 5730544"/>
              <a:gd name="connsiteY238" fmla="*/ 25121 h 1240971"/>
              <a:gd name="connsiteX239" fmla="*/ 3547131 w 5730544"/>
              <a:gd name="connsiteY239" fmla="*/ 20097 h 1240971"/>
              <a:gd name="connsiteX240" fmla="*/ 3310995 w 5730544"/>
              <a:gd name="connsiteY240" fmla="*/ 25121 h 1240971"/>
              <a:gd name="connsiteX241" fmla="*/ 3265777 w 5730544"/>
              <a:gd name="connsiteY241" fmla="*/ 30145 h 1240971"/>
              <a:gd name="connsiteX242" fmla="*/ 3175342 w 5730544"/>
              <a:gd name="connsiteY242" fmla="*/ 35169 h 1240971"/>
              <a:gd name="connsiteX243" fmla="*/ 2582489 w 5730544"/>
              <a:gd name="connsiteY243" fmla="*/ 45217 h 1240971"/>
              <a:gd name="connsiteX244" fmla="*/ 2255918 w 5730544"/>
              <a:gd name="connsiteY244" fmla="*/ 40193 h 1240971"/>
              <a:gd name="connsiteX245" fmla="*/ 1974564 w 5730544"/>
              <a:gd name="connsiteY245" fmla="*/ 30145 h 1240971"/>
              <a:gd name="connsiteX246" fmla="*/ 1944419 w 5730544"/>
              <a:gd name="connsiteY246" fmla="*/ 25121 h 1240971"/>
              <a:gd name="connsiteX247" fmla="*/ 1848960 w 5730544"/>
              <a:gd name="connsiteY247" fmla="*/ 20097 h 1240971"/>
              <a:gd name="connsiteX248" fmla="*/ 1768573 w 5730544"/>
              <a:gd name="connsiteY248" fmla="*/ 10048 h 1240971"/>
              <a:gd name="connsiteX249" fmla="*/ 1502292 w 5730544"/>
              <a:gd name="connsiteY249" fmla="*/ 20097 h 1240971"/>
              <a:gd name="connsiteX250" fmla="*/ 1467122 w 5730544"/>
              <a:gd name="connsiteY250" fmla="*/ 25121 h 1240971"/>
              <a:gd name="connsiteX251" fmla="*/ 1426929 w 5730544"/>
              <a:gd name="connsiteY251" fmla="*/ 30145 h 1240971"/>
              <a:gd name="connsiteX252" fmla="*/ 1341518 w 5730544"/>
              <a:gd name="connsiteY252" fmla="*/ 45217 h 1240971"/>
              <a:gd name="connsiteX253" fmla="*/ 1095333 w 5730544"/>
              <a:gd name="connsiteY253" fmla="*/ 35169 h 1240971"/>
              <a:gd name="connsiteX254" fmla="*/ 979777 w 5730544"/>
              <a:gd name="connsiteY254" fmla="*/ 20097 h 1240971"/>
              <a:gd name="connsiteX255" fmla="*/ 939584 w 5730544"/>
              <a:gd name="connsiteY255" fmla="*/ 10048 h 1240971"/>
              <a:gd name="connsiteX256" fmla="*/ 813980 w 5730544"/>
              <a:gd name="connsiteY256" fmla="*/ 0 h 1240971"/>
              <a:gd name="connsiteX257" fmla="*/ 743641 w 5730544"/>
              <a:gd name="connsiteY257" fmla="*/ 5024 h 1240971"/>
              <a:gd name="connsiteX258" fmla="*/ 582867 w 5730544"/>
              <a:gd name="connsiteY258" fmla="*/ 15072 h 1240971"/>
              <a:gd name="connsiteX259" fmla="*/ 432142 w 5730544"/>
              <a:gd name="connsiteY259" fmla="*/ 5024 h 1240971"/>
              <a:gd name="connsiteX260" fmla="*/ 412046 w 5730544"/>
              <a:gd name="connsiteY260" fmla="*/ 0 h 1240971"/>
              <a:gd name="connsiteX261" fmla="*/ 281417 w 5730544"/>
              <a:gd name="connsiteY261" fmla="*/ 10048 h 1240971"/>
              <a:gd name="connsiteX262" fmla="*/ 261320 w 5730544"/>
              <a:gd name="connsiteY262" fmla="*/ 15072 h 1240971"/>
              <a:gd name="connsiteX263" fmla="*/ 100547 w 5730544"/>
              <a:gd name="connsiteY263" fmla="*/ 20097 h 1240971"/>
              <a:gd name="connsiteX264" fmla="*/ 5087 w 5730544"/>
              <a:gd name="connsiteY264" fmla="*/ 30145 h 1240971"/>
              <a:gd name="connsiteX0" fmla="*/ 5087 w 5730544"/>
              <a:gd name="connsiteY0" fmla="*/ 30145 h 1240971"/>
              <a:gd name="connsiteX1" fmla="*/ 15136 w 5730544"/>
              <a:gd name="connsiteY1" fmla="*/ 115556 h 1240971"/>
              <a:gd name="connsiteX2" fmla="*/ 20160 w 5730544"/>
              <a:gd name="connsiteY2" fmla="*/ 150725 h 1240971"/>
              <a:gd name="connsiteX3" fmla="*/ 25184 w 5730544"/>
              <a:gd name="connsiteY3" fmla="*/ 236136 h 1240971"/>
              <a:gd name="connsiteX4" fmla="*/ 35232 w 5730544"/>
              <a:gd name="connsiteY4" fmla="*/ 311499 h 1240971"/>
              <a:gd name="connsiteX5" fmla="*/ 40256 w 5730544"/>
              <a:gd name="connsiteY5" fmla="*/ 783771 h 1240971"/>
              <a:gd name="connsiteX6" fmla="*/ 45281 w 5730544"/>
              <a:gd name="connsiteY6" fmla="*/ 864158 h 1240971"/>
              <a:gd name="connsiteX7" fmla="*/ 35232 w 5730544"/>
              <a:gd name="connsiteY7" fmla="*/ 1034980 h 1240971"/>
              <a:gd name="connsiteX8" fmla="*/ 25184 w 5730544"/>
              <a:gd name="connsiteY8" fmla="*/ 1100294 h 1240971"/>
              <a:gd name="connsiteX9" fmla="*/ 20160 w 5730544"/>
              <a:gd name="connsiteY9" fmla="*/ 1150536 h 1240971"/>
              <a:gd name="connsiteX10" fmla="*/ 25184 w 5730544"/>
              <a:gd name="connsiteY10" fmla="*/ 1170633 h 1240971"/>
              <a:gd name="connsiteX11" fmla="*/ 35232 w 5730544"/>
              <a:gd name="connsiteY11" fmla="*/ 1160584 h 1240971"/>
              <a:gd name="connsiteX12" fmla="*/ 55329 w 5730544"/>
              <a:gd name="connsiteY12" fmla="*/ 1100294 h 1240971"/>
              <a:gd name="connsiteX13" fmla="*/ 60353 w 5730544"/>
              <a:gd name="connsiteY13" fmla="*/ 1085222 h 1240971"/>
              <a:gd name="connsiteX14" fmla="*/ 70402 w 5730544"/>
              <a:gd name="connsiteY14" fmla="*/ 1075173 h 1240971"/>
              <a:gd name="connsiteX15" fmla="*/ 95522 w 5730544"/>
              <a:gd name="connsiteY15" fmla="*/ 1045028 h 1240971"/>
              <a:gd name="connsiteX16" fmla="*/ 110595 w 5730544"/>
              <a:gd name="connsiteY16" fmla="*/ 1040004 h 1240971"/>
              <a:gd name="connsiteX17" fmla="*/ 135716 w 5730544"/>
              <a:gd name="connsiteY17" fmla="*/ 1019908 h 1240971"/>
              <a:gd name="connsiteX18" fmla="*/ 150788 w 5730544"/>
              <a:gd name="connsiteY18" fmla="*/ 1009859 h 1240971"/>
              <a:gd name="connsiteX19" fmla="*/ 175909 w 5730544"/>
              <a:gd name="connsiteY19" fmla="*/ 994787 h 1240971"/>
              <a:gd name="connsiteX20" fmla="*/ 216103 w 5730544"/>
              <a:gd name="connsiteY20" fmla="*/ 984738 h 1240971"/>
              <a:gd name="connsiteX21" fmla="*/ 286441 w 5730544"/>
              <a:gd name="connsiteY21" fmla="*/ 994787 h 1240971"/>
              <a:gd name="connsiteX22" fmla="*/ 301514 w 5730544"/>
              <a:gd name="connsiteY22" fmla="*/ 1004835 h 1240971"/>
              <a:gd name="connsiteX23" fmla="*/ 321610 w 5730544"/>
              <a:gd name="connsiteY23" fmla="*/ 1034980 h 1240971"/>
              <a:gd name="connsiteX24" fmla="*/ 356780 w 5730544"/>
              <a:gd name="connsiteY24" fmla="*/ 1065125 h 1240971"/>
              <a:gd name="connsiteX25" fmla="*/ 366828 w 5730544"/>
              <a:gd name="connsiteY25" fmla="*/ 1080198 h 1240971"/>
              <a:gd name="connsiteX26" fmla="*/ 381900 w 5730544"/>
              <a:gd name="connsiteY26" fmla="*/ 1085222 h 1240971"/>
              <a:gd name="connsiteX27" fmla="*/ 396973 w 5730544"/>
              <a:gd name="connsiteY27" fmla="*/ 1095270 h 1240971"/>
              <a:gd name="connsiteX28" fmla="*/ 407021 w 5730544"/>
              <a:gd name="connsiteY28" fmla="*/ 1105319 h 1240971"/>
              <a:gd name="connsiteX29" fmla="*/ 422094 w 5730544"/>
              <a:gd name="connsiteY29" fmla="*/ 1110343 h 1240971"/>
              <a:gd name="connsiteX30" fmla="*/ 437166 w 5730544"/>
              <a:gd name="connsiteY30" fmla="*/ 1120391 h 1240971"/>
              <a:gd name="connsiteX31" fmla="*/ 467311 w 5730544"/>
              <a:gd name="connsiteY31" fmla="*/ 1130439 h 1240971"/>
              <a:gd name="connsiteX32" fmla="*/ 522577 w 5730544"/>
              <a:gd name="connsiteY32" fmla="*/ 1115367 h 1240971"/>
              <a:gd name="connsiteX33" fmla="*/ 552722 w 5730544"/>
              <a:gd name="connsiteY33" fmla="*/ 1075173 h 1240971"/>
              <a:gd name="connsiteX34" fmla="*/ 567795 w 5730544"/>
              <a:gd name="connsiteY34" fmla="*/ 1070149 h 1240971"/>
              <a:gd name="connsiteX35" fmla="*/ 582867 w 5730544"/>
              <a:gd name="connsiteY35" fmla="*/ 1060101 h 1240971"/>
              <a:gd name="connsiteX36" fmla="*/ 638133 w 5730544"/>
              <a:gd name="connsiteY36" fmla="*/ 1045028 h 1240971"/>
              <a:gd name="connsiteX37" fmla="*/ 653206 w 5730544"/>
              <a:gd name="connsiteY37" fmla="*/ 1040004 h 1240971"/>
              <a:gd name="connsiteX38" fmla="*/ 693399 w 5730544"/>
              <a:gd name="connsiteY38" fmla="*/ 1045028 h 1240971"/>
              <a:gd name="connsiteX39" fmla="*/ 723544 w 5730544"/>
              <a:gd name="connsiteY39" fmla="*/ 1055077 h 1240971"/>
              <a:gd name="connsiteX40" fmla="*/ 733593 w 5730544"/>
              <a:gd name="connsiteY40" fmla="*/ 1065125 h 1240971"/>
              <a:gd name="connsiteX41" fmla="*/ 768762 w 5730544"/>
              <a:gd name="connsiteY41" fmla="*/ 1080198 h 1240971"/>
              <a:gd name="connsiteX42" fmla="*/ 803931 w 5730544"/>
              <a:gd name="connsiteY42" fmla="*/ 1105319 h 1240971"/>
              <a:gd name="connsiteX43" fmla="*/ 834076 w 5730544"/>
              <a:gd name="connsiteY43" fmla="*/ 1130439 h 1240971"/>
              <a:gd name="connsiteX44" fmla="*/ 869246 w 5730544"/>
              <a:gd name="connsiteY44" fmla="*/ 1140488 h 1240971"/>
              <a:gd name="connsiteX45" fmla="*/ 909439 w 5730544"/>
              <a:gd name="connsiteY45" fmla="*/ 1175657 h 1240971"/>
              <a:gd name="connsiteX46" fmla="*/ 939584 w 5730544"/>
              <a:gd name="connsiteY46" fmla="*/ 1185705 h 1240971"/>
              <a:gd name="connsiteX47" fmla="*/ 979777 w 5730544"/>
              <a:gd name="connsiteY47" fmla="*/ 1180681 h 1240971"/>
              <a:gd name="connsiteX48" fmla="*/ 989826 w 5730544"/>
              <a:gd name="connsiteY48" fmla="*/ 1170633 h 1240971"/>
              <a:gd name="connsiteX49" fmla="*/ 1004898 w 5730544"/>
              <a:gd name="connsiteY49" fmla="*/ 1150536 h 1240971"/>
              <a:gd name="connsiteX50" fmla="*/ 1014947 w 5730544"/>
              <a:gd name="connsiteY50" fmla="*/ 1120391 h 1240971"/>
              <a:gd name="connsiteX51" fmla="*/ 1040067 w 5730544"/>
              <a:gd name="connsiteY51" fmla="*/ 1095270 h 1240971"/>
              <a:gd name="connsiteX52" fmla="*/ 1050116 w 5730544"/>
              <a:gd name="connsiteY52" fmla="*/ 1085222 h 1240971"/>
              <a:gd name="connsiteX53" fmla="*/ 1075237 w 5730544"/>
              <a:gd name="connsiteY53" fmla="*/ 1065125 h 1240971"/>
              <a:gd name="connsiteX54" fmla="*/ 1090309 w 5730544"/>
              <a:gd name="connsiteY54" fmla="*/ 1050053 h 1240971"/>
              <a:gd name="connsiteX55" fmla="*/ 1120454 w 5730544"/>
              <a:gd name="connsiteY55" fmla="*/ 1040004 h 1240971"/>
              <a:gd name="connsiteX56" fmla="*/ 1135527 w 5730544"/>
              <a:gd name="connsiteY56" fmla="*/ 1034980 h 1240971"/>
              <a:gd name="connsiteX57" fmla="*/ 1160648 w 5730544"/>
              <a:gd name="connsiteY57" fmla="*/ 1019908 h 1240971"/>
              <a:gd name="connsiteX58" fmla="*/ 1175720 w 5730544"/>
              <a:gd name="connsiteY58" fmla="*/ 1014883 h 1240971"/>
              <a:gd name="connsiteX59" fmla="*/ 1195817 w 5730544"/>
              <a:gd name="connsiteY59" fmla="*/ 1004835 h 1240971"/>
              <a:gd name="connsiteX60" fmla="*/ 1281228 w 5730544"/>
              <a:gd name="connsiteY60" fmla="*/ 1014883 h 1240971"/>
              <a:gd name="connsiteX61" fmla="*/ 1296300 w 5730544"/>
              <a:gd name="connsiteY61" fmla="*/ 1024932 h 1240971"/>
              <a:gd name="connsiteX62" fmla="*/ 1311373 w 5730544"/>
              <a:gd name="connsiteY62" fmla="*/ 1029956 h 1240971"/>
              <a:gd name="connsiteX63" fmla="*/ 1326446 w 5730544"/>
              <a:gd name="connsiteY63" fmla="*/ 1060101 h 1240971"/>
              <a:gd name="connsiteX64" fmla="*/ 1341518 w 5730544"/>
              <a:gd name="connsiteY64" fmla="*/ 1065125 h 1240971"/>
              <a:gd name="connsiteX65" fmla="*/ 1356591 w 5730544"/>
              <a:gd name="connsiteY65" fmla="*/ 1075173 h 1240971"/>
              <a:gd name="connsiteX66" fmla="*/ 1396784 w 5730544"/>
              <a:gd name="connsiteY66" fmla="*/ 1090246 h 1240971"/>
              <a:gd name="connsiteX67" fmla="*/ 1447026 w 5730544"/>
              <a:gd name="connsiteY67" fmla="*/ 1105319 h 1240971"/>
              <a:gd name="connsiteX68" fmla="*/ 1462098 w 5730544"/>
              <a:gd name="connsiteY68" fmla="*/ 1110343 h 1240971"/>
              <a:gd name="connsiteX69" fmla="*/ 1497267 w 5730544"/>
              <a:gd name="connsiteY69" fmla="*/ 1120391 h 1240971"/>
              <a:gd name="connsiteX70" fmla="*/ 1552533 w 5730544"/>
              <a:gd name="connsiteY70" fmla="*/ 1115367 h 1240971"/>
              <a:gd name="connsiteX71" fmla="*/ 1567606 w 5730544"/>
              <a:gd name="connsiteY71" fmla="*/ 1110343 h 1240971"/>
              <a:gd name="connsiteX72" fmla="*/ 1587703 w 5730544"/>
              <a:gd name="connsiteY72" fmla="*/ 1090246 h 1240971"/>
              <a:gd name="connsiteX73" fmla="*/ 1637944 w 5730544"/>
              <a:gd name="connsiteY73" fmla="*/ 1050053 h 1240971"/>
              <a:gd name="connsiteX74" fmla="*/ 1653017 w 5730544"/>
              <a:gd name="connsiteY74" fmla="*/ 1029956 h 1240971"/>
              <a:gd name="connsiteX75" fmla="*/ 1688186 w 5730544"/>
              <a:gd name="connsiteY75" fmla="*/ 1019908 h 1240971"/>
              <a:gd name="connsiteX76" fmla="*/ 1788670 w 5730544"/>
              <a:gd name="connsiteY76" fmla="*/ 1029956 h 1240971"/>
              <a:gd name="connsiteX77" fmla="*/ 1818815 w 5730544"/>
              <a:gd name="connsiteY77" fmla="*/ 1040004 h 1240971"/>
              <a:gd name="connsiteX78" fmla="*/ 1853984 w 5730544"/>
              <a:gd name="connsiteY78" fmla="*/ 1050053 h 1240971"/>
              <a:gd name="connsiteX79" fmla="*/ 1869056 w 5730544"/>
              <a:gd name="connsiteY79" fmla="*/ 1060101 h 1240971"/>
              <a:gd name="connsiteX80" fmla="*/ 1894177 w 5730544"/>
              <a:gd name="connsiteY80" fmla="*/ 1065125 h 1240971"/>
              <a:gd name="connsiteX81" fmla="*/ 1949443 w 5730544"/>
              <a:gd name="connsiteY81" fmla="*/ 1085222 h 1240971"/>
              <a:gd name="connsiteX82" fmla="*/ 1969540 w 5730544"/>
              <a:gd name="connsiteY82" fmla="*/ 1090246 h 1240971"/>
              <a:gd name="connsiteX83" fmla="*/ 2014758 w 5730544"/>
              <a:gd name="connsiteY83" fmla="*/ 1110343 h 1240971"/>
              <a:gd name="connsiteX84" fmla="*/ 2039878 w 5730544"/>
              <a:gd name="connsiteY84" fmla="*/ 1125415 h 1240971"/>
              <a:gd name="connsiteX85" fmla="*/ 2120265 w 5730544"/>
              <a:gd name="connsiteY85" fmla="*/ 1120391 h 1240971"/>
              <a:gd name="connsiteX86" fmla="*/ 2130314 w 5730544"/>
              <a:gd name="connsiteY86" fmla="*/ 1110343 h 1240971"/>
              <a:gd name="connsiteX87" fmla="*/ 2155435 w 5730544"/>
              <a:gd name="connsiteY87" fmla="*/ 1100294 h 1240971"/>
              <a:gd name="connsiteX88" fmla="*/ 2190604 w 5730544"/>
              <a:gd name="connsiteY88" fmla="*/ 1070149 h 1240971"/>
              <a:gd name="connsiteX89" fmla="*/ 2230797 w 5730544"/>
              <a:gd name="connsiteY89" fmla="*/ 1040004 h 1240971"/>
              <a:gd name="connsiteX90" fmla="*/ 2245870 w 5730544"/>
              <a:gd name="connsiteY90" fmla="*/ 1034980 h 1240971"/>
              <a:gd name="connsiteX91" fmla="*/ 2270991 w 5730544"/>
              <a:gd name="connsiteY91" fmla="*/ 1019908 h 1240971"/>
              <a:gd name="connsiteX92" fmla="*/ 2301136 w 5730544"/>
              <a:gd name="connsiteY92" fmla="*/ 994787 h 1240971"/>
              <a:gd name="connsiteX93" fmla="*/ 2316208 w 5730544"/>
              <a:gd name="connsiteY93" fmla="*/ 989763 h 1240971"/>
              <a:gd name="connsiteX94" fmla="*/ 2396595 w 5730544"/>
              <a:gd name="connsiteY94" fmla="*/ 984738 h 1240971"/>
              <a:gd name="connsiteX95" fmla="*/ 2426740 w 5730544"/>
              <a:gd name="connsiteY95" fmla="*/ 989763 h 1240971"/>
              <a:gd name="connsiteX96" fmla="*/ 2461909 w 5730544"/>
              <a:gd name="connsiteY96" fmla="*/ 1024932 h 1240971"/>
              <a:gd name="connsiteX97" fmla="*/ 2476982 w 5730544"/>
              <a:gd name="connsiteY97" fmla="*/ 1029956 h 1240971"/>
              <a:gd name="connsiteX98" fmla="*/ 2487030 w 5730544"/>
              <a:gd name="connsiteY98" fmla="*/ 1045028 h 1240971"/>
              <a:gd name="connsiteX99" fmla="*/ 2497078 w 5730544"/>
              <a:gd name="connsiteY99" fmla="*/ 1055077 h 1240971"/>
              <a:gd name="connsiteX100" fmla="*/ 2532248 w 5730544"/>
              <a:gd name="connsiteY100" fmla="*/ 1095270 h 1240971"/>
              <a:gd name="connsiteX101" fmla="*/ 2567417 w 5730544"/>
              <a:gd name="connsiteY101" fmla="*/ 1135464 h 1240971"/>
              <a:gd name="connsiteX102" fmla="*/ 2582489 w 5730544"/>
              <a:gd name="connsiteY102" fmla="*/ 1145512 h 1240971"/>
              <a:gd name="connsiteX103" fmla="*/ 2622683 w 5730544"/>
              <a:gd name="connsiteY103" fmla="*/ 1170633 h 1240971"/>
              <a:gd name="connsiteX104" fmla="*/ 2657852 w 5730544"/>
              <a:gd name="connsiteY104" fmla="*/ 1160584 h 1240971"/>
              <a:gd name="connsiteX105" fmla="*/ 2682973 w 5730544"/>
              <a:gd name="connsiteY105" fmla="*/ 1145512 h 1240971"/>
              <a:gd name="connsiteX106" fmla="*/ 2713118 w 5730544"/>
              <a:gd name="connsiteY106" fmla="*/ 1130439 h 1240971"/>
              <a:gd name="connsiteX107" fmla="*/ 2728191 w 5730544"/>
              <a:gd name="connsiteY107" fmla="*/ 1120391 h 1240971"/>
              <a:gd name="connsiteX108" fmla="*/ 2748287 w 5730544"/>
              <a:gd name="connsiteY108" fmla="*/ 1115367 h 1240971"/>
              <a:gd name="connsiteX109" fmla="*/ 2778432 w 5730544"/>
              <a:gd name="connsiteY109" fmla="*/ 1105319 h 1240971"/>
              <a:gd name="connsiteX110" fmla="*/ 2868867 w 5730544"/>
              <a:gd name="connsiteY110" fmla="*/ 1075173 h 1240971"/>
              <a:gd name="connsiteX111" fmla="*/ 2893988 w 5730544"/>
              <a:gd name="connsiteY111" fmla="*/ 1070149 h 1240971"/>
              <a:gd name="connsiteX112" fmla="*/ 2919109 w 5730544"/>
              <a:gd name="connsiteY112" fmla="*/ 1075173 h 1240971"/>
              <a:gd name="connsiteX113" fmla="*/ 2934182 w 5730544"/>
              <a:gd name="connsiteY113" fmla="*/ 1080198 h 1240971"/>
              <a:gd name="connsiteX114" fmla="*/ 2944230 w 5730544"/>
              <a:gd name="connsiteY114" fmla="*/ 1110343 h 1240971"/>
              <a:gd name="connsiteX115" fmla="*/ 2959303 w 5730544"/>
              <a:gd name="connsiteY115" fmla="*/ 1125415 h 1240971"/>
              <a:gd name="connsiteX116" fmla="*/ 2979399 w 5730544"/>
              <a:gd name="connsiteY116" fmla="*/ 1155560 h 1240971"/>
              <a:gd name="connsiteX117" fmla="*/ 2994472 w 5730544"/>
              <a:gd name="connsiteY117" fmla="*/ 1160584 h 1240971"/>
              <a:gd name="connsiteX118" fmla="*/ 3014569 w 5730544"/>
              <a:gd name="connsiteY118" fmla="*/ 1180681 h 1240971"/>
              <a:gd name="connsiteX119" fmla="*/ 3024617 w 5730544"/>
              <a:gd name="connsiteY119" fmla="*/ 1190730 h 1240971"/>
              <a:gd name="connsiteX120" fmla="*/ 3069835 w 5730544"/>
              <a:gd name="connsiteY120" fmla="*/ 1215850 h 1240971"/>
              <a:gd name="connsiteX121" fmla="*/ 3079883 w 5730544"/>
              <a:gd name="connsiteY121" fmla="*/ 1225899 h 1240971"/>
              <a:gd name="connsiteX122" fmla="*/ 3099980 w 5730544"/>
              <a:gd name="connsiteY122" fmla="*/ 1230923 h 1240971"/>
              <a:gd name="connsiteX123" fmla="*/ 3130125 w 5730544"/>
              <a:gd name="connsiteY123" fmla="*/ 1240971 h 1240971"/>
              <a:gd name="connsiteX124" fmla="*/ 3180366 w 5730544"/>
              <a:gd name="connsiteY124" fmla="*/ 1235947 h 1240971"/>
              <a:gd name="connsiteX125" fmla="*/ 3195439 w 5730544"/>
              <a:gd name="connsiteY125" fmla="*/ 1225899 h 1240971"/>
              <a:gd name="connsiteX126" fmla="*/ 3220560 w 5730544"/>
              <a:gd name="connsiteY126" fmla="*/ 1215850 h 1240971"/>
              <a:gd name="connsiteX127" fmla="*/ 3255729 w 5730544"/>
              <a:gd name="connsiteY127" fmla="*/ 1185705 h 1240971"/>
              <a:gd name="connsiteX128" fmla="*/ 3295922 w 5730544"/>
              <a:gd name="connsiteY128" fmla="*/ 1160584 h 1240971"/>
              <a:gd name="connsiteX129" fmla="*/ 3310995 w 5730544"/>
              <a:gd name="connsiteY129" fmla="*/ 1145512 h 1240971"/>
              <a:gd name="connsiteX130" fmla="*/ 3351188 w 5730544"/>
              <a:gd name="connsiteY130" fmla="*/ 1140488 h 1240971"/>
              <a:gd name="connsiteX131" fmla="*/ 3406454 w 5730544"/>
              <a:gd name="connsiteY131" fmla="*/ 1155560 h 1240971"/>
              <a:gd name="connsiteX132" fmla="*/ 3426551 w 5730544"/>
              <a:gd name="connsiteY132" fmla="*/ 1165609 h 1240971"/>
              <a:gd name="connsiteX133" fmla="*/ 3441624 w 5730544"/>
              <a:gd name="connsiteY133" fmla="*/ 1175657 h 1240971"/>
              <a:gd name="connsiteX134" fmla="*/ 3456696 w 5730544"/>
              <a:gd name="connsiteY134" fmla="*/ 1180681 h 1240971"/>
              <a:gd name="connsiteX135" fmla="*/ 3466744 w 5730544"/>
              <a:gd name="connsiteY135" fmla="*/ 1195754 h 1240971"/>
              <a:gd name="connsiteX136" fmla="*/ 3527035 w 5730544"/>
              <a:gd name="connsiteY136" fmla="*/ 1200778 h 1240971"/>
              <a:gd name="connsiteX137" fmla="*/ 3542107 w 5730544"/>
              <a:gd name="connsiteY137" fmla="*/ 1190730 h 1240971"/>
              <a:gd name="connsiteX138" fmla="*/ 3567228 w 5730544"/>
              <a:gd name="connsiteY138" fmla="*/ 1180681 h 1240971"/>
              <a:gd name="connsiteX139" fmla="*/ 3587325 w 5730544"/>
              <a:gd name="connsiteY139" fmla="*/ 1150536 h 1240971"/>
              <a:gd name="connsiteX140" fmla="*/ 3617470 w 5730544"/>
              <a:gd name="connsiteY140" fmla="*/ 1125415 h 1240971"/>
              <a:gd name="connsiteX141" fmla="*/ 3632542 w 5730544"/>
              <a:gd name="connsiteY141" fmla="*/ 1105319 h 1240971"/>
              <a:gd name="connsiteX142" fmla="*/ 3662687 w 5730544"/>
              <a:gd name="connsiteY142" fmla="*/ 1085222 h 1240971"/>
              <a:gd name="connsiteX143" fmla="*/ 3697856 w 5730544"/>
              <a:gd name="connsiteY143" fmla="*/ 1070149 h 1240971"/>
              <a:gd name="connsiteX144" fmla="*/ 3707905 w 5730544"/>
              <a:gd name="connsiteY144" fmla="*/ 1060101 h 1240971"/>
              <a:gd name="connsiteX145" fmla="*/ 3743074 w 5730544"/>
              <a:gd name="connsiteY145" fmla="*/ 1040004 h 1240971"/>
              <a:gd name="connsiteX146" fmla="*/ 3813413 w 5730544"/>
              <a:gd name="connsiteY146" fmla="*/ 1024932 h 1240971"/>
              <a:gd name="connsiteX147" fmla="*/ 3833509 w 5730544"/>
              <a:gd name="connsiteY147" fmla="*/ 1014883 h 1240971"/>
              <a:gd name="connsiteX148" fmla="*/ 3858630 w 5730544"/>
              <a:gd name="connsiteY148" fmla="*/ 1009859 h 1240971"/>
              <a:gd name="connsiteX149" fmla="*/ 3873703 w 5730544"/>
              <a:gd name="connsiteY149" fmla="*/ 1004835 h 1240971"/>
              <a:gd name="connsiteX150" fmla="*/ 3923944 w 5730544"/>
              <a:gd name="connsiteY150" fmla="*/ 1014883 h 1240971"/>
              <a:gd name="connsiteX151" fmla="*/ 3933993 w 5730544"/>
              <a:gd name="connsiteY151" fmla="*/ 1029956 h 1240971"/>
              <a:gd name="connsiteX152" fmla="*/ 3964138 w 5730544"/>
              <a:gd name="connsiteY152" fmla="*/ 1075173 h 1240971"/>
              <a:gd name="connsiteX153" fmla="*/ 3969162 w 5730544"/>
              <a:gd name="connsiteY153" fmla="*/ 1100294 h 1240971"/>
              <a:gd name="connsiteX154" fmla="*/ 3979210 w 5730544"/>
              <a:gd name="connsiteY154" fmla="*/ 1110343 h 1240971"/>
              <a:gd name="connsiteX155" fmla="*/ 3984235 w 5730544"/>
              <a:gd name="connsiteY155" fmla="*/ 1130439 h 1240971"/>
              <a:gd name="connsiteX156" fmla="*/ 4019404 w 5730544"/>
              <a:gd name="connsiteY156" fmla="*/ 1165609 h 1240971"/>
              <a:gd name="connsiteX157" fmla="*/ 4064621 w 5730544"/>
              <a:gd name="connsiteY157" fmla="*/ 1150536 h 1240971"/>
              <a:gd name="connsiteX158" fmla="*/ 4079694 w 5730544"/>
              <a:gd name="connsiteY158" fmla="*/ 1125415 h 1240971"/>
              <a:gd name="connsiteX159" fmla="*/ 4099791 w 5730544"/>
              <a:gd name="connsiteY159" fmla="*/ 1105319 h 1240971"/>
              <a:gd name="connsiteX160" fmla="*/ 4129936 w 5730544"/>
              <a:gd name="connsiteY160" fmla="*/ 1075173 h 1240971"/>
              <a:gd name="connsiteX161" fmla="*/ 4150032 w 5730544"/>
              <a:gd name="connsiteY161" fmla="*/ 1040004 h 1240971"/>
              <a:gd name="connsiteX162" fmla="*/ 4160081 w 5730544"/>
              <a:gd name="connsiteY162" fmla="*/ 1019908 h 1240971"/>
              <a:gd name="connsiteX163" fmla="*/ 4165105 w 5730544"/>
              <a:gd name="connsiteY163" fmla="*/ 1004835 h 1240971"/>
              <a:gd name="connsiteX164" fmla="*/ 4185202 w 5730544"/>
              <a:gd name="connsiteY164" fmla="*/ 984738 h 1240971"/>
              <a:gd name="connsiteX165" fmla="*/ 4200274 w 5730544"/>
              <a:gd name="connsiteY165" fmla="*/ 979714 h 1240971"/>
              <a:gd name="connsiteX166" fmla="*/ 4235443 w 5730544"/>
              <a:gd name="connsiteY166" fmla="*/ 954593 h 1240971"/>
              <a:gd name="connsiteX167" fmla="*/ 4275637 w 5730544"/>
              <a:gd name="connsiteY167" fmla="*/ 934497 h 1240971"/>
              <a:gd name="connsiteX168" fmla="*/ 4310806 w 5730544"/>
              <a:gd name="connsiteY168" fmla="*/ 914400 h 1240971"/>
              <a:gd name="connsiteX169" fmla="*/ 4325878 w 5730544"/>
              <a:gd name="connsiteY169" fmla="*/ 904352 h 1240971"/>
              <a:gd name="connsiteX170" fmla="*/ 4381144 w 5730544"/>
              <a:gd name="connsiteY170" fmla="*/ 904352 h 1240971"/>
              <a:gd name="connsiteX171" fmla="*/ 4401241 w 5730544"/>
              <a:gd name="connsiteY171" fmla="*/ 914400 h 1240971"/>
              <a:gd name="connsiteX172" fmla="*/ 4416314 w 5730544"/>
              <a:gd name="connsiteY172" fmla="*/ 919424 h 1240971"/>
              <a:gd name="connsiteX173" fmla="*/ 4431386 w 5730544"/>
              <a:gd name="connsiteY173" fmla="*/ 929472 h 1240971"/>
              <a:gd name="connsiteX174" fmla="*/ 4456507 w 5730544"/>
              <a:gd name="connsiteY174" fmla="*/ 974690 h 1240971"/>
              <a:gd name="connsiteX175" fmla="*/ 4476604 w 5730544"/>
              <a:gd name="connsiteY175" fmla="*/ 999811 h 1240971"/>
              <a:gd name="connsiteX176" fmla="*/ 4567039 w 5730544"/>
              <a:gd name="connsiteY176" fmla="*/ 994787 h 1240971"/>
              <a:gd name="connsiteX177" fmla="*/ 4597184 w 5730544"/>
              <a:gd name="connsiteY177" fmla="*/ 969666 h 1240971"/>
              <a:gd name="connsiteX178" fmla="*/ 4617281 w 5730544"/>
              <a:gd name="connsiteY178" fmla="*/ 959617 h 1240971"/>
              <a:gd name="connsiteX179" fmla="*/ 4632353 w 5730544"/>
              <a:gd name="connsiteY179" fmla="*/ 944545 h 1240971"/>
              <a:gd name="connsiteX180" fmla="*/ 4652450 w 5730544"/>
              <a:gd name="connsiteY180" fmla="*/ 934497 h 1240971"/>
              <a:gd name="connsiteX181" fmla="*/ 4672547 w 5730544"/>
              <a:gd name="connsiteY181" fmla="*/ 919424 h 1240971"/>
              <a:gd name="connsiteX182" fmla="*/ 4737861 w 5730544"/>
              <a:gd name="connsiteY182" fmla="*/ 884255 h 1240971"/>
              <a:gd name="connsiteX183" fmla="*/ 4762982 w 5730544"/>
              <a:gd name="connsiteY183" fmla="*/ 879231 h 1240971"/>
              <a:gd name="connsiteX184" fmla="*/ 4778054 w 5730544"/>
              <a:gd name="connsiteY184" fmla="*/ 874206 h 1240971"/>
              <a:gd name="connsiteX185" fmla="*/ 4819294 w 5730544"/>
              <a:gd name="connsiteY185" fmla="*/ 873944 h 1240971"/>
              <a:gd name="connsiteX186" fmla="*/ 4877465 w 5730544"/>
              <a:gd name="connsiteY186" fmla="*/ 895638 h 1240971"/>
              <a:gd name="connsiteX187" fmla="*/ 4935347 w 5730544"/>
              <a:gd name="connsiteY187" fmla="*/ 934523 h 1240971"/>
              <a:gd name="connsiteX188" fmla="*/ 4995402 w 5730544"/>
              <a:gd name="connsiteY188" fmla="*/ 1006746 h 1240971"/>
              <a:gd name="connsiteX189" fmla="*/ 5024762 w 5730544"/>
              <a:gd name="connsiteY189" fmla="*/ 1051963 h 1240971"/>
              <a:gd name="connsiteX190" fmla="*/ 5092223 w 5730544"/>
              <a:gd name="connsiteY190" fmla="*/ 1016506 h 1240971"/>
              <a:gd name="connsiteX191" fmla="*/ 5144322 w 5730544"/>
              <a:gd name="connsiteY191" fmla="*/ 948261 h 1240971"/>
              <a:gd name="connsiteX192" fmla="*/ 5189252 w 5730544"/>
              <a:gd name="connsiteY192" fmla="*/ 886112 h 1240971"/>
              <a:gd name="connsiteX193" fmla="*/ 5226279 w 5730544"/>
              <a:gd name="connsiteY193" fmla="*/ 856230 h 1240971"/>
              <a:gd name="connsiteX194" fmla="*/ 5260637 w 5730544"/>
              <a:gd name="connsiteY194" fmla="*/ 822918 h 1240971"/>
              <a:gd name="connsiteX195" fmla="*/ 5295282 w 5730544"/>
              <a:gd name="connsiteY195" fmla="*/ 800440 h 1240971"/>
              <a:gd name="connsiteX196" fmla="*/ 5334430 w 5730544"/>
              <a:gd name="connsiteY196" fmla="*/ 794893 h 1240971"/>
              <a:gd name="connsiteX197" fmla="*/ 5412174 w 5730544"/>
              <a:gd name="connsiteY197" fmla="*/ 824252 h 1240971"/>
              <a:gd name="connsiteX198" fmla="*/ 5431197 w 5730544"/>
              <a:gd name="connsiteY198" fmla="*/ 768699 h 1240971"/>
              <a:gd name="connsiteX199" fmla="*/ 5441246 w 5730544"/>
              <a:gd name="connsiteY199" fmla="*/ 753626 h 1240971"/>
              <a:gd name="connsiteX200" fmla="*/ 5456318 w 5730544"/>
              <a:gd name="connsiteY200" fmla="*/ 708409 h 1240971"/>
              <a:gd name="connsiteX201" fmla="*/ 5466366 w 5730544"/>
              <a:gd name="connsiteY201" fmla="*/ 683288 h 1240971"/>
              <a:gd name="connsiteX202" fmla="*/ 5476415 w 5730544"/>
              <a:gd name="connsiteY202" fmla="*/ 643094 h 1240971"/>
              <a:gd name="connsiteX203" fmla="*/ 5491487 w 5730544"/>
              <a:gd name="connsiteY203" fmla="*/ 617973 h 1240971"/>
              <a:gd name="connsiteX204" fmla="*/ 5506560 w 5730544"/>
              <a:gd name="connsiteY204" fmla="*/ 572756 h 1240971"/>
              <a:gd name="connsiteX205" fmla="*/ 5526656 w 5730544"/>
              <a:gd name="connsiteY205" fmla="*/ 522514 h 1240971"/>
              <a:gd name="connsiteX206" fmla="*/ 5546753 w 5730544"/>
              <a:gd name="connsiteY206" fmla="*/ 467248 h 1240971"/>
              <a:gd name="connsiteX207" fmla="*/ 5556802 w 5730544"/>
              <a:gd name="connsiteY207" fmla="*/ 411982 h 1240971"/>
              <a:gd name="connsiteX208" fmla="*/ 5566850 w 5730544"/>
              <a:gd name="connsiteY208" fmla="*/ 381837 h 1240971"/>
              <a:gd name="connsiteX209" fmla="*/ 5576898 w 5730544"/>
              <a:gd name="connsiteY209" fmla="*/ 356716 h 1240971"/>
              <a:gd name="connsiteX210" fmla="*/ 5596995 w 5730544"/>
              <a:gd name="connsiteY210" fmla="*/ 316523 h 1240971"/>
              <a:gd name="connsiteX211" fmla="*/ 5617092 w 5730544"/>
              <a:gd name="connsiteY211" fmla="*/ 246184 h 1240971"/>
              <a:gd name="connsiteX212" fmla="*/ 5622116 w 5730544"/>
              <a:gd name="connsiteY212" fmla="*/ 226088 h 1240971"/>
              <a:gd name="connsiteX213" fmla="*/ 5632164 w 5730544"/>
              <a:gd name="connsiteY213" fmla="*/ 216039 h 1240971"/>
              <a:gd name="connsiteX214" fmla="*/ 5637188 w 5730544"/>
              <a:gd name="connsiteY214" fmla="*/ 200967 h 1240971"/>
              <a:gd name="connsiteX215" fmla="*/ 5642213 w 5730544"/>
              <a:gd name="connsiteY215" fmla="*/ 180870 h 1240971"/>
              <a:gd name="connsiteX216" fmla="*/ 5652261 w 5730544"/>
              <a:gd name="connsiteY216" fmla="*/ 165798 h 1240971"/>
              <a:gd name="connsiteX217" fmla="*/ 5693265 w 5730544"/>
              <a:gd name="connsiteY217" fmla="*/ 101268 h 1240971"/>
              <a:gd name="connsiteX218" fmla="*/ 5728722 w 5730544"/>
              <a:gd name="connsiteY218" fmla="*/ 42287 h 1240971"/>
              <a:gd name="connsiteX219" fmla="*/ 5634284 w 5730544"/>
              <a:gd name="connsiteY219" fmla="*/ 25357 h 1240971"/>
              <a:gd name="connsiteX220" fmla="*/ 5575040 w 5730544"/>
              <a:gd name="connsiteY220" fmla="*/ 39120 h 1240971"/>
              <a:gd name="connsiteX221" fmla="*/ 5470369 w 5730544"/>
              <a:gd name="connsiteY221" fmla="*/ 39381 h 1240971"/>
              <a:gd name="connsiteX222" fmla="*/ 5379124 w 5730544"/>
              <a:gd name="connsiteY222" fmla="*/ 39644 h 1240971"/>
              <a:gd name="connsiteX223" fmla="*/ 5309282 w 5730544"/>
              <a:gd name="connsiteY223" fmla="*/ 42287 h 1240971"/>
              <a:gd name="connsiteX224" fmla="*/ 5238682 w 5730544"/>
              <a:gd name="connsiteY224" fmla="*/ 54455 h 1240971"/>
              <a:gd name="connsiteX225" fmla="*/ 5075554 w 5730544"/>
              <a:gd name="connsiteY225" fmla="*/ 56574 h 1240971"/>
              <a:gd name="connsiteX226" fmla="*/ 4989070 w 5730544"/>
              <a:gd name="connsiteY226" fmla="*/ 65314 h 1240971"/>
              <a:gd name="connsiteX227" fmla="*/ 4946233 w 5730544"/>
              <a:gd name="connsiteY227" fmla="*/ 41240 h 1240971"/>
              <a:gd name="connsiteX228" fmla="*/ 4823272 w 5730544"/>
              <a:gd name="connsiteY228" fmla="*/ 50242 h 1240971"/>
              <a:gd name="connsiteX229" fmla="*/ 4727577 w 5730544"/>
              <a:gd name="connsiteY229" fmla="*/ 29073 h 1240971"/>
              <a:gd name="connsiteX230" fmla="*/ 4628376 w 5730544"/>
              <a:gd name="connsiteY230" fmla="*/ 41240 h 1240971"/>
              <a:gd name="connsiteX231" fmla="*/ 4565180 w 5730544"/>
              <a:gd name="connsiteY231" fmla="*/ 46264 h 1240971"/>
              <a:gd name="connsiteX232" fmla="*/ 4417596 w 5730544"/>
              <a:gd name="connsiteY232" fmla="*/ 44406 h 1240971"/>
              <a:gd name="connsiteX233" fmla="*/ 4139984 w 5730544"/>
              <a:gd name="connsiteY233" fmla="*/ 60290 h 1240971"/>
              <a:gd name="connsiteX234" fmla="*/ 3918920 w 5730544"/>
              <a:gd name="connsiteY234" fmla="*/ 50242 h 1240971"/>
              <a:gd name="connsiteX235" fmla="*/ 3873703 w 5730544"/>
              <a:gd name="connsiteY235" fmla="*/ 45217 h 1240971"/>
              <a:gd name="connsiteX236" fmla="*/ 3687808 w 5730544"/>
              <a:gd name="connsiteY236" fmla="*/ 40193 h 1240971"/>
              <a:gd name="connsiteX237" fmla="*/ 3662687 w 5730544"/>
              <a:gd name="connsiteY237" fmla="*/ 35169 h 1240971"/>
              <a:gd name="connsiteX238" fmla="*/ 3627518 w 5730544"/>
              <a:gd name="connsiteY238" fmla="*/ 25121 h 1240971"/>
              <a:gd name="connsiteX239" fmla="*/ 3547131 w 5730544"/>
              <a:gd name="connsiteY239" fmla="*/ 20097 h 1240971"/>
              <a:gd name="connsiteX240" fmla="*/ 3310995 w 5730544"/>
              <a:gd name="connsiteY240" fmla="*/ 25121 h 1240971"/>
              <a:gd name="connsiteX241" fmla="*/ 3265777 w 5730544"/>
              <a:gd name="connsiteY241" fmla="*/ 30145 h 1240971"/>
              <a:gd name="connsiteX242" fmla="*/ 3175342 w 5730544"/>
              <a:gd name="connsiteY242" fmla="*/ 35169 h 1240971"/>
              <a:gd name="connsiteX243" fmla="*/ 2582489 w 5730544"/>
              <a:gd name="connsiteY243" fmla="*/ 45217 h 1240971"/>
              <a:gd name="connsiteX244" fmla="*/ 2255918 w 5730544"/>
              <a:gd name="connsiteY244" fmla="*/ 40193 h 1240971"/>
              <a:gd name="connsiteX245" fmla="*/ 1974564 w 5730544"/>
              <a:gd name="connsiteY245" fmla="*/ 30145 h 1240971"/>
              <a:gd name="connsiteX246" fmla="*/ 1944419 w 5730544"/>
              <a:gd name="connsiteY246" fmla="*/ 25121 h 1240971"/>
              <a:gd name="connsiteX247" fmla="*/ 1848960 w 5730544"/>
              <a:gd name="connsiteY247" fmla="*/ 20097 h 1240971"/>
              <a:gd name="connsiteX248" fmla="*/ 1768573 w 5730544"/>
              <a:gd name="connsiteY248" fmla="*/ 10048 h 1240971"/>
              <a:gd name="connsiteX249" fmla="*/ 1502292 w 5730544"/>
              <a:gd name="connsiteY249" fmla="*/ 20097 h 1240971"/>
              <a:gd name="connsiteX250" fmla="*/ 1467122 w 5730544"/>
              <a:gd name="connsiteY250" fmla="*/ 25121 h 1240971"/>
              <a:gd name="connsiteX251" fmla="*/ 1426929 w 5730544"/>
              <a:gd name="connsiteY251" fmla="*/ 30145 h 1240971"/>
              <a:gd name="connsiteX252" fmla="*/ 1341518 w 5730544"/>
              <a:gd name="connsiteY252" fmla="*/ 45217 h 1240971"/>
              <a:gd name="connsiteX253" fmla="*/ 1095333 w 5730544"/>
              <a:gd name="connsiteY253" fmla="*/ 35169 h 1240971"/>
              <a:gd name="connsiteX254" fmla="*/ 979777 w 5730544"/>
              <a:gd name="connsiteY254" fmla="*/ 20097 h 1240971"/>
              <a:gd name="connsiteX255" fmla="*/ 939584 w 5730544"/>
              <a:gd name="connsiteY255" fmla="*/ 10048 h 1240971"/>
              <a:gd name="connsiteX256" fmla="*/ 813980 w 5730544"/>
              <a:gd name="connsiteY256" fmla="*/ 0 h 1240971"/>
              <a:gd name="connsiteX257" fmla="*/ 743641 w 5730544"/>
              <a:gd name="connsiteY257" fmla="*/ 5024 h 1240971"/>
              <a:gd name="connsiteX258" fmla="*/ 582867 w 5730544"/>
              <a:gd name="connsiteY258" fmla="*/ 15072 h 1240971"/>
              <a:gd name="connsiteX259" fmla="*/ 432142 w 5730544"/>
              <a:gd name="connsiteY259" fmla="*/ 5024 h 1240971"/>
              <a:gd name="connsiteX260" fmla="*/ 412046 w 5730544"/>
              <a:gd name="connsiteY260" fmla="*/ 0 h 1240971"/>
              <a:gd name="connsiteX261" fmla="*/ 281417 w 5730544"/>
              <a:gd name="connsiteY261" fmla="*/ 10048 h 1240971"/>
              <a:gd name="connsiteX262" fmla="*/ 261320 w 5730544"/>
              <a:gd name="connsiteY262" fmla="*/ 15072 h 1240971"/>
              <a:gd name="connsiteX263" fmla="*/ 100547 w 5730544"/>
              <a:gd name="connsiteY263" fmla="*/ 20097 h 1240971"/>
              <a:gd name="connsiteX264" fmla="*/ 5087 w 5730544"/>
              <a:gd name="connsiteY264" fmla="*/ 30145 h 1240971"/>
              <a:gd name="connsiteX0" fmla="*/ 5087 w 5730544"/>
              <a:gd name="connsiteY0" fmla="*/ 30145 h 1240971"/>
              <a:gd name="connsiteX1" fmla="*/ 15136 w 5730544"/>
              <a:gd name="connsiteY1" fmla="*/ 115556 h 1240971"/>
              <a:gd name="connsiteX2" fmla="*/ 20160 w 5730544"/>
              <a:gd name="connsiteY2" fmla="*/ 150725 h 1240971"/>
              <a:gd name="connsiteX3" fmla="*/ 25184 w 5730544"/>
              <a:gd name="connsiteY3" fmla="*/ 236136 h 1240971"/>
              <a:gd name="connsiteX4" fmla="*/ 35232 w 5730544"/>
              <a:gd name="connsiteY4" fmla="*/ 311499 h 1240971"/>
              <a:gd name="connsiteX5" fmla="*/ 40256 w 5730544"/>
              <a:gd name="connsiteY5" fmla="*/ 783771 h 1240971"/>
              <a:gd name="connsiteX6" fmla="*/ 45281 w 5730544"/>
              <a:gd name="connsiteY6" fmla="*/ 864158 h 1240971"/>
              <a:gd name="connsiteX7" fmla="*/ 35232 w 5730544"/>
              <a:gd name="connsiteY7" fmla="*/ 1034980 h 1240971"/>
              <a:gd name="connsiteX8" fmla="*/ 25184 w 5730544"/>
              <a:gd name="connsiteY8" fmla="*/ 1100294 h 1240971"/>
              <a:gd name="connsiteX9" fmla="*/ 20160 w 5730544"/>
              <a:gd name="connsiteY9" fmla="*/ 1150536 h 1240971"/>
              <a:gd name="connsiteX10" fmla="*/ 25184 w 5730544"/>
              <a:gd name="connsiteY10" fmla="*/ 1170633 h 1240971"/>
              <a:gd name="connsiteX11" fmla="*/ 35232 w 5730544"/>
              <a:gd name="connsiteY11" fmla="*/ 1160584 h 1240971"/>
              <a:gd name="connsiteX12" fmla="*/ 55329 w 5730544"/>
              <a:gd name="connsiteY12" fmla="*/ 1100294 h 1240971"/>
              <a:gd name="connsiteX13" fmla="*/ 60353 w 5730544"/>
              <a:gd name="connsiteY13" fmla="*/ 1085222 h 1240971"/>
              <a:gd name="connsiteX14" fmla="*/ 70402 w 5730544"/>
              <a:gd name="connsiteY14" fmla="*/ 1075173 h 1240971"/>
              <a:gd name="connsiteX15" fmla="*/ 95522 w 5730544"/>
              <a:gd name="connsiteY15" fmla="*/ 1045028 h 1240971"/>
              <a:gd name="connsiteX16" fmla="*/ 110595 w 5730544"/>
              <a:gd name="connsiteY16" fmla="*/ 1040004 h 1240971"/>
              <a:gd name="connsiteX17" fmla="*/ 135716 w 5730544"/>
              <a:gd name="connsiteY17" fmla="*/ 1019908 h 1240971"/>
              <a:gd name="connsiteX18" fmla="*/ 150788 w 5730544"/>
              <a:gd name="connsiteY18" fmla="*/ 1009859 h 1240971"/>
              <a:gd name="connsiteX19" fmla="*/ 175909 w 5730544"/>
              <a:gd name="connsiteY19" fmla="*/ 994787 h 1240971"/>
              <a:gd name="connsiteX20" fmla="*/ 216103 w 5730544"/>
              <a:gd name="connsiteY20" fmla="*/ 984738 h 1240971"/>
              <a:gd name="connsiteX21" fmla="*/ 286441 w 5730544"/>
              <a:gd name="connsiteY21" fmla="*/ 994787 h 1240971"/>
              <a:gd name="connsiteX22" fmla="*/ 301514 w 5730544"/>
              <a:gd name="connsiteY22" fmla="*/ 1004835 h 1240971"/>
              <a:gd name="connsiteX23" fmla="*/ 321610 w 5730544"/>
              <a:gd name="connsiteY23" fmla="*/ 1034980 h 1240971"/>
              <a:gd name="connsiteX24" fmla="*/ 356780 w 5730544"/>
              <a:gd name="connsiteY24" fmla="*/ 1065125 h 1240971"/>
              <a:gd name="connsiteX25" fmla="*/ 366828 w 5730544"/>
              <a:gd name="connsiteY25" fmla="*/ 1080198 h 1240971"/>
              <a:gd name="connsiteX26" fmla="*/ 381900 w 5730544"/>
              <a:gd name="connsiteY26" fmla="*/ 1085222 h 1240971"/>
              <a:gd name="connsiteX27" fmla="*/ 396973 w 5730544"/>
              <a:gd name="connsiteY27" fmla="*/ 1095270 h 1240971"/>
              <a:gd name="connsiteX28" fmla="*/ 407021 w 5730544"/>
              <a:gd name="connsiteY28" fmla="*/ 1105319 h 1240971"/>
              <a:gd name="connsiteX29" fmla="*/ 422094 w 5730544"/>
              <a:gd name="connsiteY29" fmla="*/ 1110343 h 1240971"/>
              <a:gd name="connsiteX30" fmla="*/ 437166 w 5730544"/>
              <a:gd name="connsiteY30" fmla="*/ 1120391 h 1240971"/>
              <a:gd name="connsiteX31" fmla="*/ 467311 w 5730544"/>
              <a:gd name="connsiteY31" fmla="*/ 1130439 h 1240971"/>
              <a:gd name="connsiteX32" fmla="*/ 522577 w 5730544"/>
              <a:gd name="connsiteY32" fmla="*/ 1115367 h 1240971"/>
              <a:gd name="connsiteX33" fmla="*/ 552722 w 5730544"/>
              <a:gd name="connsiteY33" fmla="*/ 1075173 h 1240971"/>
              <a:gd name="connsiteX34" fmla="*/ 567795 w 5730544"/>
              <a:gd name="connsiteY34" fmla="*/ 1070149 h 1240971"/>
              <a:gd name="connsiteX35" fmla="*/ 582867 w 5730544"/>
              <a:gd name="connsiteY35" fmla="*/ 1060101 h 1240971"/>
              <a:gd name="connsiteX36" fmla="*/ 638133 w 5730544"/>
              <a:gd name="connsiteY36" fmla="*/ 1045028 h 1240971"/>
              <a:gd name="connsiteX37" fmla="*/ 653206 w 5730544"/>
              <a:gd name="connsiteY37" fmla="*/ 1040004 h 1240971"/>
              <a:gd name="connsiteX38" fmla="*/ 693399 w 5730544"/>
              <a:gd name="connsiteY38" fmla="*/ 1045028 h 1240971"/>
              <a:gd name="connsiteX39" fmla="*/ 723544 w 5730544"/>
              <a:gd name="connsiteY39" fmla="*/ 1055077 h 1240971"/>
              <a:gd name="connsiteX40" fmla="*/ 733593 w 5730544"/>
              <a:gd name="connsiteY40" fmla="*/ 1065125 h 1240971"/>
              <a:gd name="connsiteX41" fmla="*/ 768762 w 5730544"/>
              <a:gd name="connsiteY41" fmla="*/ 1080198 h 1240971"/>
              <a:gd name="connsiteX42" fmla="*/ 803931 w 5730544"/>
              <a:gd name="connsiteY42" fmla="*/ 1105319 h 1240971"/>
              <a:gd name="connsiteX43" fmla="*/ 834076 w 5730544"/>
              <a:gd name="connsiteY43" fmla="*/ 1130439 h 1240971"/>
              <a:gd name="connsiteX44" fmla="*/ 869246 w 5730544"/>
              <a:gd name="connsiteY44" fmla="*/ 1140488 h 1240971"/>
              <a:gd name="connsiteX45" fmla="*/ 909439 w 5730544"/>
              <a:gd name="connsiteY45" fmla="*/ 1175657 h 1240971"/>
              <a:gd name="connsiteX46" fmla="*/ 939584 w 5730544"/>
              <a:gd name="connsiteY46" fmla="*/ 1185705 h 1240971"/>
              <a:gd name="connsiteX47" fmla="*/ 979777 w 5730544"/>
              <a:gd name="connsiteY47" fmla="*/ 1180681 h 1240971"/>
              <a:gd name="connsiteX48" fmla="*/ 989826 w 5730544"/>
              <a:gd name="connsiteY48" fmla="*/ 1170633 h 1240971"/>
              <a:gd name="connsiteX49" fmla="*/ 1004898 w 5730544"/>
              <a:gd name="connsiteY49" fmla="*/ 1150536 h 1240971"/>
              <a:gd name="connsiteX50" fmla="*/ 1014947 w 5730544"/>
              <a:gd name="connsiteY50" fmla="*/ 1120391 h 1240971"/>
              <a:gd name="connsiteX51" fmla="*/ 1040067 w 5730544"/>
              <a:gd name="connsiteY51" fmla="*/ 1095270 h 1240971"/>
              <a:gd name="connsiteX52" fmla="*/ 1050116 w 5730544"/>
              <a:gd name="connsiteY52" fmla="*/ 1085222 h 1240971"/>
              <a:gd name="connsiteX53" fmla="*/ 1075237 w 5730544"/>
              <a:gd name="connsiteY53" fmla="*/ 1065125 h 1240971"/>
              <a:gd name="connsiteX54" fmla="*/ 1090309 w 5730544"/>
              <a:gd name="connsiteY54" fmla="*/ 1050053 h 1240971"/>
              <a:gd name="connsiteX55" fmla="*/ 1120454 w 5730544"/>
              <a:gd name="connsiteY55" fmla="*/ 1040004 h 1240971"/>
              <a:gd name="connsiteX56" fmla="*/ 1135527 w 5730544"/>
              <a:gd name="connsiteY56" fmla="*/ 1034980 h 1240971"/>
              <a:gd name="connsiteX57" fmla="*/ 1160648 w 5730544"/>
              <a:gd name="connsiteY57" fmla="*/ 1019908 h 1240971"/>
              <a:gd name="connsiteX58" fmla="*/ 1175720 w 5730544"/>
              <a:gd name="connsiteY58" fmla="*/ 1014883 h 1240971"/>
              <a:gd name="connsiteX59" fmla="*/ 1195817 w 5730544"/>
              <a:gd name="connsiteY59" fmla="*/ 1004835 h 1240971"/>
              <a:gd name="connsiteX60" fmla="*/ 1281228 w 5730544"/>
              <a:gd name="connsiteY60" fmla="*/ 1014883 h 1240971"/>
              <a:gd name="connsiteX61" fmla="*/ 1296300 w 5730544"/>
              <a:gd name="connsiteY61" fmla="*/ 1024932 h 1240971"/>
              <a:gd name="connsiteX62" fmla="*/ 1311373 w 5730544"/>
              <a:gd name="connsiteY62" fmla="*/ 1029956 h 1240971"/>
              <a:gd name="connsiteX63" fmla="*/ 1326446 w 5730544"/>
              <a:gd name="connsiteY63" fmla="*/ 1060101 h 1240971"/>
              <a:gd name="connsiteX64" fmla="*/ 1341518 w 5730544"/>
              <a:gd name="connsiteY64" fmla="*/ 1065125 h 1240971"/>
              <a:gd name="connsiteX65" fmla="*/ 1356591 w 5730544"/>
              <a:gd name="connsiteY65" fmla="*/ 1075173 h 1240971"/>
              <a:gd name="connsiteX66" fmla="*/ 1396784 w 5730544"/>
              <a:gd name="connsiteY66" fmla="*/ 1090246 h 1240971"/>
              <a:gd name="connsiteX67" fmla="*/ 1447026 w 5730544"/>
              <a:gd name="connsiteY67" fmla="*/ 1105319 h 1240971"/>
              <a:gd name="connsiteX68" fmla="*/ 1462098 w 5730544"/>
              <a:gd name="connsiteY68" fmla="*/ 1110343 h 1240971"/>
              <a:gd name="connsiteX69" fmla="*/ 1497267 w 5730544"/>
              <a:gd name="connsiteY69" fmla="*/ 1120391 h 1240971"/>
              <a:gd name="connsiteX70" fmla="*/ 1552533 w 5730544"/>
              <a:gd name="connsiteY70" fmla="*/ 1115367 h 1240971"/>
              <a:gd name="connsiteX71" fmla="*/ 1567606 w 5730544"/>
              <a:gd name="connsiteY71" fmla="*/ 1110343 h 1240971"/>
              <a:gd name="connsiteX72" fmla="*/ 1587703 w 5730544"/>
              <a:gd name="connsiteY72" fmla="*/ 1090246 h 1240971"/>
              <a:gd name="connsiteX73" fmla="*/ 1637944 w 5730544"/>
              <a:gd name="connsiteY73" fmla="*/ 1050053 h 1240971"/>
              <a:gd name="connsiteX74" fmla="*/ 1653017 w 5730544"/>
              <a:gd name="connsiteY74" fmla="*/ 1029956 h 1240971"/>
              <a:gd name="connsiteX75" fmla="*/ 1688186 w 5730544"/>
              <a:gd name="connsiteY75" fmla="*/ 1019908 h 1240971"/>
              <a:gd name="connsiteX76" fmla="*/ 1788670 w 5730544"/>
              <a:gd name="connsiteY76" fmla="*/ 1029956 h 1240971"/>
              <a:gd name="connsiteX77" fmla="*/ 1818815 w 5730544"/>
              <a:gd name="connsiteY77" fmla="*/ 1040004 h 1240971"/>
              <a:gd name="connsiteX78" fmla="*/ 1853984 w 5730544"/>
              <a:gd name="connsiteY78" fmla="*/ 1050053 h 1240971"/>
              <a:gd name="connsiteX79" fmla="*/ 1869056 w 5730544"/>
              <a:gd name="connsiteY79" fmla="*/ 1060101 h 1240971"/>
              <a:gd name="connsiteX80" fmla="*/ 1894177 w 5730544"/>
              <a:gd name="connsiteY80" fmla="*/ 1065125 h 1240971"/>
              <a:gd name="connsiteX81" fmla="*/ 1949443 w 5730544"/>
              <a:gd name="connsiteY81" fmla="*/ 1085222 h 1240971"/>
              <a:gd name="connsiteX82" fmla="*/ 1969540 w 5730544"/>
              <a:gd name="connsiteY82" fmla="*/ 1090246 h 1240971"/>
              <a:gd name="connsiteX83" fmla="*/ 2014758 w 5730544"/>
              <a:gd name="connsiteY83" fmla="*/ 1110343 h 1240971"/>
              <a:gd name="connsiteX84" fmla="*/ 2039878 w 5730544"/>
              <a:gd name="connsiteY84" fmla="*/ 1125415 h 1240971"/>
              <a:gd name="connsiteX85" fmla="*/ 2120265 w 5730544"/>
              <a:gd name="connsiteY85" fmla="*/ 1120391 h 1240971"/>
              <a:gd name="connsiteX86" fmla="*/ 2130314 w 5730544"/>
              <a:gd name="connsiteY86" fmla="*/ 1110343 h 1240971"/>
              <a:gd name="connsiteX87" fmla="*/ 2155435 w 5730544"/>
              <a:gd name="connsiteY87" fmla="*/ 1100294 h 1240971"/>
              <a:gd name="connsiteX88" fmla="*/ 2190604 w 5730544"/>
              <a:gd name="connsiteY88" fmla="*/ 1070149 h 1240971"/>
              <a:gd name="connsiteX89" fmla="*/ 2230797 w 5730544"/>
              <a:gd name="connsiteY89" fmla="*/ 1040004 h 1240971"/>
              <a:gd name="connsiteX90" fmla="*/ 2245870 w 5730544"/>
              <a:gd name="connsiteY90" fmla="*/ 1034980 h 1240971"/>
              <a:gd name="connsiteX91" fmla="*/ 2270991 w 5730544"/>
              <a:gd name="connsiteY91" fmla="*/ 1019908 h 1240971"/>
              <a:gd name="connsiteX92" fmla="*/ 2301136 w 5730544"/>
              <a:gd name="connsiteY92" fmla="*/ 994787 h 1240971"/>
              <a:gd name="connsiteX93" fmla="*/ 2316208 w 5730544"/>
              <a:gd name="connsiteY93" fmla="*/ 989763 h 1240971"/>
              <a:gd name="connsiteX94" fmla="*/ 2396595 w 5730544"/>
              <a:gd name="connsiteY94" fmla="*/ 984738 h 1240971"/>
              <a:gd name="connsiteX95" fmla="*/ 2426740 w 5730544"/>
              <a:gd name="connsiteY95" fmla="*/ 989763 h 1240971"/>
              <a:gd name="connsiteX96" fmla="*/ 2461909 w 5730544"/>
              <a:gd name="connsiteY96" fmla="*/ 1024932 h 1240971"/>
              <a:gd name="connsiteX97" fmla="*/ 2476982 w 5730544"/>
              <a:gd name="connsiteY97" fmla="*/ 1029956 h 1240971"/>
              <a:gd name="connsiteX98" fmla="*/ 2487030 w 5730544"/>
              <a:gd name="connsiteY98" fmla="*/ 1045028 h 1240971"/>
              <a:gd name="connsiteX99" fmla="*/ 2497078 w 5730544"/>
              <a:gd name="connsiteY99" fmla="*/ 1055077 h 1240971"/>
              <a:gd name="connsiteX100" fmla="*/ 2532248 w 5730544"/>
              <a:gd name="connsiteY100" fmla="*/ 1095270 h 1240971"/>
              <a:gd name="connsiteX101" fmla="*/ 2567417 w 5730544"/>
              <a:gd name="connsiteY101" fmla="*/ 1135464 h 1240971"/>
              <a:gd name="connsiteX102" fmla="*/ 2582489 w 5730544"/>
              <a:gd name="connsiteY102" fmla="*/ 1145512 h 1240971"/>
              <a:gd name="connsiteX103" fmla="*/ 2622683 w 5730544"/>
              <a:gd name="connsiteY103" fmla="*/ 1170633 h 1240971"/>
              <a:gd name="connsiteX104" fmla="*/ 2657852 w 5730544"/>
              <a:gd name="connsiteY104" fmla="*/ 1160584 h 1240971"/>
              <a:gd name="connsiteX105" fmla="*/ 2682973 w 5730544"/>
              <a:gd name="connsiteY105" fmla="*/ 1145512 h 1240971"/>
              <a:gd name="connsiteX106" fmla="*/ 2713118 w 5730544"/>
              <a:gd name="connsiteY106" fmla="*/ 1130439 h 1240971"/>
              <a:gd name="connsiteX107" fmla="*/ 2728191 w 5730544"/>
              <a:gd name="connsiteY107" fmla="*/ 1120391 h 1240971"/>
              <a:gd name="connsiteX108" fmla="*/ 2748287 w 5730544"/>
              <a:gd name="connsiteY108" fmla="*/ 1115367 h 1240971"/>
              <a:gd name="connsiteX109" fmla="*/ 2778432 w 5730544"/>
              <a:gd name="connsiteY109" fmla="*/ 1105319 h 1240971"/>
              <a:gd name="connsiteX110" fmla="*/ 2868867 w 5730544"/>
              <a:gd name="connsiteY110" fmla="*/ 1075173 h 1240971"/>
              <a:gd name="connsiteX111" fmla="*/ 2893988 w 5730544"/>
              <a:gd name="connsiteY111" fmla="*/ 1070149 h 1240971"/>
              <a:gd name="connsiteX112" fmla="*/ 2919109 w 5730544"/>
              <a:gd name="connsiteY112" fmla="*/ 1075173 h 1240971"/>
              <a:gd name="connsiteX113" fmla="*/ 2934182 w 5730544"/>
              <a:gd name="connsiteY113" fmla="*/ 1080198 h 1240971"/>
              <a:gd name="connsiteX114" fmla="*/ 2944230 w 5730544"/>
              <a:gd name="connsiteY114" fmla="*/ 1110343 h 1240971"/>
              <a:gd name="connsiteX115" fmla="*/ 2959303 w 5730544"/>
              <a:gd name="connsiteY115" fmla="*/ 1125415 h 1240971"/>
              <a:gd name="connsiteX116" fmla="*/ 2979399 w 5730544"/>
              <a:gd name="connsiteY116" fmla="*/ 1155560 h 1240971"/>
              <a:gd name="connsiteX117" fmla="*/ 2994472 w 5730544"/>
              <a:gd name="connsiteY117" fmla="*/ 1160584 h 1240971"/>
              <a:gd name="connsiteX118" fmla="*/ 3014569 w 5730544"/>
              <a:gd name="connsiteY118" fmla="*/ 1180681 h 1240971"/>
              <a:gd name="connsiteX119" fmla="*/ 3024617 w 5730544"/>
              <a:gd name="connsiteY119" fmla="*/ 1190730 h 1240971"/>
              <a:gd name="connsiteX120" fmla="*/ 3069835 w 5730544"/>
              <a:gd name="connsiteY120" fmla="*/ 1215850 h 1240971"/>
              <a:gd name="connsiteX121" fmla="*/ 3079883 w 5730544"/>
              <a:gd name="connsiteY121" fmla="*/ 1225899 h 1240971"/>
              <a:gd name="connsiteX122" fmla="*/ 3099980 w 5730544"/>
              <a:gd name="connsiteY122" fmla="*/ 1230923 h 1240971"/>
              <a:gd name="connsiteX123" fmla="*/ 3130125 w 5730544"/>
              <a:gd name="connsiteY123" fmla="*/ 1240971 h 1240971"/>
              <a:gd name="connsiteX124" fmla="*/ 3180366 w 5730544"/>
              <a:gd name="connsiteY124" fmla="*/ 1235947 h 1240971"/>
              <a:gd name="connsiteX125" fmla="*/ 3195439 w 5730544"/>
              <a:gd name="connsiteY125" fmla="*/ 1225899 h 1240971"/>
              <a:gd name="connsiteX126" fmla="*/ 3220560 w 5730544"/>
              <a:gd name="connsiteY126" fmla="*/ 1215850 h 1240971"/>
              <a:gd name="connsiteX127" fmla="*/ 3255729 w 5730544"/>
              <a:gd name="connsiteY127" fmla="*/ 1185705 h 1240971"/>
              <a:gd name="connsiteX128" fmla="*/ 3295922 w 5730544"/>
              <a:gd name="connsiteY128" fmla="*/ 1160584 h 1240971"/>
              <a:gd name="connsiteX129" fmla="*/ 3310995 w 5730544"/>
              <a:gd name="connsiteY129" fmla="*/ 1145512 h 1240971"/>
              <a:gd name="connsiteX130" fmla="*/ 3351188 w 5730544"/>
              <a:gd name="connsiteY130" fmla="*/ 1140488 h 1240971"/>
              <a:gd name="connsiteX131" fmla="*/ 3406454 w 5730544"/>
              <a:gd name="connsiteY131" fmla="*/ 1155560 h 1240971"/>
              <a:gd name="connsiteX132" fmla="*/ 3426551 w 5730544"/>
              <a:gd name="connsiteY132" fmla="*/ 1165609 h 1240971"/>
              <a:gd name="connsiteX133" fmla="*/ 3441624 w 5730544"/>
              <a:gd name="connsiteY133" fmla="*/ 1175657 h 1240971"/>
              <a:gd name="connsiteX134" fmla="*/ 3456696 w 5730544"/>
              <a:gd name="connsiteY134" fmla="*/ 1180681 h 1240971"/>
              <a:gd name="connsiteX135" fmla="*/ 3466744 w 5730544"/>
              <a:gd name="connsiteY135" fmla="*/ 1195754 h 1240971"/>
              <a:gd name="connsiteX136" fmla="*/ 3527035 w 5730544"/>
              <a:gd name="connsiteY136" fmla="*/ 1200778 h 1240971"/>
              <a:gd name="connsiteX137" fmla="*/ 3542107 w 5730544"/>
              <a:gd name="connsiteY137" fmla="*/ 1190730 h 1240971"/>
              <a:gd name="connsiteX138" fmla="*/ 3567228 w 5730544"/>
              <a:gd name="connsiteY138" fmla="*/ 1180681 h 1240971"/>
              <a:gd name="connsiteX139" fmla="*/ 3587325 w 5730544"/>
              <a:gd name="connsiteY139" fmla="*/ 1150536 h 1240971"/>
              <a:gd name="connsiteX140" fmla="*/ 3617470 w 5730544"/>
              <a:gd name="connsiteY140" fmla="*/ 1125415 h 1240971"/>
              <a:gd name="connsiteX141" fmla="*/ 3632542 w 5730544"/>
              <a:gd name="connsiteY141" fmla="*/ 1105319 h 1240971"/>
              <a:gd name="connsiteX142" fmla="*/ 3662687 w 5730544"/>
              <a:gd name="connsiteY142" fmla="*/ 1085222 h 1240971"/>
              <a:gd name="connsiteX143" fmla="*/ 3697856 w 5730544"/>
              <a:gd name="connsiteY143" fmla="*/ 1070149 h 1240971"/>
              <a:gd name="connsiteX144" fmla="*/ 3707905 w 5730544"/>
              <a:gd name="connsiteY144" fmla="*/ 1060101 h 1240971"/>
              <a:gd name="connsiteX145" fmla="*/ 3743074 w 5730544"/>
              <a:gd name="connsiteY145" fmla="*/ 1040004 h 1240971"/>
              <a:gd name="connsiteX146" fmla="*/ 3813413 w 5730544"/>
              <a:gd name="connsiteY146" fmla="*/ 1024932 h 1240971"/>
              <a:gd name="connsiteX147" fmla="*/ 3833509 w 5730544"/>
              <a:gd name="connsiteY147" fmla="*/ 1014883 h 1240971"/>
              <a:gd name="connsiteX148" fmla="*/ 3858630 w 5730544"/>
              <a:gd name="connsiteY148" fmla="*/ 1009859 h 1240971"/>
              <a:gd name="connsiteX149" fmla="*/ 3873703 w 5730544"/>
              <a:gd name="connsiteY149" fmla="*/ 1004835 h 1240971"/>
              <a:gd name="connsiteX150" fmla="*/ 3923944 w 5730544"/>
              <a:gd name="connsiteY150" fmla="*/ 1014883 h 1240971"/>
              <a:gd name="connsiteX151" fmla="*/ 3933993 w 5730544"/>
              <a:gd name="connsiteY151" fmla="*/ 1029956 h 1240971"/>
              <a:gd name="connsiteX152" fmla="*/ 3964138 w 5730544"/>
              <a:gd name="connsiteY152" fmla="*/ 1075173 h 1240971"/>
              <a:gd name="connsiteX153" fmla="*/ 3969162 w 5730544"/>
              <a:gd name="connsiteY153" fmla="*/ 1100294 h 1240971"/>
              <a:gd name="connsiteX154" fmla="*/ 3979210 w 5730544"/>
              <a:gd name="connsiteY154" fmla="*/ 1110343 h 1240971"/>
              <a:gd name="connsiteX155" fmla="*/ 3984235 w 5730544"/>
              <a:gd name="connsiteY155" fmla="*/ 1130439 h 1240971"/>
              <a:gd name="connsiteX156" fmla="*/ 4019404 w 5730544"/>
              <a:gd name="connsiteY156" fmla="*/ 1165609 h 1240971"/>
              <a:gd name="connsiteX157" fmla="*/ 4064621 w 5730544"/>
              <a:gd name="connsiteY157" fmla="*/ 1150536 h 1240971"/>
              <a:gd name="connsiteX158" fmla="*/ 4079694 w 5730544"/>
              <a:gd name="connsiteY158" fmla="*/ 1125415 h 1240971"/>
              <a:gd name="connsiteX159" fmla="*/ 4099791 w 5730544"/>
              <a:gd name="connsiteY159" fmla="*/ 1105319 h 1240971"/>
              <a:gd name="connsiteX160" fmla="*/ 4129936 w 5730544"/>
              <a:gd name="connsiteY160" fmla="*/ 1075173 h 1240971"/>
              <a:gd name="connsiteX161" fmla="*/ 4150032 w 5730544"/>
              <a:gd name="connsiteY161" fmla="*/ 1040004 h 1240971"/>
              <a:gd name="connsiteX162" fmla="*/ 4160081 w 5730544"/>
              <a:gd name="connsiteY162" fmla="*/ 1019908 h 1240971"/>
              <a:gd name="connsiteX163" fmla="*/ 4165105 w 5730544"/>
              <a:gd name="connsiteY163" fmla="*/ 1004835 h 1240971"/>
              <a:gd name="connsiteX164" fmla="*/ 4185202 w 5730544"/>
              <a:gd name="connsiteY164" fmla="*/ 984738 h 1240971"/>
              <a:gd name="connsiteX165" fmla="*/ 4200274 w 5730544"/>
              <a:gd name="connsiteY165" fmla="*/ 979714 h 1240971"/>
              <a:gd name="connsiteX166" fmla="*/ 4235443 w 5730544"/>
              <a:gd name="connsiteY166" fmla="*/ 954593 h 1240971"/>
              <a:gd name="connsiteX167" fmla="*/ 4275637 w 5730544"/>
              <a:gd name="connsiteY167" fmla="*/ 934497 h 1240971"/>
              <a:gd name="connsiteX168" fmla="*/ 4310806 w 5730544"/>
              <a:gd name="connsiteY168" fmla="*/ 914400 h 1240971"/>
              <a:gd name="connsiteX169" fmla="*/ 4325878 w 5730544"/>
              <a:gd name="connsiteY169" fmla="*/ 904352 h 1240971"/>
              <a:gd name="connsiteX170" fmla="*/ 4381144 w 5730544"/>
              <a:gd name="connsiteY170" fmla="*/ 904352 h 1240971"/>
              <a:gd name="connsiteX171" fmla="*/ 4401241 w 5730544"/>
              <a:gd name="connsiteY171" fmla="*/ 914400 h 1240971"/>
              <a:gd name="connsiteX172" fmla="*/ 4416314 w 5730544"/>
              <a:gd name="connsiteY172" fmla="*/ 919424 h 1240971"/>
              <a:gd name="connsiteX173" fmla="*/ 4431386 w 5730544"/>
              <a:gd name="connsiteY173" fmla="*/ 929472 h 1240971"/>
              <a:gd name="connsiteX174" fmla="*/ 4456507 w 5730544"/>
              <a:gd name="connsiteY174" fmla="*/ 974690 h 1240971"/>
              <a:gd name="connsiteX175" fmla="*/ 4476604 w 5730544"/>
              <a:gd name="connsiteY175" fmla="*/ 999811 h 1240971"/>
              <a:gd name="connsiteX176" fmla="*/ 4567039 w 5730544"/>
              <a:gd name="connsiteY176" fmla="*/ 994787 h 1240971"/>
              <a:gd name="connsiteX177" fmla="*/ 4597184 w 5730544"/>
              <a:gd name="connsiteY177" fmla="*/ 969666 h 1240971"/>
              <a:gd name="connsiteX178" fmla="*/ 4617281 w 5730544"/>
              <a:gd name="connsiteY178" fmla="*/ 959617 h 1240971"/>
              <a:gd name="connsiteX179" fmla="*/ 4632353 w 5730544"/>
              <a:gd name="connsiteY179" fmla="*/ 944545 h 1240971"/>
              <a:gd name="connsiteX180" fmla="*/ 4652450 w 5730544"/>
              <a:gd name="connsiteY180" fmla="*/ 934497 h 1240971"/>
              <a:gd name="connsiteX181" fmla="*/ 4672547 w 5730544"/>
              <a:gd name="connsiteY181" fmla="*/ 919424 h 1240971"/>
              <a:gd name="connsiteX182" fmla="*/ 4737861 w 5730544"/>
              <a:gd name="connsiteY182" fmla="*/ 884255 h 1240971"/>
              <a:gd name="connsiteX183" fmla="*/ 4762982 w 5730544"/>
              <a:gd name="connsiteY183" fmla="*/ 879231 h 1240971"/>
              <a:gd name="connsiteX184" fmla="*/ 4778054 w 5730544"/>
              <a:gd name="connsiteY184" fmla="*/ 874206 h 1240971"/>
              <a:gd name="connsiteX185" fmla="*/ 4819294 w 5730544"/>
              <a:gd name="connsiteY185" fmla="*/ 873944 h 1240971"/>
              <a:gd name="connsiteX186" fmla="*/ 4877465 w 5730544"/>
              <a:gd name="connsiteY186" fmla="*/ 895638 h 1240971"/>
              <a:gd name="connsiteX187" fmla="*/ 4935347 w 5730544"/>
              <a:gd name="connsiteY187" fmla="*/ 934523 h 1240971"/>
              <a:gd name="connsiteX188" fmla="*/ 4995402 w 5730544"/>
              <a:gd name="connsiteY188" fmla="*/ 1006746 h 1240971"/>
              <a:gd name="connsiteX189" fmla="*/ 5024762 w 5730544"/>
              <a:gd name="connsiteY189" fmla="*/ 1051963 h 1240971"/>
              <a:gd name="connsiteX190" fmla="*/ 5092223 w 5730544"/>
              <a:gd name="connsiteY190" fmla="*/ 1016506 h 1240971"/>
              <a:gd name="connsiteX191" fmla="*/ 5144322 w 5730544"/>
              <a:gd name="connsiteY191" fmla="*/ 948261 h 1240971"/>
              <a:gd name="connsiteX192" fmla="*/ 5189252 w 5730544"/>
              <a:gd name="connsiteY192" fmla="*/ 886112 h 1240971"/>
              <a:gd name="connsiteX193" fmla="*/ 5226279 w 5730544"/>
              <a:gd name="connsiteY193" fmla="*/ 856230 h 1240971"/>
              <a:gd name="connsiteX194" fmla="*/ 5260637 w 5730544"/>
              <a:gd name="connsiteY194" fmla="*/ 822918 h 1240971"/>
              <a:gd name="connsiteX195" fmla="*/ 5295282 w 5730544"/>
              <a:gd name="connsiteY195" fmla="*/ 800440 h 1240971"/>
              <a:gd name="connsiteX196" fmla="*/ 5334430 w 5730544"/>
              <a:gd name="connsiteY196" fmla="*/ 794893 h 1240971"/>
              <a:gd name="connsiteX197" fmla="*/ 5412174 w 5730544"/>
              <a:gd name="connsiteY197" fmla="*/ 824252 h 1240971"/>
              <a:gd name="connsiteX198" fmla="*/ 5431197 w 5730544"/>
              <a:gd name="connsiteY198" fmla="*/ 768699 h 1240971"/>
              <a:gd name="connsiteX199" fmla="*/ 5441246 w 5730544"/>
              <a:gd name="connsiteY199" fmla="*/ 753626 h 1240971"/>
              <a:gd name="connsiteX200" fmla="*/ 5456318 w 5730544"/>
              <a:gd name="connsiteY200" fmla="*/ 708409 h 1240971"/>
              <a:gd name="connsiteX201" fmla="*/ 5466366 w 5730544"/>
              <a:gd name="connsiteY201" fmla="*/ 683288 h 1240971"/>
              <a:gd name="connsiteX202" fmla="*/ 5476415 w 5730544"/>
              <a:gd name="connsiteY202" fmla="*/ 643094 h 1240971"/>
              <a:gd name="connsiteX203" fmla="*/ 5491487 w 5730544"/>
              <a:gd name="connsiteY203" fmla="*/ 617973 h 1240971"/>
              <a:gd name="connsiteX204" fmla="*/ 5506560 w 5730544"/>
              <a:gd name="connsiteY204" fmla="*/ 572756 h 1240971"/>
              <a:gd name="connsiteX205" fmla="*/ 5526656 w 5730544"/>
              <a:gd name="connsiteY205" fmla="*/ 522514 h 1240971"/>
              <a:gd name="connsiteX206" fmla="*/ 5546753 w 5730544"/>
              <a:gd name="connsiteY206" fmla="*/ 467248 h 1240971"/>
              <a:gd name="connsiteX207" fmla="*/ 5556802 w 5730544"/>
              <a:gd name="connsiteY207" fmla="*/ 411982 h 1240971"/>
              <a:gd name="connsiteX208" fmla="*/ 5566850 w 5730544"/>
              <a:gd name="connsiteY208" fmla="*/ 381837 h 1240971"/>
              <a:gd name="connsiteX209" fmla="*/ 5576898 w 5730544"/>
              <a:gd name="connsiteY209" fmla="*/ 356716 h 1240971"/>
              <a:gd name="connsiteX210" fmla="*/ 5596995 w 5730544"/>
              <a:gd name="connsiteY210" fmla="*/ 316523 h 1240971"/>
              <a:gd name="connsiteX211" fmla="*/ 5617092 w 5730544"/>
              <a:gd name="connsiteY211" fmla="*/ 246184 h 1240971"/>
              <a:gd name="connsiteX212" fmla="*/ 5622116 w 5730544"/>
              <a:gd name="connsiteY212" fmla="*/ 226088 h 1240971"/>
              <a:gd name="connsiteX213" fmla="*/ 5632164 w 5730544"/>
              <a:gd name="connsiteY213" fmla="*/ 216039 h 1240971"/>
              <a:gd name="connsiteX214" fmla="*/ 5637188 w 5730544"/>
              <a:gd name="connsiteY214" fmla="*/ 200967 h 1240971"/>
              <a:gd name="connsiteX215" fmla="*/ 5642213 w 5730544"/>
              <a:gd name="connsiteY215" fmla="*/ 180870 h 1240971"/>
              <a:gd name="connsiteX216" fmla="*/ 5652261 w 5730544"/>
              <a:gd name="connsiteY216" fmla="*/ 165798 h 1240971"/>
              <a:gd name="connsiteX217" fmla="*/ 5693265 w 5730544"/>
              <a:gd name="connsiteY217" fmla="*/ 101268 h 1240971"/>
              <a:gd name="connsiteX218" fmla="*/ 5728722 w 5730544"/>
              <a:gd name="connsiteY218" fmla="*/ 42287 h 1240971"/>
              <a:gd name="connsiteX219" fmla="*/ 5634284 w 5730544"/>
              <a:gd name="connsiteY219" fmla="*/ 25357 h 1240971"/>
              <a:gd name="connsiteX220" fmla="*/ 5575040 w 5730544"/>
              <a:gd name="connsiteY220" fmla="*/ 39120 h 1240971"/>
              <a:gd name="connsiteX221" fmla="*/ 5470369 w 5730544"/>
              <a:gd name="connsiteY221" fmla="*/ 39381 h 1240971"/>
              <a:gd name="connsiteX222" fmla="*/ 5379124 w 5730544"/>
              <a:gd name="connsiteY222" fmla="*/ 39644 h 1240971"/>
              <a:gd name="connsiteX223" fmla="*/ 5309282 w 5730544"/>
              <a:gd name="connsiteY223" fmla="*/ 42287 h 1240971"/>
              <a:gd name="connsiteX224" fmla="*/ 5238682 w 5730544"/>
              <a:gd name="connsiteY224" fmla="*/ 54455 h 1240971"/>
              <a:gd name="connsiteX225" fmla="*/ 5075554 w 5730544"/>
              <a:gd name="connsiteY225" fmla="*/ 56574 h 1240971"/>
              <a:gd name="connsiteX226" fmla="*/ 5020026 w 5730544"/>
              <a:gd name="connsiteY226" fmla="*/ 39120 h 1240971"/>
              <a:gd name="connsiteX227" fmla="*/ 4946233 w 5730544"/>
              <a:gd name="connsiteY227" fmla="*/ 41240 h 1240971"/>
              <a:gd name="connsiteX228" fmla="*/ 4823272 w 5730544"/>
              <a:gd name="connsiteY228" fmla="*/ 50242 h 1240971"/>
              <a:gd name="connsiteX229" fmla="*/ 4727577 w 5730544"/>
              <a:gd name="connsiteY229" fmla="*/ 29073 h 1240971"/>
              <a:gd name="connsiteX230" fmla="*/ 4628376 w 5730544"/>
              <a:gd name="connsiteY230" fmla="*/ 41240 h 1240971"/>
              <a:gd name="connsiteX231" fmla="*/ 4565180 w 5730544"/>
              <a:gd name="connsiteY231" fmla="*/ 46264 h 1240971"/>
              <a:gd name="connsiteX232" fmla="*/ 4417596 w 5730544"/>
              <a:gd name="connsiteY232" fmla="*/ 44406 h 1240971"/>
              <a:gd name="connsiteX233" fmla="*/ 4139984 w 5730544"/>
              <a:gd name="connsiteY233" fmla="*/ 60290 h 1240971"/>
              <a:gd name="connsiteX234" fmla="*/ 3918920 w 5730544"/>
              <a:gd name="connsiteY234" fmla="*/ 50242 h 1240971"/>
              <a:gd name="connsiteX235" fmla="*/ 3873703 w 5730544"/>
              <a:gd name="connsiteY235" fmla="*/ 45217 h 1240971"/>
              <a:gd name="connsiteX236" fmla="*/ 3687808 w 5730544"/>
              <a:gd name="connsiteY236" fmla="*/ 40193 h 1240971"/>
              <a:gd name="connsiteX237" fmla="*/ 3662687 w 5730544"/>
              <a:gd name="connsiteY237" fmla="*/ 35169 h 1240971"/>
              <a:gd name="connsiteX238" fmla="*/ 3627518 w 5730544"/>
              <a:gd name="connsiteY238" fmla="*/ 25121 h 1240971"/>
              <a:gd name="connsiteX239" fmla="*/ 3547131 w 5730544"/>
              <a:gd name="connsiteY239" fmla="*/ 20097 h 1240971"/>
              <a:gd name="connsiteX240" fmla="*/ 3310995 w 5730544"/>
              <a:gd name="connsiteY240" fmla="*/ 25121 h 1240971"/>
              <a:gd name="connsiteX241" fmla="*/ 3265777 w 5730544"/>
              <a:gd name="connsiteY241" fmla="*/ 30145 h 1240971"/>
              <a:gd name="connsiteX242" fmla="*/ 3175342 w 5730544"/>
              <a:gd name="connsiteY242" fmla="*/ 35169 h 1240971"/>
              <a:gd name="connsiteX243" fmla="*/ 2582489 w 5730544"/>
              <a:gd name="connsiteY243" fmla="*/ 45217 h 1240971"/>
              <a:gd name="connsiteX244" fmla="*/ 2255918 w 5730544"/>
              <a:gd name="connsiteY244" fmla="*/ 40193 h 1240971"/>
              <a:gd name="connsiteX245" fmla="*/ 1974564 w 5730544"/>
              <a:gd name="connsiteY245" fmla="*/ 30145 h 1240971"/>
              <a:gd name="connsiteX246" fmla="*/ 1944419 w 5730544"/>
              <a:gd name="connsiteY246" fmla="*/ 25121 h 1240971"/>
              <a:gd name="connsiteX247" fmla="*/ 1848960 w 5730544"/>
              <a:gd name="connsiteY247" fmla="*/ 20097 h 1240971"/>
              <a:gd name="connsiteX248" fmla="*/ 1768573 w 5730544"/>
              <a:gd name="connsiteY248" fmla="*/ 10048 h 1240971"/>
              <a:gd name="connsiteX249" fmla="*/ 1502292 w 5730544"/>
              <a:gd name="connsiteY249" fmla="*/ 20097 h 1240971"/>
              <a:gd name="connsiteX250" fmla="*/ 1467122 w 5730544"/>
              <a:gd name="connsiteY250" fmla="*/ 25121 h 1240971"/>
              <a:gd name="connsiteX251" fmla="*/ 1426929 w 5730544"/>
              <a:gd name="connsiteY251" fmla="*/ 30145 h 1240971"/>
              <a:gd name="connsiteX252" fmla="*/ 1341518 w 5730544"/>
              <a:gd name="connsiteY252" fmla="*/ 45217 h 1240971"/>
              <a:gd name="connsiteX253" fmla="*/ 1095333 w 5730544"/>
              <a:gd name="connsiteY253" fmla="*/ 35169 h 1240971"/>
              <a:gd name="connsiteX254" fmla="*/ 979777 w 5730544"/>
              <a:gd name="connsiteY254" fmla="*/ 20097 h 1240971"/>
              <a:gd name="connsiteX255" fmla="*/ 939584 w 5730544"/>
              <a:gd name="connsiteY255" fmla="*/ 10048 h 1240971"/>
              <a:gd name="connsiteX256" fmla="*/ 813980 w 5730544"/>
              <a:gd name="connsiteY256" fmla="*/ 0 h 1240971"/>
              <a:gd name="connsiteX257" fmla="*/ 743641 w 5730544"/>
              <a:gd name="connsiteY257" fmla="*/ 5024 h 1240971"/>
              <a:gd name="connsiteX258" fmla="*/ 582867 w 5730544"/>
              <a:gd name="connsiteY258" fmla="*/ 15072 h 1240971"/>
              <a:gd name="connsiteX259" fmla="*/ 432142 w 5730544"/>
              <a:gd name="connsiteY259" fmla="*/ 5024 h 1240971"/>
              <a:gd name="connsiteX260" fmla="*/ 412046 w 5730544"/>
              <a:gd name="connsiteY260" fmla="*/ 0 h 1240971"/>
              <a:gd name="connsiteX261" fmla="*/ 281417 w 5730544"/>
              <a:gd name="connsiteY261" fmla="*/ 10048 h 1240971"/>
              <a:gd name="connsiteX262" fmla="*/ 261320 w 5730544"/>
              <a:gd name="connsiteY262" fmla="*/ 15072 h 1240971"/>
              <a:gd name="connsiteX263" fmla="*/ 100547 w 5730544"/>
              <a:gd name="connsiteY263" fmla="*/ 20097 h 1240971"/>
              <a:gd name="connsiteX264" fmla="*/ 5087 w 5730544"/>
              <a:gd name="connsiteY264" fmla="*/ 30145 h 1240971"/>
              <a:gd name="connsiteX0" fmla="*/ 5087 w 5730544"/>
              <a:gd name="connsiteY0" fmla="*/ 30145 h 1240971"/>
              <a:gd name="connsiteX1" fmla="*/ 15136 w 5730544"/>
              <a:gd name="connsiteY1" fmla="*/ 115556 h 1240971"/>
              <a:gd name="connsiteX2" fmla="*/ 20160 w 5730544"/>
              <a:gd name="connsiteY2" fmla="*/ 150725 h 1240971"/>
              <a:gd name="connsiteX3" fmla="*/ 25184 w 5730544"/>
              <a:gd name="connsiteY3" fmla="*/ 236136 h 1240971"/>
              <a:gd name="connsiteX4" fmla="*/ 35232 w 5730544"/>
              <a:gd name="connsiteY4" fmla="*/ 311499 h 1240971"/>
              <a:gd name="connsiteX5" fmla="*/ 40256 w 5730544"/>
              <a:gd name="connsiteY5" fmla="*/ 783771 h 1240971"/>
              <a:gd name="connsiteX6" fmla="*/ 45281 w 5730544"/>
              <a:gd name="connsiteY6" fmla="*/ 864158 h 1240971"/>
              <a:gd name="connsiteX7" fmla="*/ 35232 w 5730544"/>
              <a:gd name="connsiteY7" fmla="*/ 1034980 h 1240971"/>
              <a:gd name="connsiteX8" fmla="*/ 25184 w 5730544"/>
              <a:gd name="connsiteY8" fmla="*/ 1100294 h 1240971"/>
              <a:gd name="connsiteX9" fmla="*/ 20160 w 5730544"/>
              <a:gd name="connsiteY9" fmla="*/ 1150536 h 1240971"/>
              <a:gd name="connsiteX10" fmla="*/ 25184 w 5730544"/>
              <a:gd name="connsiteY10" fmla="*/ 1170633 h 1240971"/>
              <a:gd name="connsiteX11" fmla="*/ 35232 w 5730544"/>
              <a:gd name="connsiteY11" fmla="*/ 1160584 h 1240971"/>
              <a:gd name="connsiteX12" fmla="*/ 55329 w 5730544"/>
              <a:gd name="connsiteY12" fmla="*/ 1100294 h 1240971"/>
              <a:gd name="connsiteX13" fmla="*/ 60353 w 5730544"/>
              <a:gd name="connsiteY13" fmla="*/ 1085222 h 1240971"/>
              <a:gd name="connsiteX14" fmla="*/ 70402 w 5730544"/>
              <a:gd name="connsiteY14" fmla="*/ 1075173 h 1240971"/>
              <a:gd name="connsiteX15" fmla="*/ 95522 w 5730544"/>
              <a:gd name="connsiteY15" fmla="*/ 1045028 h 1240971"/>
              <a:gd name="connsiteX16" fmla="*/ 110595 w 5730544"/>
              <a:gd name="connsiteY16" fmla="*/ 1040004 h 1240971"/>
              <a:gd name="connsiteX17" fmla="*/ 135716 w 5730544"/>
              <a:gd name="connsiteY17" fmla="*/ 1019908 h 1240971"/>
              <a:gd name="connsiteX18" fmla="*/ 150788 w 5730544"/>
              <a:gd name="connsiteY18" fmla="*/ 1009859 h 1240971"/>
              <a:gd name="connsiteX19" fmla="*/ 175909 w 5730544"/>
              <a:gd name="connsiteY19" fmla="*/ 994787 h 1240971"/>
              <a:gd name="connsiteX20" fmla="*/ 216103 w 5730544"/>
              <a:gd name="connsiteY20" fmla="*/ 984738 h 1240971"/>
              <a:gd name="connsiteX21" fmla="*/ 286441 w 5730544"/>
              <a:gd name="connsiteY21" fmla="*/ 994787 h 1240971"/>
              <a:gd name="connsiteX22" fmla="*/ 301514 w 5730544"/>
              <a:gd name="connsiteY22" fmla="*/ 1004835 h 1240971"/>
              <a:gd name="connsiteX23" fmla="*/ 321610 w 5730544"/>
              <a:gd name="connsiteY23" fmla="*/ 1034980 h 1240971"/>
              <a:gd name="connsiteX24" fmla="*/ 356780 w 5730544"/>
              <a:gd name="connsiteY24" fmla="*/ 1065125 h 1240971"/>
              <a:gd name="connsiteX25" fmla="*/ 366828 w 5730544"/>
              <a:gd name="connsiteY25" fmla="*/ 1080198 h 1240971"/>
              <a:gd name="connsiteX26" fmla="*/ 381900 w 5730544"/>
              <a:gd name="connsiteY26" fmla="*/ 1085222 h 1240971"/>
              <a:gd name="connsiteX27" fmla="*/ 396973 w 5730544"/>
              <a:gd name="connsiteY27" fmla="*/ 1095270 h 1240971"/>
              <a:gd name="connsiteX28" fmla="*/ 407021 w 5730544"/>
              <a:gd name="connsiteY28" fmla="*/ 1105319 h 1240971"/>
              <a:gd name="connsiteX29" fmla="*/ 422094 w 5730544"/>
              <a:gd name="connsiteY29" fmla="*/ 1110343 h 1240971"/>
              <a:gd name="connsiteX30" fmla="*/ 437166 w 5730544"/>
              <a:gd name="connsiteY30" fmla="*/ 1120391 h 1240971"/>
              <a:gd name="connsiteX31" fmla="*/ 467311 w 5730544"/>
              <a:gd name="connsiteY31" fmla="*/ 1130439 h 1240971"/>
              <a:gd name="connsiteX32" fmla="*/ 522577 w 5730544"/>
              <a:gd name="connsiteY32" fmla="*/ 1115367 h 1240971"/>
              <a:gd name="connsiteX33" fmla="*/ 552722 w 5730544"/>
              <a:gd name="connsiteY33" fmla="*/ 1075173 h 1240971"/>
              <a:gd name="connsiteX34" fmla="*/ 567795 w 5730544"/>
              <a:gd name="connsiteY34" fmla="*/ 1070149 h 1240971"/>
              <a:gd name="connsiteX35" fmla="*/ 582867 w 5730544"/>
              <a:gd name="connsiteY35" fmla="*/ 1060101 h 1240971"/>
              <a:gd name="connsiteX36" fmla="*/ 638133 w 5730544"/>
              <a:gd name="connsiteY36" fmla="*/ 1045028 h 1240971"/>
              <a:gd name="connsiteX37" fmla="*/ 653206 w 5730544"/>
              <a:gd name="connsiteY37" fmla="*/ 1040004 h 1240971"/>
              <a:gd name="connsiteX38" fmla="*/ 693399 w 5730544"/>
              <a:gd name="connsiteY38" fmla="*/ 1045028 h 1240971"/>
              <a:gd name="connsiteX39" fmla="*/ 723544 w 5730544"/>
              <a:gd name="connsiteY39" fmla="*/ 1055077 h 1240971"/>
              <a:gd name="connsiteX40" fmla="*/ 733593 w 5730544"/>
              <a:gd name="connsiteY40" fmla="*/ 1065125 h 1240971"/>
              <a:gd name="connsiteX41" fmla="*/ 768762 w 5730544"/>
              <a:gd name="connsiteY41" fmla="*/ 1080198 h 1240971"/>
              <a:gd name="connsiteX42" fmla="*/ 803931 w 5730544"/>
              <a:gd name="connsiteY42" fmla="*/ 1105319 h 1240971"/>
              <a:gd name="connsiteX43" fmla="*/ 834076 w 5730544"/>
              <a:gd name="connsiteY43" fmla="*/ 1130439 h 1240971"/>
              <a:gd name="connsiteX44" fmla="*/ 869246 w 5730544"/>
              <a:gd name="connsiteY44" fmla="*/ 1140488 h 1240971"/>
              <a:gd name="connsiteX45" fmla="*/ 909439 w 5730544"/>
              <a:gd name="connsiteY45" fmla="*/ 1175657 h 1240971"/>
              <a:gd name="connsiteX46" fmla="*/ 939584 w 5730544"/>
              <a:gd name="connsiteY46" fmla="*/ 1185705 h 1240971"/>
              <a:gd name="connsiteX47" fmla="*/ 979777 w 5730544"/>
              <a:gd name="connsiteY47" fmla="*/ 1180681 h 1240971"/>
              <a:gd name="connsiteX48" fmla="*/ 989826 w 5730544"/>
              <a:gd name="connsiteY48" fmla="*/ 1170633 h 1240971"/>
              <a:gd name="connsiteX49" fmla="*/ 1004898 w 5730544"/>
              <a:gd name="connsiteY49" fmla="*/ 1150536 h 1240971"/>
              <a:gd name="connsiteX50" fmla="*/ 1014947 w 5730544"/>
              <a:gd name="connsiteY50" fmla="*/ 1120391 h 1240971"/>
              <a:gd name="connsiteX51" fmla="*/ 1040067 w 5730544"/>
              <a:gd name="connsiteY51" fmla="*/ 1095270 h 1240971"/>
              <a:gd name="connsiteX52" fmla="*/ 1050116 w 5730544"/>
              <a:gd name="connsiteY52" fmla="*/ 1085222 h 1240971"/>
              <a:gd name="connsiteX53" fmla="*/ 1075237 w 5730544"/>
              <a:gd name="connsiteY53" fmla="*/ 1065125 h 1240971"/>
              <a:gd name="connsiteX54" fmla="*/ 1090309 w 5730544"/>
              <a:gd name="connsiteY54" fmla="*/ 1050053 h 1240971"/>
              <a:gd name="connsiteX55" fmla="*/ 1120454 w 5730544"/>
              <a:gd name="connsiteY55" fmla="*/ 1040004 h 1240971"/>
              <a:gd name="connsiteX56" fmla="*/ 1135527 w 5730544"/>
              <a:gd name="connsiteY56" fmla="*/ 1034980 h 1240971"/>
              <a:gd name="connsiteX57" fmla="*/ 1160648 w 5730544"/>
              <a:gd name="connsiteY57" fmla="*/ 1019908 h 1240971"/>
              <a:gd name="connsiteX58" fmla="*/ 1175720 w 5730544"/>
              <a:gd name="connsiteY58" fmla="*/ 1014883 h 1240971"/>
              <a:gd name="connsiteX59" fmla="*/ 1195817 w 5730544"/>
              <a:gd name="connsiteY59" fmla="*/ 1004835 h 1240971"/>
              <a:gd name="connsiteX60" fmla="*/ 1281228 w 5730544"/>
              <a:gd name="connsiteY60" fmla="*/ 1014883 h 1240971"/>
              <a:gd name="connsiteX61" fmla="*/ 1296300 w 5730544"/>
              <a:gd name="connsiteY61" fmla="*/ 1024932 h 1240971"/>
              <a:gd name="connsiteX62" fmla="*/ 1311373 w 5730544"/>
              <a:gd name="connsiteY62" fmla="*/ 1029956 h 1240971"/>
              <a:gd name="connsiteX63" fmla="*/ 1326446 w 5730544"/>
              <a:gd name="connsiteY63" fmla="*/ 1060101 h 1240971"/>
              <a:gd name="connsiteX64" fmla="*/ 1341518 w 5730544"/>
              <a:gd name="connsiteY64" fmla="*/ 1065125 h 1240971"/>
              <a:gd name="connsiteX65" fmla="*/ 1356591 w 5730544"/>
              <a:gd name="connsiteY65" fmla="*/ 1075173 h 1240971"/>
              <a:gd name="connsiteX66" fmla="*/ 1396784 w 5730544"/>
              <a:gd name="connsiteY66" fmla="*/ 1090246 h 1240971"/>
              <a:gd name="connsiteX67" fmla="*/ 1447026 w 5730544"/>
              <a:gd name="connsiteY67" fmla="*/ 1105319 h 1240971"/>
              <a:gd name="connsiteX68" fmla="*/ 1462098 w 5730544"/>
              <a:gd name="connsiteY68" fmla="*/ 1110343 h 1240971"/>
              <a:gd name="connsiteX69" fmla="*/ 1497267 w 5730544"/>
              <a:gd name="connsiteY69" fmla="*/ 1120391 h 1240971"/>
              <a:gd name="connsiteX70" fmla="*/ 1552533 w 5730544"/>
              <a:gd name="connsiteY70" fmla="*/ 1115367 h 1240971"/>
              <a:gd name="connsiteX71" fmla="*/ 1567606 w 5730544"/>
              <a:gd name="connsiteY71" fmla="*/ 1110343 h 1240971"/>
              <a:gd name="connsiteX72" fmla="*/ 1587703 w 5730544"/>
              <a:gd name="connsiteY72" fmla="*/ 1090246 h 1240971"/>
              <a:gd name="connsiteX73" fmla="*/ 1637944 w 5730544"/>
              <a:gd name="connsiteY73" fmla="*/ 1050053 h 1240971"/>
              <a:gd name="connsiteX74" fmla="*/ 1653017 w 5730544"/>
              <a:gd name="connsiteY74" fmla="*/ 1029956 h 1240971"/>
              <a:gd name="connsiteX75" fmla="*/ 1688186 w 5730544"/>
              <a:gd name="connsiteY75" fmla="*/ 1019908 h 1240971"/>
              <a:gd name="connsiteX76" fmla="*/ 1788670 w 5730544"/>
              <a:gd name="connsiteY76" fmla="*/ 1029956 h 1240971"/>
              <a:gd name="connsiteX77" fmla="*/ 1818815 w 5730544"/>
              <a:gd name="connsiteY77" fmla="*/ 1040004 h 1240971"/>
              <a:gd name="connsiteX78" fmla="*/ 1853984 w 5730544"/>
              <a:gd name="connsiteY78" fmla="*/ 1050053 h 1240971"/>
              <a:gd name="connsiteX79" fmla="*/ 1869056 w 5730544"/>
              <a:gd name="connsiteY79" fmla="*/ 1060101 h 1240971"/>
              <a:gd name="connsiteX80" fmla="*/ 1894177 w 5730544"/>
              <a:gd name="connsiteY80" fmla="*/ 1065125 h 1240971"/>
              <a:gd name="connsiteX81" fmla="*/ 1949443 w 5730544"/>
              <a:gd name="connsiteY81" fmla="*/ 1085222 h 1240971"/>
              <a:gd name="connsiteX82" fmla="*/ 1969540 w 5730544"/>
              <a:gd name="connsiteY82" fmla="*/ 1090246 h 1240971"/>
              <a:gd name="connsiteX83" fmla="*/ 2014758 w 5730544"/>
              <a:gd name="connsiteY83" fmla="*/ 1110343 h 1240971"/>
              <a:gd name="connsiteX84" fmla="*/ 2039878 w 5730544"/>
              <a:gd name="connsiteY84" fmla="*/ 1125415 h 1240971"/>
              <a:gd name="connsiteX85" fmla="*/ 2120265 w 5730544"/>
              <a:gd name="connsiteY85" fmla="*/ 1120391 h 1240971"/>
              <a:gd name="connsiteX86" fmla="*/ 2130314 w 5730544"/>
              <a:gd name="connsiteY86" fmla="*/ 1110343 h 1240971"/>
              <a:gd name="connsiteX87" fmla="*/ 2155435 w 5730544"/>
              <a:gd name="connsiteY87" fmla="*/ 1100294 h 1240971"/>
              <a:gd name="connsiteX88" fmla="*/ 2190604 w 5730544"/>
              <a:gd name="connsiteY88" fmla="*/ 1070149 h 1240971"/>
              <a:gd name="connsiteX89" fmla="*/ 2230797 w 5730544"/>
              <a:gd name="connsiteY89" fmla="*/ 1040004 h 1240971"/>
              <a:gd name="connsiteX90" fmla="*/ 2245870 w 5730544"/>
              <a:gd name="connsiteY90" fmla="*/ 1034980 h 1240971"/>
              <a:gd name="connsiteX91" fmla="*/ 2270991 w 5730544"/>
              <a:gd name="connsiteY91" fmla="*/ 1019908 h 1240971"/>
              <a:gd name="connsiteX92" fmla="*/ 2301136 w 5730544"/>
              <a:gd name="connsiteY92" fmla="*/ 994787 h 1240971"/>
              <a:gd name="connsiteX93" fmla="*/ 2316208 w 5730544"/>
              <a:gd name="connsiteY93" fmla="*/ 989763 h 1240971"/>
              <a:gd name="connsiteX94" fmla="*/ 2396595 w 5730544"/>
              <a:gd name="connsiteY94" fmla="*/ 984738 h 1240971"/>
              <a:gd name="connsiteX95" fmla="*/ 2426740 w 5730544"/>
              <a:gd name="connsiteY95" fmla="*/ 989763 h 1240971"/>
              <a:gd name="connsiteX96" fmla="*/ 2461909 w 5730544"/>
              <a:gd name="connsiteY96" fmla="*/ 1024932 h 1240971"/>
              <a:gd name="connsiteX97" fmla="*/ 2476982 w 5730544"/>
              <a:gd name="connsiteY97" fmla="*/ 1029956 h 1240971"/>
              <a:gd name="connsiteX98" fmla="*/ 2487030 w 5730544"/>
              <a:gd name="connsiteY98" fmla="*/ 1045028 h 1240971"/>
              <a:gd name="connsiteX99" fmla="*/ 2497078 w 5730544"/>
              <a:gd name="connsiteY99" fmla="*/ 1055077 h 1240971"/>
              <a:gd name="connsiteX100" fmla="*/ 2532248 w 5730544"/>
              <a:gd name="connsiteY100" fmla="*/ 1095270 h 1240971"/>
              <a:gd name="connsiteX101" fmla="*/ 2567417 w 5730544"/>
              <a:gd name="connsiteY101" fmla="*/ 1135464 h 1240971"/>
              <a:gd name="connsiteX102" fmla="*/ 2582489 w 5730544"/>
              <a:gd name="connsiteY102" fmla="*/ 1145512 h 1240971"/>
              <a:gd name="connsiteX103" fmla="*/ 2622683 w 5730544"/>
              <a:gd name="connsiteY103" fmla="*/ 1170633 h 1240971"/>
              <a:gd name="connsiteX104" fmla="*/ 2657852 w 5730544"/>
              <a:gd name="connsiteY104" fmla="*/ 1160584 h 1240971"/>
              <a:gd name="connsiteX105" fmla="*/ 2682973 w 5730544"/>
              <a:gd name="connsiteY105" fmla="*/ 1145512 h 1240971"/>
              <a:gd name="connsiteX106" fmla="*/ 2713118 w 5730544"/>
              <a:gd name="connsiteY106" fmla="*/ 1130439 h 1240971"/>
              <a:gd name="connsiteX107" fmla="*/ 2728191 w 5730544"/>
              <a:gd name="connsiteY107" fmla="*/ 1120391 h 1240971"/>
              <a:gd name="connsiteX108" fmla="*/ 2748287 w 5730544"/>
              <a:gd name="connsiteY108" fmla="*/ 1115367 h 1240971"/>
              <a:gd name="connsiteX109" fmla="*/ 2778432 w 5730544"/>
              <a:gd name="connsiteY109" fmla="*/ 1105319 h 1240971"/>
              <a:gd name="connsiteX110" fmla="*/ 2868867 w 5730544"/>
              <a:gd name="connsiteY110" fmla="*/ 1075173 h 1240971"/>
              <a:gd name="connsiteX111" fmla="*/ 2893988 w 5730544"/>
              <a:gd name="connsiteY111" fmla="*/ 1070149 h 1240971"/>
              <a:gd name="connsiteX112" fmla="*/ 2919109 w 5730544"/>
              <a:gd name="connsiteY112" fmla="*/ 1075173 h 1240971"/>
              <a:gd name="connsiteX113" fmla="*/ 2934182 w 5730544"/>
              <a:gd name="connsiteY113" fmla="*/ 1080198 h 1240971"/>
              <a:gd name="connsiteX114" fmla="*/ 2944230 w 5730544"/>
              <a:gd name="connsiteY114" fmla="*/ 1110343 h 1240971"/>
              <a:gd name="connsiteX115" fmla="*/ 2959303 w 5730544"/>
              <a:gd name="connsiteY115" fmla="*/ 1125415 h 1240971"/>
              <a:gd name="connsiteX116" fmla="*/ 2979399 w 5730544"/>
              <a:gd name="connsiteY116" fmla="*/ 1155560 h 1240971"/>
              <a:gd name="connsiteX117" fmla="*/ 2994472 w 5730544"/>
              <a:gd name="connsiteY117" fmla="*/ 1160584 h 1240971"/>
              <a:gd name="connsiteX118" fmla="*/ 3014569 w 5730544"/>
              <a:gd name="connsiteY118" fmla="*/ 1180681 h 1240971"/>
              <a:gd name="connsiteX119" fmla="*/ 3024617 w 5730544"/>
              <a:gd name="connsiteY119" fmla="*/ 1190730 h 1240971"/>
              <a:gd name="connsiteX120" fmla="*/ 3069835 w 5730544"/>
              <a:gd name="connsiteY120" fmla="*/ 1215850 h 1240971"/>
              <a:gd name="connsiteX121" fmla="*/ 3079883 w 5730544"/>
              <a:gd name="connsiteY121" fmla="*/ 1225899 h 1240971"/>
              <a:gd name="connsiteX122" fmla="*/ 3099980 w 5730544"/>
              <a:gd name="connsiteY122" fmla="*/ 1230923 h 1240971"/>
              <a:gd name="connsiteX123" fmla="*/ 3130125 w 5730544"/>
              <a:gd name="connsiteY123" fmla="*/ 1240971 h 1240971"/>
              <a:gd name="connsiteX124" fmla="*/ 3180366 w 5730544"/>
              <a:gd name="connsiteY124" fmla="*/ 1235947 h 1240971"/>
              <a:gd name="connsiteX125" fmla="*/ 3195439 w 5730544"/>
              <a:gd name="connsiteY125" fmla="*/ 1225899 h 1240971"/>
              <a:gd name="connsiteX126" fmla="*/ 3220560 w 5730544"/>
              <a:gd name="connsiteY126" fmla="*/ 1215850 h 1240971"/>
              <a:gd name="connsiteX127" fmla="*/ 3255729 w 5730544"/>
              <a:gd name="connsiteY127" fmla="*/ 1185705 h 1240971"/>
              <a:gd name="connsiteX128" fmla="*/ 3295922 w 5730544"/>
              <a:gd name="connsiteY128" fmla="*/ 1160584 h 1240971"/>
              <a:gd name="connsiteX129" fmla="*/ 3310995 w 5730544"/>
              <a:gd name="connsiteY129" fmla="*/ 1145512 h 1240971"/>
              <a:gd name="connsiteX130" fmla="*/ 3351188 w 5730544"/>
              <a:gd name="connsiteY130" fmla="*/ 1140488 h 1240971"/>
              <a:gd name="connsiteX131" fmla="*/ 3406454 w 5730544"/>
              <a:gd name="connsiteY131" fmla="*/ 1155560 h 1240971"/>
              <a:gd name="connsiteX132" fmla="*/ 3426551 w 5730544"/>
              <a:gd name="connsiteY132" fmla="*/ 1165609 h 1240971"/>
              <a:gd name="connsiteX133" fmla="*/ 3441624 w 5730544"/>
              <a:gd name="connsiteY133" fmla="*/ 1175657 h 1240971"/>
              <a:gd name="connsiteX134" fmla="*/ 3456696 w 5730544"/>
              <a:gd name="connsiteY134" fmla="*/ 1180681 h 1240971"/>
              <a:gd name="connsiteX135" fmla="*/ 3466744 w 5730544"/>
              <a:gd name="connsiteY135" fmla="*/ 1195754 h 1240971"/>
              <a:gd name="connsiteX136" fmla="*/ 3527035 w 5730544"/>
              <a:gd name="connsiteY136" fmla="*/ 1200778 h 1240971"/>
              <a:gd name="connsiteX137" fmla="*/ 3542107 w 5730544"/>
              <a:gd name="connsiteY137" fmla="*/ 1190730 h 1240971"/>
              <a:gd name="connsiteX138" fmla="*/ 3567228 w 5730544"/>
              <a:gd name="connsiteY138" fmla="*/ 1180681 h 1240971"/>
              <a:gd name="connsiteX139" fmla="*/ 3587325 w 5730544"/>
              <a:gd name="connsiteY139" fmla="*/ 1150536 h 1240971"/>
              <a:gd name="connsiteX140" fmla="*/ 3617470 w 5730544"/>
              <a:gd name="connsiteY140" fmla="*/ 1125415 h 1240971"/>
              <a:gd name="connsiteX141" fmla="*/ 3632542 w 5730544"/>
              <a:gd name="connsiteY141" fmla="*/ 1105319 h 1240971"/>
              <a:gd name="connsiteX142" fmla="*/ 3662687 w 5730544"/>
              <a:gd name="connsiteY142" fmla="*/ 1085222 h 1240971"/>
              <a:gd name="connsiteX143" fmla="*/ 3697856 w 5730544"/>
              <a:gd name="connsiteY143" fmla="*/ 1070149 h 1240971"/>
              <a:gd name="connsiteX144" fmla="*/ 3707905 w 5730544"/>
              <a:gd name="connsiteY144" fmla="*/ 1060101 h 1240971"/>
              <a:gd name="connsiteX145" fmla="*/ 3743074 w 5730544"/>
              <a:gd name="connsiteY145" fmla="*/ 1040004 h 1240971"/>
              <a:gd name="connsiteX146" fmla="*/ 3813413 w 5730544"/>
              <a:gd name="connsiteY146" fmla="*/ 1024932 h 1240971"/>
              <a:gd name="connsiteX147" fmla="*/ 3833509 w 5730544"/>
              <a:gd name="connsiteY147" fmla="*/ 1014883 h 1240971"/>
              <a:gd name="connsiteX148" fmla="*/ 3858630 w 5730544"/>
              <a:gd name="connsiteY148" fmla="*/ 1009859 h 1240971"/>
              <a:gd name="connsiteX149" fmla="*/ 3873703 w 5730544"/>
              <a:gd name="connsiteY149" fmla="*/ 1004835 h 1240971"/>
              <a:gd name="connsiteX150" fmla="*/ 3923944 w 5730544"/>
              <a:gd name="connsiteY150" fmla="*/ 1014883 h 1240971"/>
              <a:gd name="connsiteX151" fmla="*/ 3933993 w 5730544"/>
              <a:gd name="connsiteY151" fmla="*/ 1029956 h 1240971"/>
              <a:gd name="connsiteX152" fmla="*/ 3964138 w 5730544"/>
              <a:gd name="connsiteY152" fmla="*/ 1075173 h 1240971"/>
              <a:gd name="connsiteX153" fmla="*/ 3969162 w 5730544"/>
              <a:gd name="connsiteY153" fmla="*/ 1100294 h 1240971"/>
              <a:gd name="connsiteX154" fmla="*/ 3979210 w 5730544"/>
              <a:gd name="connsiteY154" fmla="*/ 1110343 h 1240971"/>
              <a:gd name="connsiteX155" fmla="*/ 3984235 w 5730544"/>
              <a:gd name="connsiteY155" fmla="*/ 1130439 h 1240971"/>
              <a:gd name="connsiteX156" fmla="*/ 4019404 w 5730544"/>
              <a:gd name="connsiteY156" fmla="*/ 1165609 h 1240971"/>
              <a:gd name="connsiteX157" fmla="*/ 4064621 w 5730544"/>
              <a:gd name="connsiteY157" fmla="*/ 1150536 h 1240971"/>
              <a:gd name="connsiteX158" fmla="*/ 4079694 w 5730544"/>
              <a:gd name="connsiteY158" fmla="*/ 1125415 h 1240971"/>
              <a:gd name="connsiteX159" fmla="*/ 4099791 w 5730544"/>
              <a:gd name="connsiteY159" fmla="*/ 1105319 h 1240971"/>
              <a:gd name="connsiteX160" fmla="*/ 4129936 w 5730544"/>
              <a:gd name="connsiteY160" fmla="*/ 1075173 h 1240971"/>
              <a:gd name="connsiteX161" fmla="*/ 4150032 w 5730544"/>
              <a:gd name="connsiteY161" fmla="*/ 1040004 h 1240971"/>
              <a:gd name="connsiteX162" fmla="*/ 4160081 w 5730544"/>
              <a:gd name="connsiteY162" fmla="*/ 1019908 h 1240971"/>
              <a:gd name="connsiteX163" fmla="*/ 4165105 w 5730544"/>
              <a:gd name="connsiteY163" fmla="*/ 1004835 h 1240971"/>
              <a:gd name="connsiteX164" fmla="*/ 4185202 w 5730544"/>
              <a:gd name="connsiteY164" fmla="*/ 984738 h 1240971"/>
              <a:gd name="connsiteX165" fmla="*/ 4200274 w 5730544"/>
              <a:gd name="connsiteY165" fmla="*/ 979714 h 1240971"/>
              <a:gd name="connsiteX166" fmla="*/ 4235443 w 5730544"/>
              <a:gd name="connsiteY166" fmla="*/ 954593 h 1240971"/>
              <a:gd name="connsiteX167" fmla="*/ 4275637 w 5730544"/>
              <a:gd name="connsiteY167" fmla="*/ 934497 h 1240971"/>
              <a:gd name="connsiteX168" fmla="*/ 4310806 w 5730544"/>
              <a:gd name="connsiteY168" fmla="*/ 914400 h 1240971"/>
              <a:gd name="connsiteX169" fmla="*/ 4325878 w 5730544"/>
              <a:gd name="connsiteY169" fmla="*/ 904352 h 1240971"/>
              <a:gd name="connsiteX170" fmla="*/ 4381144 w 5730544"/>
              <a:gd name="connsiteY170" fmla="*/ 904352 h 1240971"/>
              <a:gd name="connsiteX171" fmla="*/ 4401241 w 5730544"/>
              <a:gd name="connsiteY171" fmla="*/ 914400 h 1240971"/>
              <a:gd name="connsiteX172" fmla="*/ 4416314 w 5730544"/>
              <a:gd name="connsiteY172" fmla="*/ 919424 h 1240971"/>
              <a:gd name="connsiteX173" fmla="*/ 4431386 w 5730544"/>
              <a:gd name="connsiteY173" fmla="*/ 929472 h 1240971"/>
              <a:gd name="connsiteX174" fmla="*/ 4456507 w 5730544"/>
              <a:gd name="connsiteY174" fmla="*/ 974690 h 1240971"/>
              <a:gd name="connsiteX175" fmla="*/ 4476604 w 5730544"/>
              <a:gd name="connsiteY175" fmla="*/ 999811 h 1240971"/>
              <a:gd name="connsiteX176" fmla="*/ 4567039 w 5730544"/>
              <a:gd name="connsiteY176" fmla="*/ 994787 h 1240971"/>
              <a:gd name="connsiteX177" fmla="*/ 4597184 w 5730544"/>
              <a:gd name="connsiteY177" fmla="*/ 969666 h 1240971"/>
              <a:gd name="connsiteX178" fmla="*/ 4617281 w 5730544"/>
              <a:gd name="connsiteY178" fmla="*/ 959617 h 1240971"/>
              <a:gd name="connsiteX179" fmla="*/ 4632353 w 5730544"/>
              <a:gd name="connsiteY179" fmla="*/ 944545 h 1240971"/>
              <a:gd name="connsiteX180" fmla="*/ 4652450 w 5730544"/>
              <a:gd name="connsiteY180" fmla="*/ 934497 h 1240971"/>
              <a:gd name="connsiteX181" fmla="*/ 4672547 w 5730544"/>
              <a:gd name="connsiteY181" fmla="*/ 919424 h 1240971"/>
              <a:gd name="connsiteX182" fmla="*/ 4737861 w 5730544"/>
              <a:gd name="connsiteY182" fmla="*/ 884255 h 1240971"/>
              <a:gd name="connsiteX183" fmla="*/ 4762982 w 5730544"/>
              <a:gd name="connsiteY183" fmla="*/ 879231 h 1240971"/>
              <a:gd name="connsiteX184" fmla="*/ 4778054 w 5730544"/>
              <a:gd name="connsiteY184" fmla="*/ 874206 h 1240971"/>
              <a:gd name="connsiteX185" fmla="*/ 4819294 w 5730544"/>
              <a:gd name="connsiteY185" fmla="*/ 873944 h 1240971"/>
              <a:gd name="connsiteX186" fmla="*/ 4877465 w 5730544"/>
              <a:gd name="connsiteY186" fmla="*/ 895638 h 1240971"/>
              <a:gd name="connsiteX187" fmla="*/ 4935347 w 5730544"/>
              <a:gd name="connsiteY187" fmla="*/ 934523 h 1240971"/>
              <a:gd name="connsiteX188" fmla="*/ 4995402 w 5730544"/>
              <a:gd name="connsiteY188" fmla="*/ 1006746 h 1240971"/>
              <a:gd name="connsiteX189" fmla="*/ 5024762 w 5730544"/>
              <a:gd name="connsiteY189" fmla="*/ 1051963 h 1240971"/>
              <a:gd name="connsiteX190" fmla="*/ 5092223 w 5730544"/>
              <a:gd name="connsiteY190" fmla="*/ 1016506 h 1240971"/>
              <a:gd name="connsiteX191" fmla="*/ 5144322 w 5730544"/>
              <a:gd name="connsiteY191" fmla="*/ 948261 h 1240971"/>
              <a:gd name="connsiteX192" fmla="*/ 5189252 w 5730544"/>
              <a:gd name="connsiteY192" fmla="*/ 886112 h 1240971"/>
              <a:gd name="connsiteX193" fmla="*/ 5226279 w 5730544"/>
              <a:gd name="connsiteY193" fmla="*/ 856230 h 1240971"/>
              <a:gd name="connsiteX194" fmla="*/ 5260637 w 5730544"/>
              <a:gd name="connsiteY194" fmla="*/ 822918 h 1240971"/>
              <a:gd name="connsiteX195" fmla="*/ 5295282 w 5730544"/>
              <a:gd name="connsiteY195" fmla="*/ 800440 h 1240971"/>
              <a:gd name="connsiteX196" fmla="*/ 5334430 w 5730544"/>
              <a:gd name="connsiteY196" fmla="*/ 794893 h 1240971"/>
              <a:gd name="connsiteX197" fmla="*/ 5412174 w 5730544"/>
              <a:gd name="connsiteY197" fmla="*/ 824252 h 1240971"/>
              <a:gd name="connsiteX198" fmla="*/ 5431197 w 5730544"/>
              <a:gd name="connsiteY198" fmla="*/ 768699 h 1240971"/>
              <a:gd name="connsiteX199" fmla="*/ 5441246 w 5730544"/>
              <a:gd name="connsiteY199" fmla="*/ 753626 h 1240971"/>
              <a:gd name="connsiteX200" fmla="*/ 5456318 w 5730544"/>
              <a:gd name="connsiteY200" fmla="*/ 708409 h 1240971"/>
              <a:gd name="connsiteX201" fmla="*/ 5466366 w 5730544"/>
              <a:gd name="connsiteY201" fmla="*/ 683288 h 1240971"/>
              <a:gd name="connsiteX202" fmla="*/ 5476415 w 5730544"/>
              <a:gd name="connsiteY202" fmla="*/ 643094 h 1240971"/>
              <a:gd name="connsiteX203" fmla="*/ 5491487 w 5730544"/>
              <a:gd name="connsiteY203" fmla="*/ 617973 h 1240971"/>
              <a:gd name="connsiteX204" fmla="*/ 5506560 w 5730544"/>
              <a:gd name="connsiteY204" fmla="*/ 572756 h 1240971"/>
              <a:gd name="connsiteX205" fmla="*/ 5526656 w 5730544"/>
              <a:gd name="connsiteY205" fmla="*/ 522514 h 1240971"/>
              <a:gd name="connsiteX206" fmla="*/ 5546753 w 5730544"/>
              <a:gd name="connsiteY206" fmla="*/ 467248 h 1240971"/>
              <a:gd name="connsiteX207" fmla="*/ 5556802 w 5730544"/>
              <a:gd name="connsiteY207" fmla="*/ 411982 h 1240971"/>
              <a:gd name="connsiteX208" fmla="*/ 5566850 w 5730544"/>
              <a:gd name="connsiteY208" fmla="*/ 381837 h 1240971"/>
              <a:gd name="connsiteX209" fmla="*/ 5576898 w 5730544"/>
              <a:gd name="connsiteY209" fmla="*/ 356716 h 1240971"/>
              <a:gd name="connsiteX210" fmla="*/ 5596995 w 5730544"/>
              <a:gd name="connsiteY210" fmla="*/ 316523 h 1240971"/>
              <a:gd name="connsiteX211" fmla="*/ 5617092 w 5730544"/>
              <a:gd name="connsiteY211" fmla="*/ 246184 h 1240971"/>
              <a:gd name="connsiteX212" fmla="*/ 5622116 w 5730544"/>
              <a:gd name="connsiteY212" fmla="*/ 226088 h 1240971"/>
              <a:gd name="connsiteX213" fmla="*/ 5632164 w 5730544"/>
              <a:gd name="connsiteY213" fmla="*/ 216039 h 1240971"/>
              <a:gd name="connsiteX214" fmla="*/ 5637188 w 5730544"/>
              <a:gd name="connsiteY214" fmla="*/ 200967 h 1240971"/>
              <a:gd name="connsiteX215" fmla="*/ 5642213 w 5730544"/>
              <a:gd name="connsiteY215" fmla="*/ 180870 h 1240971"/>
              <a:gd name="connsiteX216" fmla="*/ 5652261 w 5730544"/>
              <a:gd name="connsiteY216" fmla="*/ 165798 h 1240971"/>
              <a:gd name="connsiteX217" fmla="*/ 5693265 w 5730544"/>
              <a:gd name="connsiteY217" fmla="*/ 101268 h 1240971"/>
              <a:gd name="connsiteX218" fmla="*/ 5728722 w 5730544"/>
              <a:gd name="connsiteY218" fmla="*/ 42287 h 1240971"/>
              <a:gd name="connsiteX219" fmla="*/ 5634284 w 5730544"/>
              <a:gd name="connsiteY219" fmla="*/ 25357 h 1240971"/>
              <a:gd name="connsiteX220" fmla="*/ 5575040 w 5730544"/>
              <a:gd name="connsiteY220" fmla="*/ 39120 h 1240971"/>
              <a:gd name="connsiteX221" fmla="*/ 5470369 w 5730544"/>
              <a:gd name="connsiteY221" fmla="*/ 39381 h 1240971"/>
              <a:gd name="connsiteX222" fmla="*/ 5379124 w 5730544"/>
              <a:gd name="connsiteY222" fmla="*/ 39644 h 1240971"/>
              <a:gd name="connsiteX223" fmla="*/ 5309282 w 5730544"/>
              <a:gd name="connsiteY223" fmla="*/ 42287 h 1240971"/>
              <a:gd name="connsiteX224" fmla="*/ 5238682 w 5730544"/>
              <a:gd name="connsiteY224" fmla="*/ 54455 h 1240971"/>
              <a:gd name="connsiteX225" fmla="*/ 5108892 w 5730544"/>
              <a:gd name="connsiteY225" fmla="*/ 37524 h 1240971"/>
              <a:gd name="connsiteX226" fmla="*/ 5020026 w 5730544"/>
              <a:gd name="connsiteY226" fmla="*/ 39120 h 1240971"/>
              <a:gd name="connsiteX227" fmla="*/ 4946233 w 5730544"/>
              <a:gd name="connsiteY227" fmla="*/ 41240 h 1240971"/>
              <a:gd name="connsiteX228" fmla="*/ 4823272 w 5730544"/>
              <a:gd name="connsiteY228" fmla="*/ 50242 h 1240971"/>
              <a:gd name="connsiteX229" fmla="*/ 4727577 w 5730544"/>
              <a:gd name="connsiteY229" fmla="*/ 29073 h 1240971"/>
              <a:gd name="connsiteX230" fmla="*/ 4628376 w 5730544"/>
              <a:gd name="connsiteY230" fmla="*/ 41240 h 1240971"/>
              <a:gd name="connsiteX231" fmla="*/ 4565180 w 5730544"/>
              <a:gd name="connsiteY231" fmla="*/ 46264 h 1240971"/>
              <a:gd name="connsiteX232" fmla="*/ 4417596 w 5730544"/>
              <a:gd name="connsiteY232" fmla="*/ 44406 h 1240971"/>
              <a:gd name="connsiteX233" fmla="*/ 4139984 w 5730544"/>
              <a:gd name="connsiteY233" fmla="*/ 60290 h 1240971"/>
              <a:gd name="connsiteX234" fmla="*/ 3918920 w 5730544"/>
              <a:gd name="connsiteY234" fmla="*/ 50242 h 1240971"/>
              <a:gd name="connsiteX235" fmla="*/ 3873703 w 5730544"/>
              <a:gd name="connsiteY235" fmla="*/ 45217 h 1240971"/>
              <a:gd name="connsiteX236" fmla="*/ 3687808 w 5730544"/>
              <a:gd name="connsiteY236" fmla="*/ 40193 h 1240971"/>
              <a:gd name="connsiteX237" fmla="*/ 3662687 w 5730544"/>
              <a:gd name="connsiteY237" fmla="*/ 35169 h 1240971"/>
              <a:gd name="connsiteX238" fmla="*/ 3627518 w 5730544"/>
              <a:gd name="connsiteY238" fmla="*/ 25121 h 1240971"/>
              <a:gd name="connsiteX239" fmla="*/ 3547131 w 5730544"/>
              <a:gd name="connsiteY239" fmla="*/ 20097 h 1240971"/>
              <a:gd name="connsiteX240" fmla="*/ 3310995 w 5730544"/>
              <a:gd name="connsiteY240" fmla="*/ 25121 h 1240971"/>
              <a:gd name="connsiteX241" fmla="*/ 3265777 w 5730544"/>
              <a:gd name="connsiteY241" fmla="*/ 30145 h 1240971"/>
              <a:gd name="connsiteX242" fmla="*/ 3175342 w 5730544"/>
              <a:gd name="connsiteY242" fmla="*/ 35169 h 1240971"/>
              <a:gd name="connsiteX243" fmla="*/ 2582489 w 5730544"/>
              <a:gd name="connsiteY243" fmla="*/ 45217 h 1240971"/>
              <a:gd name="connsiteX244" fmla="*/ 2255918 w 5730544"/>
              <a:gd name="connsiteY244" fmla="*/ 40193 h 1240971"/>
              <a:gd name="connsiteX245" fmla="*/ 1974564 w 5730544"/>
              <a:gd name="connsiteY245" fmla="*/ 30145 h 1240971"/>
              <a:gd name="connsiteX246" fmla="*/ 1944419 w 5730544"/>
              <a:gd name="connsiteY246" fmla="*/ 25121 h 1240971"/>
              <a:gd name="connsiteX247" fmla="*/ 1848960 w 5730544"/>
              <a:gd name="connsiteY247" fmla="*/ 20097 h 1240971"/>
              <a:gd name="connsiteX248" fmla="*/ 1768573 w 5730544"/>
              <a:gd name="connsiteY248" fmla="*/ 10048 h 1240971"/>
              <a:gd name="connsiteX249" fmla="*/ 1502292 w 5730544"/>
              <a:gd name="connsiteY249" fmla="*/ 20097 h 1240971"/>
              <a:gd name="connsiteX250" fmla="*/ 1467122 w 5730544"/>
              <a:gd name="connsiteY250" fmla="*/ 25121 h 1240971"/>
              <a:gd name="connsiteX251" fmla="*/ 1426929 w 5730544"/>
              <a:gd name="connsiteY251" fmla="*/ 30145 h 1240971"/>
              <a:gd name="connsiteX252" fmla="*/ 1341518 w 5730544"/>
              <a:gd name="connsiteY252" fmla="*/ 45217 h 1240971"/>
              <a:gd name="connsiteX253" fmla="*/ 1095333 w 5730544"/>
              <a:gd name="connsiteY253" fmla="*/ 35169 h 1240971"/>
              <a:gd name="connsiteX254" fmla="*/ 979777 w 5730544"/>
              <a:gd name="connsiteY254" fmla="*/ 20097 h 1240971"/>
              <a:gd name="connsiteX255" fmla="*/ 939584 w 5730544"/>
              <a:gd name="connsiteY255" fmla="*/ 10048 h 1240971"/>
              <a:gd name="connsiteX256" fmla="*/ 813980 w 5730544"/>
              <a:gd name="connsiteY256" fmla="*/ 0 h 1240971"/>
              <a:gd name="connsiteX257" fmla="*/ 743641 w 5730544"/>
              <a:gd name="connsiteY257" fmla="*/ 5024 h 1240971"/>
              <a:gd name="connsiteX258" fmla="*/ 582867 w 5730544"/>
              <a:gd name="connsiteY258" fmla="*/ 15072 h 1240971"/>
              <a:gd name="connsiteX259" fmla="*/ 432142 w 5730544"/>
              <a:gd name="connsiteY259" fmla="*/ 5024 h 1240971"/>
              <a:gd name="connsiteX260" fmla="*/ 412046 w 5730544"/>
              <a:gd name="connsiteY260" fmla="*/ 0 h 1240971"/>
              <a:gd name="connsiteX261" fmla="*/ 281417 w 5730544"/>
              <a:gd name="connsiteY261" fmla="*/ 10048 h 1240971"/>
              <a:gd name="connsiteX262" fmla="*/ 261320 w 5730544"/>
              <a:gd name="connsiteY262" fmla="*/ 15072 h 1240971"/>
              <a:gd name="connsiteX263" fmla="*/ 100547 w 5730544"/>
              <a:gd name="connsiteY263" fmla="*/ 20097 h 1240971"/>
              <a:gd name="connsiteX264" fmla="*/ 5087 w 5730544"/>
              <a:gd name="connsiteY264" fmla="*/ 30145 h 1240971"/>
              <a:gd name="connsiteX0" fmla="*/ 5087 w 5730544"/>
              <a:gd name="connsiteY0" fmla="*/ 30145 h 1240971"/>
              <a:gd name="connsiteX1" fmla="*/ 15136 w 5730544"/>
              <a:gd name="connsiteY1" fmla="*/ 115556 h 1240971"/>
              <a:gd name="connsiteX2" fmla="*/ 20160 w 5730544"/>
              <a:gd name="connsiteY2" fmla="*/ 150725 h 1240971"/>
              <a:gd name="connsiteX3" fmla="*/ 25184 w 5730544"/>
              <a:gd name="connsiteY3" fmla="*/ 236136 h 1240971"/>
              <a:gd name="connsiteX4" fmla="*/ 35232 w 5730544"/>
              <a:gd name="connsiteY4" fmla="*/ 311499 h 1240971"/>
              <a:gd name="connsiteX5" fmla="*/ 40256 w 5730544"/>
              <a:gd name="connsiteY5" fmla="*/ 783771 h 1240971"/>
              <a:gd name="connsiteX6" fmla="*/ 45281 w 5730544"/>
              <a:gd name="connsiteY6" fmla="*/ 864158 h 1240971"/>
              <a:gd name="connsiteX7" fmla="*/ 35232 w 5730544"/>
              <a:gd name="connsiteY7" fmla="*/ 1034980 h 1240971"/>
              <a:gd name="connsiteX8" fmla="*/ 25184 w 5730544"/>
              <a:gd name="connsiteY8" fmla="*/ 1100294 h 1240971"/>
              <a:gd name="connsiteX9" fmla="*/ 20160 w 5730544"/>
              <a:gd name="connsiteY9" fmla="*/ 1150536 h 1240971"/>
              <a:gd name="connsiteX10" fmla="*/ 25184 w 5730544"/>
              <a:gd name="connsiteY10" fmla="*/ 1170633 h 1240971"/>
              <a:gd name="connsiteX11" fmla="*/ 35232 w 5730544"/>
              <a:gd name="connsiteY11" fmla="*/ 1160584 h 1240971"/>
              <a:gd name="connsiteX12" fmla="*/ 55329 w 5730544"/>
              <a:gd name="connsiteY12" fmla="*/ 1100294 h 1240971"/>
              <a:gd name="connsiteX13" fmla="*/ 60353 w 5730544"/>
              <a:gd name="connsiteY13" fmla="*/ 1085222 h 1240971"/>
              <a:gd name="connsiteX14" fmla="*/ 70402 w 5730544"/>
              <a:gd name="connsiteY14" fmla="*/ 1075173 h 1240971"/>
              <a:gd name="connsiteX15" fmla="*/ 95522 w 5730544"/>
              <a:gd name="connsiteY15" fmla="*/ 1045028 h 1240971"/>
              <a:gd name="connsiteX16" fmla="*/ 110595 w 5730544"/>
              <a:gd name="connsiteY16" fmla="*/ 1040004 h 1240971"/>
              <a:gd name="connsiteX17" fmla="*/ 135716 w 5730544"/>
              <a:gd name="connsiteY17" fmla="*/ 1019908 h 1240971"/>
              <a:gd name="connsiteX18" fmla="*/ 150788 w 5730544"/>
              <a:gd name="connsiteY18" fmla="*/ 1009859 h 1240971"/>
              <a:gd name="connsiteX19" fmla="*/ 175909 w 5730544"/>
              <a:gd name="connsiteY19" fmla="*/ 994787 h 1240971"/>
              <a:gd name="connsiteX20" fmla="*/ 216103 w 5730544"/>
              <a:gd name="connsiteY20" fmla="*/ 984738 h 1240971"/>
              <a:gd name="connsiteX21" fmla="*/ 286441 w 5730544"/>
              <a:gd name="connsiteY21" fmla="*/ 994787 h 1240971"/>
              <a:gd name="connsiteX22" fmla="*/ 301514 w 5730544"/>
              <a:gd name="connsiteY22" fmla="*/ 1004835 h 1240971"/>
              <a:gd name="connsiteX23" fmla="*/ 321610 w 5730544"/>
              <a:gd name="connsiteY23" fmla="*/ 1034980 h 1240971"/>
              <a:gd name="connsiteX24" fmla="*/ 356780 w 5730544"/>
              <a:gd name="connsiteY24" fmla="*/ 1065125 h 1240971"/>
              <a:gd name="connsiteX25" fmla="*/ 366828 w 5730544"/>
              <a:gd name="connsiteY25" fmla="*/ 1080198 h 1240971"/>
              <a:gd name="connsiteX26" fmla="*/ 381900 w 5730544"/>
              <a:gd name="connsiteY26" fmla="*/ 1085222 h 1240971"/>
              <a:gd name="connsiteX27" fmla="*/ 396973 w 5730544"/>
              <a:gd name="connsiteY27" fmla="*/ 1095270 h 1240971"/>
              <a:gd name="connsiteX28" fmla="*/ 407021 w 5730544"/>
              <a:gd name="connsiteY28" fmla="*/ 1105319 h 1240971"/>
              <a:gd name="connsiteX29" fmla="*/ 422094 w 5730544"/>
              <a:gd name="connsiteY29" fmla="*/ 1110343 h 1240971"/>
              <a:gd name="connsiteX30" fmla="*/ 437166 w 5730544"/>
              <a:gd name="connsiteY30" fmla="*/ 1120391 h 1240971"/>
              <a:gd name="connsiteX31" fmla="*/ 467311 w 5730544"/>
              <a:gd name="connsiteY31" fmla="*/ 1130439 h 1240971"/>
              <a:gd name="connsiteX32" fmla="*/ 522577 w 5730544"/>
              <a:gd name="connsiteY32" fmla="*/ 1115367 h 1240971"/>
              <a:gd name="connsiteX33" fmla="*/ 552722 w 5730544"/>
              <a:gd name="connsiteY33" fmla="*/ 1075173 h 1240971"/>
              <a:gd name="connsiteX34" fmla="*/ 567795 w 5730544"/>
              <a:gd name="connsiteY34" fmla="*/ 1070149 h 1240971"/>
              <a:gd name="connsiteX35" fmla="*/ 582867 w 5730544"/>
              <a:gd name="connsiteY35" fmla="*/ 1060101 h 1240971"/>
              <a:gd name="connsiteX36" fmla="*/ 638133 w 5730544"/>
              <a:gd name="connsiteY36" fmla="*/ 1045028 h 1240971"/>
              <a:gd name="connsiteX37" fmla="*/ 653206 w 5730544"/>
              <a:gd name="connsiteY37" fmla="*/ 1040004 h 1240971"/>
              <a:gd name="connsiteX38" fmla="*/ 693399 w 5730544"/>
              <a:gd name="connsiteY38" fmla="*/ 1045028 h 1240971"/>
              <a:gd name="connsiteX39" fmla="*/ 723544 w 5730544"/>
              <a:gd name="connsiteY39" fmla="*/ 1055077 h 1240971"/>
              <a:gd name="connsiteX40" fmla="*/ 733593 w 5730544"/>
              <a:gd name="connsiteY40" fmla="*/ 1065125 h 1240971"/>
              <a:gd name="connsiteX41" fmla="*/ 768762 w 5730544"/>
              <a:gd name="connsiteY41" fmla="*/ 1080198 h 1240971"/>
              <a:gd name="connsiteX42" fmla="*/ 803931 w 5730544"/>
              <a:gd name="connsiteY42" fmla="*/ 1105319 h 1240971"/>
              <a:gd name="connsiteX43" fmla="*/ 834076 w 5730544"/>
              <a:gd name="connsiteY43" fmla="*/ 1130439 h 1240971"/>
              <a:gd name="connsiteX44" fmla="*/ 869246 w 5730544"/>
              <a:gd name="connsiteY44" fmla="*/ 1140488 h 1240971"/>
              <a:gd name="connsiteX45" fmla="*/ 909439 w 5730544"/>
              <a:gd name="connsiteY45" fmla="*/ 1175657 h 1240971"/>
              <a:gd name="connsiteX46" fmla="*/ 939584 w 5730544"/>
              <a:gd name="connsiteY46" fmla="*/ 1185705 h 1240971"/>
              <a:gd name="connsiteX47" fmla="*/ 979777 w 5730544"/>
              <a:gd name="connsiteY47" fmla="*/ 1180681 h 1240971"/>
              <a:gd name="connsiteX48" fmla="*/ 989826 w 5730544"/>
              <a:gd name="connsiteY48" fmla="*/ 1170633 h 1240971"/>
              <a:gd name="connsiteX49" fmla="*/ 1004898 w 5730544"/>
              <a:gd name="connsiteY49" fmla="*/ 1150536 h 1240971"/>
              <a:gd name="connsiteX50" fmla="*/ 1014947 w 5730544"/>
              <a:gd name="connsiteY50" fmla="*/ 1120391 h 1240971"/>
              <a:gd name="connsiteX51" fmla="*/ 1040067 w 5730544"/>
              <a:gd name="connsiteY51" fmla="*/ 1095270 h 1240971"/>
              <a:gd name="connsiteX52" fmla="*/ 1050116 w 5730544"/>
              <a:gd name="connsiteY52" fmla="*/ 1085222 h 1240971"/>
              <a:gd name="connsiteX53" fmla="*/ 1075237 w 5730544"/>
              <a:gd name="connsiteY53" fmla="*/ 1065125 h 1240971"/>
              <a:gd name="connsiteX54" fmla="*/ 1090309 w 5730544"/>
              <a:gd name="connsiteY54" fmla="*/ 1050053 h 1240971"/>
              <a:gd name="connsiteX55" fmla="*/ 1120454 w 5730544"/>
              <a:gd name="connsiteY55" fmla="*/ 1040004 h 1240971"/>
              <a:gd name="connsiteX56" fmla="*/ 1135527 w 5730544"/>
              <a:gd name="connsiteY56" fmla="*/ 1034980 h 1240971"/>
              <a:gd name="connsiteX57" fmla="*/ 1160648 w 5730544"/>
              <a:gd name="connsiteY57" fmla="*/ 1019908 h 1240971"/>
              <a:gd name="connsiteX58" fmla="*/ 1175720 w 5730544"/>
              <a:gd name="connsiteY58" fmla="*/ 1014883 h 1240971"/>
              <a:gd name="connsiteX59" fmla="*/ 1195817 w 5730544"/>
              <a:gd name="connsiteY59" fmla="*/ 1004835 h 1240971"/>
              <a:gd name="connsiteX60" fmla="*/ 1281228 w 5730544"/>
              <a:gd name="connsiteY60" fmla="*/ 1014883 h 1240971"/>
              <a:gd name="connsiteX61" fmla="*/ 1296300 w 5730544"/>
              <a:gd name="connsiteY61" fmla="*/ 1024932 h 1240971"/>
              <a:gd name="connsiteX62" fmla="*/ 1311373 w 5730544"/>
              <a:gd name="connsiteY62" fmla="*/ 1029956 h 1240971"/>
              <a:gd name="connsiteX63" fmla="*/ 1326446 w 5730544"/>
              <a:gd name="connsiteY63" fmla="*/ 1060101 h 1240971"/>
              <a:gd name="connsiteX64" fmla="*/ 1341518 w 5730544"/>
              <a:gd name="connsiteY64" fmla="*/ 1065125 h 1240971"/>
              <a:gd name="connsiteX65" fmla="*/ 1356591 w 5730544"/>
              <a:gd name="connsiteY65" fmla="*/ 1075173 h 1240971"/>
              <a:gd name="connsiteX66" fmla="*/ 1396784 w 5730544"/>
              <a:gd name="connsiteY66" fmla="*/ 1090246 h 1240971"/>
              <a:gd name="connsiteX67" fmla="*/ 1447026 w 5730544"/>
              <a:gd name="connsiteY67" fmla="*/ 1105319 h 1240971"/>
              <a:gd name="connsiteX68" fmla="*/ 1462098 w 5730544"/>
              <a:gd name="connsiteY68" fmla="*/ 1110343 h 1240971"/>
              <a:gd name="connsiteX69" fmla="*/ 1497267 w 5730544"/>
              <a:gd name="connsiteY69" fmla="*/ 1120391 h 1240971"/>
              <a:gd name="connsiteX70" fmla="*/ 1552533 w 5730544"/>
              <a:gd name="connsiteY70" fmla="*/ 1115367 h 1240971"/>
              <a:gd name="connsiteX71" fmla="*/ 1567606 w 5730544"/>
              <a:gd name="connsiteY71" fmla="*/ 1110343 h 1240971"/>
              <a:gd name="connsiteX72" fmla="*/ 1587703 w 5730544"/>
              <a:gd name="connsiteY72" fmla="*/ 1090246 h 1240971"/>
              <a:gd name="connsiteX73" fmla="*/ 1637944 w 5730544"/>
              <a:gd name="connsiteY73" fmla="*/ 1050053 h 1240971"/>
              <a:gd name="connsiteX74" fmla="*/ 1653017 w 5730544"/>
              <a:gd name="connsiteY74" fmla="*/ 1029956 h 1240971"/>
              <a:gd name="connsiteX75" fmla="*/ 1688186 w 5730544"/>
              <a:gd name="connsiteY75" fmla="*/ 1019908 h 1240971"/>
              <a:gd name="connsiteX76" fmla="*/ 1788670 w 5730544"/>
              <a:gd name="connsiteY76" fmla="*/ 1029956 h 1240971"/>
              <a:gd name="connsiteX77" fmla="*/ 1818815 w 5730544"/>
              <a:gd name="connsiteY77" fmla="*/ 1040004 h 1240971"/>
              <a:gd name="connsiteX78" fmla="*/ 1853984 w 5730544"/>
              <a:gd name="connsiteY78" fmla="*/ 1050053 h 1240971"/>
              <a:gd name="connsiteX79" fmla="*/ 1869056 w 5730544"/>
              <a:gd name="connsiteY79" fmla="*/ 1060101 h 1240971"/>
              <a:gd name="connsiteX80" fmla="*/ 1894177 w 5730544"/>
              <a:gd name="connsiteY80" fmla="*/ 1065125 h 1240971"/>
              <a:gd name="connsiteX81" fmla="*/ 1949443 w 5730544"/>
              <a:gd name="connsiteY81" fmla="*/ 1085222 h 1240971"/>
              <a:gd name="connsiteX82" fmla="*/ 1969540 w 5730544"/>
              <a:gd name="connsiteY82" fmla="*/ 1090246 h 1240971"/>
              <a:gd name="connsiteX83" fmla="*/ 2014758 w 5730544"/>
              <a:gd name="connsiteY83" fmla="*/ 1110343 h 1240971"/>
              <a:gd name="connsiteX84" fmla="*/ 2039878 w 5730544"/>
              <a:gd name="connsiteY84" fmla="*/ 1125415 h 1240971"/>
              <a:gd name="connsiteX85" fmla="*/ 2120265 w 5730544"/>
              <a:gd name="connsiteY85" fmla="*/ 1120391 h 1240971"/>
              <a:gd name="connsiteX86" fmla="*/ 2130314 w 5730544"/>
              <a:gd name="connsiteY86" fmla="*/ 1110343 h 1240971"/>
              <a:gd name="connsiteX87" fmla="*/ 2155435 w 5730544"/>
              <a:gd name="connsiteY87" fmla="*/ 1100294 h 1240971"/>
              <a:gd name="connsiteX88" fmla="*/ 2190604 w 5730544"/>
              <a:gd name="connsiteY88" fmla="*/ 1070149 h 1240971"/>
              <a:gd name="connsiteX89" fmla="*/ 2230797 w 5730544"/>
              <a:gd name="connsiteY89" fmla="*/ 1040004 h 1240971"/>
              <a:gd name="connsiteX90" fmla="*/ 2245870 w 5730544"/>
              <a:gd name="connsiteY90" fmla="*/ 1034980 h 1240971"/>
              <a:gd name="connsiteX91" fmla="*/ 2270991 w 5730544"/>
              <a:gd name="connsiteY91" fmla="*/ 1019908 h 1240971"/>
              <a:gd name="connsiteX92" fmla="*/ 2301136 w 5730544"/>
              <a:gd name="connsiteY92" fmla="*/ 994787 h 1240971"/>
              <a:gd name="connsiteX93" fmla="*/ 2316208 w 5730544"/>
              <a:gd name="connsiteY93" fmla="*/ 989763 h 1240971"/>
              <a:gd name="connsiteX94" fmla="*/ 2396595 w 5730544"/>
              <a:gd name="connsiteY94" fmla="*/ 984738 h 1240971"/>
              <a:gd name="connsiteX95" fmla="*/ 2426740 w 5730544"/>
              <a:gd name="connsiteY95" fmla="*/ 989763 h 1240971"/>
              <a:gd name="connsiteX96" fmla="*/ 2461909 w 5730544"/>
              <a:gd name="connsiteY96" fmla="*/ 1024932 h 1240971"/>
              <a:gd name="connsiteX97" fmla="*/ 2476982 w 5730544"/>
              <a:gd name="connsiteY97" fmla="*/ 1029956 h 1240971"/>
              <a:gd name="connsiteX98" fmla="*/ 2487030 w 5730544"/>
              <a:gd name="connsiteY98" fmla="*/ 1045028 h 1240971"/>
              <a:gd name="connsiteX99" fmla="*/ 2497078 w 5730544"/>
              <a:gd name="connsiteY99" fmla="*/ 1055077 h 1240971"/>
              <a:gd name="connsiteX100" fmla="*/ 2532248 w 5730544"/>
              <a:gd name="connsiteY100" fmla="*/ 1095270 h 1240971"/>
              <a:gd name="connsiteX101" fmla="*/ 2567417 w 5730544"/>
              <a:gd name="connsiteY101" fmla="*/ 1135464 h 1240971"/>
              <a:gd name="connsiteX102" fmla="*/ 2582489 w 5730544"/>
              <a:gd name="connsiteY102" fmla="*/ 1145512 h 1240971"/>
              <a:gd name="connsiteX103" fmla="*/ 2622683 w 5730544"/>
              <a:gd name="connsiteY103" fmla="*/ 1170633 h 1240971"/>
              <a:gd name="connsiteX104" fmla="*/ 2657852 w 5730544"/>
              <a:gd name="connsiteY104" fmla="*/ 1160584 h 1240971"/>
              <a:gd name="connsiteX105" fmla="*/ 2682973 w 5730544"/>
              <a:gd name="connsiteY105" fmla="*/ 1145512 h 1240971"/>
              <a:gd name="connsiteX106" fmla="*/ 2713118 w 5730544"/>
              <a:gd name="connsiteY106" fmla="*/ 1130439 h 1240971"/>
              <a:gd name="connsiteX107" fmla="*/ 2728191 w 5730544"/>
              <a:gd name="connsiteY107" fmla="*/ 1120391 h 1240971"/>
              <a:gd name="connsiteX108" fmla="*/ 2748287 w 5730544"/>
              <a:gd name="connsiteY108" fmla="*/ 1115367 h 1240971"/>
              <a:gd name="connsiteX109" fmla="*/ 2778432 w 5730544"/>
              <a:gd name="connsiteY109" fmla="*/ 1105319 h 1240971"/>
              <a:gd name="connsiteX110" fmla="*/ 2868867 w 5730544"/>
              <a:gd name="connsiteY110" fmla="*/ 1075173 h 1240971"/>
              <a:gd name="connsiteX111" fmla="*/ 2893988 w 5730544"/>
              <a:gd name="connsiteY111" fmla="*/ 1070149 h 1240971"/>
              <a:gd name="connsiteX112" fmla="*/ 2919109 w 5730544"/>
              <a:gd name="connsiteY112" fmla="*/ 1075173 h 1240971"/>
              <a:gd name="connsiteX113" fmla="*/ 2934182 w 5730544"/>
              <a:gd name="connsiteY113" fmla="*/ 1080198 h 1240971"/>
              <a:gd name="connsiteX114" fmla="*/ 2944230 w 5730544"/>
              <a:gd name="connsiteY114" fmla="*/ 1110343 h 1240971"/>
              <a:gd name="connsiteX115" fmla="*/ 2959303 w 5730544"/>
              <a:gd name="connsiteY115" fmla="*/ 1125415 h 1240971"/>
              <a:gd name="connsiteX116" fmla="*/ 2979399 w 5730544"/>
              <a:gd name="connsiteY116" fmla="*/ 1155560 h 1240971"/>
              <a:gd name="connsiteX117" fmla="*/ 2994472 w 5730544"/>
              <a:gd name="connsiteY117" fmla="*/ 1160584 h 1240971"/>
              <a:gd name="connsiteX118" fmla="*/ 3014569 w 5730544"/>
              <a:gd name="connsiteY118" fmla="*/ 1180681 h 1240971"/>
              <a:gd name="connsiteX119" fmla="*/ 3024617 w 5730544"/>
              <a:gd name="connsiteY119" fmla="*/ 1190730 h 1240971"/>
              <a:gd name="connsiteX120" fmla="*/ 3069835 w 5730544"/>
              <a:gd name="connsiteY120" fmla="*/ 1215850 h 1240971"/>
              <a:gd name="connsiteX121" fmla="*/ 3079883 w 5730544"/>
              <a:gd name="connsiteY121" fmla="*/ 1225899 h 1240971"/>
              <a:gd name="connsiteX122" fmla="*/ 3099980 w 5730544"/>
              <a:gd name="connsiteY122" fmla="*/ 1230923 h 1240971"/>
              <a:gd name="connsiteX123" fmla="*/ 3130125 w 5730544"/>
              <a:gd name="connsiteY123" fmla="*/ 1240971 h 1240971"/>
              <a:gd name="connsiteX124" fmla="*/ 3180366 w 5730544"/>
              <a:gd name="connsiteY124" fmla="*/ 1235947 h 1240971"/>
              <a:gd name="connsiteX125" fmla="*/ 3195439 w 5730544"/>
              <a:gd name="connsiteY125" fmla="*/ 1225899 h 1240971"/>
              <a:gd name="connsiteX126" fmla="*/ 3220560 w 5730544"/>
              <a:gd name="connsiteY126" fmla="*/ 1215850 h 1240971"/>
              <a:gd name="connsiteX127" fmla="*/ 3255729 w 5730544"/>
              <a:gd name="connsiteY127" fmla="*/ 1185705 h 1240971"/>
              <a:gd name="connsiteX128" fmla="*/ 3295922 w 5730544"/>
              <a:gd name="connsiteY128" fmla="*/ 1160584 h 1240971"/>
              <a:gd name="connsiteX129" fmla="*/ 3310995 w 5730544"/>
              <a:gd name="connsiteY129" fmla="*/ 1145512 h 1240971"/>
              <a:gd name="connsiteX130" fmla="*/ 3351188 w 5730544"/>
              <a:gd name="connsiteY130" fmla="*/ 1140488 h 1240971"/>
              <a:gd name="connsiteX131" fmla="*/ 3406454 w 5730544"/>
              <a:gd name="connsiteY131" fmla="*/ 1155560 h 1240971"/>
              <a:gd name="connsiteX132" fmla="*/ 3426551 w 5730544"/>
              <a:gd name="connsiteY132" fmla="*/ 1165609 h 1240971"/>
              <a:gd name="connsiteX133" fmla="*/ 3441624 w 5730544"/>
              <a:gd name="connsiteY133" fmla="*/ 1175657 h 1240971"/>
              <a:gd name="connsiteX134" fmla="*/ 3456696 w 5730544"/>
              <a:gd name="connsiteY134" fmla="*/ 1180681 h 1240971"/>
              <a:gd name="connsiteX135" fmla="*/ 3466744 w 5730544"/>
              <a:gd name="connsiteY135" fmla="*/ 1195754 h 1240971"/>
              <a:gd name="connsiteX136" fmla="*/ 3527035 w 5730544"/>
              <a:gd name="connsiteY136" fmla="*/ 1200778 h 1240971"/>
              <a:gd name="connsiteX137" fmla="*/ 3542107 w 5730544"/>
              <a:gd name="connsiteY137" fmla="*/ 1190730 h 1240971"/>
              <a:gd name="connsiteX138" fmla="*/ 3567228 w 5730544"/>
              <a:gd name="connsiteY138" fmla="*/ 1180681 h 1240971"/>
              <a:gd name="connsiteX139" fmla="*/ 3587325 w 5730544"/>
              <a:gd name="connsiteY139" fmla="*/ 1150536 h 1240971"/>
              <a:gd name="connsiteX140" fmla="*/ 3617470 w 5730544"/>
              <a:gd name="connsiteY140" fmla="*/ 1125415 h 1240971"/>
              <a:gd name="connsiteX141" fmla="*/ 3632542 w 5730544"/>
              <a:gd name="connsiteY141" fmla="*/ 1105319 h 1240971"/>
              <a:gd name="connsiteX142" fmla="*/ 3662687 w 5730544"/>
              <a:gd name="connsiteY142" fmla="*/ 1085222 h 1240971"/>
              <a:gd name="connsiteX143" fmla="*/ 3697856 w 5730544"/>
              <a:gd name="connsiteY143" fmla="*/ 1070149 h 1240971"/>
              <a:gd name="connsiteX144" fmla="*/ 3707905 w 5730544"/>
              <a:gd name="connsiteY144" fmla="*/ 1060101 h 1240971"/>
              <a:gd name="connsiteX145" fmla="*/ 3743074 w 5730544"/>
              <a:gd name="connsiteY145" fmla="*/ 1040004 h 1240971"/>
              <a:gd name="connsiteX146" fmla="*/ 3813413 w 5730544"/>
              <a:gd name="connsiteY146" fmla="*/ 1024932 h 1240971"/>
              <a:gd name="connsiteX147" fmla="*/ 3833509 w 5730544"/>
              <a:gd name="connsiteY147" fmla="*/ 1014883 h 1240971"/>
              <a:gd name="connsiteX148" fmla="*/ 3858630 w 5730544"/>
              <a:gd name="connsiteY148" fmla="*/ 1009859 h 1240971"/>
              <a:gd name="connsiteX149" fmla="*/ 3873703 w 5730544"/>
              <a:gd name="connsiteY149" fmla="*/ 1004835 h 1240971"/>
              <a:gd name="connsiteX150" fmla="*/ 3923944 w 5730544"/>
              <a:gd name="connsiteY150" fmla="*/ 1014883 h 1240971"/>
              <a:gd name="connsiteX151" fmla="*/ 3933993 w 5730544"/>
              <a:gd name="connsiteY151" fmla="*/ 1029956 h 1240971"/>
              <a:gd name="connsiteX152" fmla="*/ 3964138 w 5730544"/>
              <a:gd name="connsiteY152" fmla="*/ 1075173 h 1240971"/>
              <a:gd name="connsiteX153" fmla="*/ 3969162 w 5730544"/>
              <a:gd name="connsiteY153" fmla="*/ 1100294 h 1240971"/>
              <a:gd name="connsiteX154" fmla="*/ 3979210 w 5730544"/>
              <a:gd name="connsiteY154" fmla="*/ 1110343 h 1240971"/>
              <a:gd name="connsiteX155" fmla="*/ 3984235 w 5730544"/>
              <a:gd name="connsiteY155" fmla="*/ 1130439 h 1240971"/>
              <a:gd name="connsiteX156" fmla="*/ 4019404 w 5730544"/>
              <a:gd name="connsiteY156" fmla="*/ 1165609 h 1240971"/>
              <a:gd name="connsiteX157" fmla="*/ 4064621 w 5730544"/>
              <a:gd name="connsiteY157" fmla="*/ 1150536 h 1240971"/>
              <a:gd name="connsiteX158" fmla="*/ 4079694 w 5730544"/>
              <a:gd name="connsiteY158" fmla="*/ 1125415 h 1240971"/>
              <a:gd name="connsiteX159" fmla="*/ 4099791 w 5730544"/>
              <a:gd name="connsiteY159" fmla="*/ 1105319 h 1240971"/>
              <a:gd name="connsiteX160" fmla="*/ 4129936 w 5730544"/>
              <a:gd name="connsiteY160" fmla="*/ 1075173 h 1240971"/>
              <a:gd name="connsiteX161" fmla="*/ 4150032 w 5730544"/>
              <a:gd name="connsiteY161" fmla="*/ 1040004 h 1240971"/>
              <a:gd name="connsiteX162" fmla="*/ 4160081 w 5730544"/>
              <a:gd name="connsiteY162" fmla="*/ 1019908 h 1240971"/>
              <a:gd name="connsiteX163" fmla="*/ 4165105 w 5730544"/>
              <a:gd name="connsiteY163" fmla="*/ 1004835 h 1240971"/>
              <a:gd name="connsiteX164" fmla="*/ 4185202 w 5730544"/>
              <a:gd name="connsiteY164" fmla="*/ 984738 h 1240971"/>
              <a:gd name="connsiteX165" fmla="*/ 4200274 w 5730544"/>
              <a:gd name="connsiteY165" fmla="*/ 979714 h 1240971"/>
              <a:gd name="connsiteX166" fmla="*/ 4235443 w 5730544"/>
              <a:gd name="connsiteY166" fmla="*/ 954593 h 1240971"/>
              <a:gd name="connsiteX167" fmla="*/ 4275637 w 5730544"/>
              <a:gd name="connsiteY167" fmla="*/ 934497 h 1240971"/>
              <a:gd name="connsiteX168" fmla="*/ 4310806 w 5730544"/>
              <a:gd name="connsiteY168" fmla="*/ 914400 h 1240971"/>
              <a:gd name="connsiteX169" fmla="*/ 4325878 w 5730544"/>
              <a:gd name="connsiteY169" fmla="*/ 904352 h 1240971"/>
              <a:gd name="connsiteX170" fmla="*/ 4381144 w 5730544"/>
              <a:gd name="connsiteY170" fmla="*/ 904352 h 1240971"/>
              <a:gd name="connsiteX171" fmla="*/ 4401241 w 5730544"/>
              <a:gd name="connsiteY171" fmla="*/ 914400 h 1240971"/>
              <a:gd name="connsiteX172" fmla="*/ 4416314 w 5730544"/>
              <a:gd name="connsiteY172" fmla="*/ 919424 h 1240971"/>
              <a:gd name="connsiteX173" fmla="*/ 4431386 w 5730544"/>
              <a:gd name="connsiteY173" fmla="*/ 929472 h 1240971"/>
              <a:gd name="connsiteX174" fmla="*/ 4456507 w 5730544"/>
              <a:gd name="connsiteY174" fmla="*/ 974690 h 1240971"/>
              <a:gd name="connsiteX175" fmla="*/ 4476604 w 5730544"/>
              <a:gd name="connsiteY175" fmla="*/ 999811 h 1240971"/>
              <a:gd name="connsiteX176" fmla="*/ 4567039 w 5730544"/>
              <a:gd name="connsiteY176" fmla="*/ 994787 h 1240971"/>
              <a:gd name="connsiteX177" fmla="*/ 4597184 w 5730544"/>
              <a:gd name="connsiteY177" fmla="*/ 969666 h 1240971"/>
              <a:gd name="connsiteX178" fmla="*/ 4617281 w 5730544"/>
              <a:gd name="connsiteY178" fmla="*/ 959617 h 1240971"/>
              <a:gd name="connsiteX179" fmla="*/ 4632353 w 5730544"/>
              <a:gd name="connsiteY179" fmla="*/ 944545 h 1240971"/>
              <a:gd name="connsiteX180" fmla="*/ 4652450 w 5730544"/>
              <a:gd name="connsiteY180" fmla="*/ 934497 h 1240971"/>
              <a:gd name="connsiteX181" fmla="*/ 4672547 w 5730544"/>
              <a:gd name="connsiteY181" fmla="*/ 919424 h 1240971"/>
              <a:gd name="connsiteX182" fmla="*/ 4737861 w 5730544"/>
              <a:gd name="connsiteY182" fmla="*/ 884255 h 1240971"/>
              <a:gd name="connsiteX183" fmla="*/ 4762982 w 5730544"/>
              <a:gd name="connsiteY183" fmla="*/ 879231 h 1240971"/>
              <a:gd name="connsiteX184" fmla="*/ 4778054 w 5730544"/>
              <a:gd name="connsiteY184" fmla="*/ 874206 h 1240971"/>
              <a:gd name="connsiteX185" fmla="*/ 4819294 w 5730544"/>
              <a:gd name="connsiteY185" fmla="*/ 873944 h 1240971"/>
              <a:gd name="connsiteX186" fmla="*/ 4877465 w 5730544"/>
              <a:gd name="connsiteY186" fmla="*/ 895638 h 1240971"/>
              <a:gd name="connsiteX187" fmla="*/ 4935347 w 5730544"/>
              <a:gd name="connsiteY187" fmla="*/ 934523 h 1240971"/>
              <a:gd name="connsiteX188" fmla="*/ 4995402 w 5730544"/>
              <a:gd name="connsiteY188" fmla="*/ 1006746 h 1240971"/>
              <a:gd name="connsiteX189" fmla="*/ 5024762 w 5730544"/>
              <a:gd name="connsiteY189" fmla="*/ 1051963 h 1240971"/>
              <a:gd name="connsiteX190" fmla="*/ 5092223 w 5730544"/>
              <a:gd name="connsiteY190" fmla="*/ 1016506 h 1240971"/>
              <a:gd name="connsiteX191" fmla="*/ 5144322 w 5730544"/>
              <a:gd name="connsiteY191" fmla="*/ 948261 h 1240971"/>
              <a:gd name="connsiteX192" fmla="*/ 5189252 w 5730544"/>
              <a:gd name="connsiteY192" fmla="*/ 886112 h 1240971"/>
              <a:gd name="connsiteX193" fmla="*/ 5226279 w 5730544"/>
              <a:gd name="connsiteY193" fmla="*/ 856230 h 1240971"/>
              <a:gd name="connsiteX194" fmla="*/ 5260637 w 5730544"/>
              <a:gd name="connsiteY194" fmla="*/ 822918 h 1240971"/>
              <a:gd name="connsiteX195" fmla="*/ 5295282 w 5730544"/>
              <a:gd name="connsiteY195" fmla="*/ 800440 h 1240971"/>
              <a:gd name="connsiteX196" fmla="*/ 5334430 w 5730544"/>
              <a:gd name="connsiteY196" fmla="*/ 794893 h 1240971"/>
              <a:gd name="connsiteX197" fmla="*/ 5412174 w 5730544"/>
              <a:gd name="connsiteY197" fmla="*/ 824252 h 1240971"/>
              <a:gd name="connsiteX198" fmla="*/ 5431197 w 5730544"/>
              <a:gd name="connsiteY198" fmla="*/ 768699 h 1240971"/>
              <a:gd name="connsiteX199" fmla="*/ 5441246 w 5730544"/>
              <a:gd name="connsiteY199" fmla="*/ 753626 h 1240971"/>
              <a:gd name="connsiteX200" fmla="*/ 5456318 w 5730544"/>
              <a:gd name="connsiteY200" fmla="*/ 708409 h 1240971"/>
              <a:gd name="connsiteX201" fmla="*/ 5466366 w 5730544"/>
              <a:gd name="connsiteY201" fmla="*/ 683288 h 1240971"/>
              <a:gd name="connsiteX202" fmla="*/ 5476415 w 5730544"/>
              <a:gd name="connsiteY202" fmla="*/ 643094 h 1240971"/>
              <a:gd name="connsiteX203" fmla="*/ 5491487 w 5730544"/>
              <a:gd name="connsiteY203" fmla="*/ 617973 h 1240971"/>
              <a:gd name="connsiteX204" fmla="*/ 5506560 w 5730544"/>
              <a:gd name="connsiteY204" fmla="*/ 572756 h 1240971"/>
              <a:gd name="connsiteX205" fmla="*/ 5526656 w 5730544"/>
              <a:gd name="connsiteY205" fmla="*/ 522514 h 1240971"/>
              <a:gd name="connsiteX206" fmla="*/ 5546753 w 5730544"/>
              <a:gd name="connsiteY206" fmla="*/ 467248 h 1240971"/>
              <a:gd name="connsiteX207" fmla="*/ 5556802 w 5730544"/>
              <a:gd name="connsiteY207" fmla="*/ 411982 h 1240971"/>
              <a:gd name="connsiteX208" fmla="*/ 5566850 w 5730544"/>
              <a:gd name="connsiteY208" fmla="*/ 381837 h 1240971"/>
              <a:gd name="connsiteX209" fmla="*/ 5576898 w 5730544"/>
              <a:gd name="connsiteY209" fmla="*/ 356716 h 1240971"/>
              <a:gd name="connsiteX210" fmla="*/ 5596995 w 5730544"/>
              <a:gd name="connsiteY210" fmla="*/ 316523 h 1240971"/>
              <a:gd name="connsiteX211" fmla="*/ 5617092 w 5730544"/>
              <a:gd name="connsiteY211" fmla="*/ 246184 h 1240971"/>
              <a:gd name="connsiteX212" fmla="*/ 5622116 w 5730544"/>
              <a:gd name="connsiteY212" fmla="*/ 226088 h 1240971"/>
              <a:gd name="connsiteX213" fmla="*/ 5632164 w 5730544"/>
              <a:gd name="connsiteY213" fmla="*/ 216039 h 1240971"/>
              <a:gd name="connsiteX214" fmla="*/ 5637188 w 5730544"/>
              <a:gd name="connsiteY214" fmla="*/ 200967 h 1240971"/>
              <a:gd name="connsiteX215" fmla="*/ 5642213 w 5730544"/>
              <a:gd name="connsiteY215" fmla="*/ 180870 h 1240971"/>
              <a:gd name="connsiteX216" fmla="*/ 5652261 w 5730544"/>
              <a:gd name="connsiteY216" fmla="*/ 165798 h 1240971"/>
              <a:gd name="connsiteX217" fmla="*/ 5693265 w 5730544"/>
              <a:gd name="connsiteY217" fmla="*/ 101268 h 1240971"/>
              <a:gd name="connsiteX218" fmla="*/ 5728722 w 5730544"/>
              <a:gd name="connsiteY218" fmla="*/ 42287 h 1240971"/>
              <a:gd name="connsiteX219" fmla="*/ 5634284 w 5730544"/>
              <a:gd name="connsiteY219" fmla="*/ 25357 h 1240971"/>
              <a:gd name="connsiteX220" fmla="*/ 5536940 w 5730544"/>
              <a:gd name="connsiteY220" fmla="*/ 27214 h 1240971"/>
              <a:gd name="connsiteX221" fmla="*/ 5470369 w 5730544"/>
              <a:gd name="connsiteY221" fmla="*/ 39381 h 1240971"/>
              <a:gd name="connsiteX222" fmla="*/ 5379124 w 5730544"/>
              <a:gd name="connsiteY222" fmla="*/ 39644 h 1240971"/>
              <a:gd name="connsiteX223" fmla="*/ 5309282 w 5730544"/>
              <a:gd name="connsiteY223" fmla="*/ 42287 h 1240971"/>
              <a:gd name="connsiteX224" fmla="*/ 5238682 w 5730544"/>
              <a:gd name="connsiteY224" fmla="*/ 54455 h 1240971"/>
              <a:gd name="connsiteX225" fmla="*/ 5108892 w 5730544"/>
              <a:gd name="connsiteY225" fmla="*/ 37524 h 1240971"/>
              <a:gd name="connsiteX226" fmla="*/ 5020026 w 5730544"/>
              <a:gd name="connsiteY226" fmla="*/ 39120 h 1240971"/>
              <a:gd name="connsiteX227" fmla="*/ 4946233 w 5730544"/>
              <a:gd name="connsiteY227" fmla="*/ 41240 h 1240971"/>
              <a:gd name="connsiteX228" fmla="*/ 4823272 w 5730544"/>
              <a:gd name="connsiteY228" fmla="*/ 50242 h 1240971"/>
              <a:gd name="connsiteX229" fmla="*/ 4727577 w 5730544"/>
              <a:gd name="connsiteY229" fmla="*/ 29073 h 1240971"/>
              <a:gd name="connsiteX230" fmla="*/ 4628376 w 5730544"/>
              <a:gd name="connsiteY230" fmla="*/ 41240 h 1240971"/>
              <a:gd name="connsiteX231" fmla="*/ 4565180 w 5730544"/>
              <a:gd name="connsiteY231" fmla="*/ 46264 h 1240971"/>
              <a:gd name="connsiteX232" fmla="*/ 4417596 w 5730544"/>
              <a:gd name="connsiteY232" fmla="*/ 44406 h 1240971"/>
              <a:gd name="connsiteX233" fmla="*/ 4139984 w 5730544"/>
              <a:gd name="connsiteY233" fmla="*/ 60290 h 1240971"/>
              <a:gd name="connsiteX234" fmla="*/ 3918920 w 5730544"/>
              <a:gd name="connsiteY234" fmla="*/ 50242 h 1240971"/>
              <a:gd name="connsiteX235" fmla="*/ 3873703 w 5730544"/>
              <a:gd name="connsiteY235" fmla="*/ 45217 h 1240971"/>
              <a:gd name="connsiteX236" fmla="*/ 3687808 w 5730544"/>
              <a:gd name="connsiteY236" fmla="*/ 40193 h 1240971"/>
              <a:gd name="connsiteX237" fmla="*/ 3662687 w 5730544"/>
              <a:gd name="connsiteY237" fmla="*/ 35169 h 1240971"/>
              <a:gd name="connsiteX238" fmla="*/ 3627518 w 5730544"/>
              <a:gd name="connsiteY238" fmla="*/ 25121 h 1240971"/>
              <a:gd name="connsiteX239" fmla="*/ 3547131 w 5730544"/>
              <a:gd name="connsiteY239" fmla="*/ 20097 h 1240971"/>
              <a:gd name="connsiteX240" fmla="*/ 3310995 w 5730544"/>
              <a:gd name="connsiteY240" fmla="*/ 25121 h 1240971"/>
              <a:gd name="connsiteX241" fmla="*/ 3265777 w 5730544"/>
              <a:gd name="connsiteY241" fmla="*/ 30145 h 1240971"/>
              <a:gd name="connsiteX242" fmla="*/ 3175342 w 5730544"/>
              <a:gd name="connsiteY242" fmla="*/ 35169 h 1240971"/>
              <a:gd name="connsiteX243" fmla="*/ 2582489 w 5730544"/>
              <a:gd name="connsiteY243" fmla="*/ 45217 h 1240971"/>
              <a:gd name="connsiteX244" fmla="*/ 2255918 w 5730544"/>
              <a:gd name="connsiteY244" fmla="*/ 40193 h 1240971"/>
              <a:gd name="connsiteX245" fmla="*/ 1974564 w 5730544"/>
              <a:gd name="connsiteY245" fmla="*/ 30145 h 1240971"/>
              <a:gd name="connsiteX246" fmla="*/ 1944419 w 5730544"/>
              <a:gd name="connsiteY246" fmla="*/ 25121 h 1240971"/>
              <a:gd name="connsiteX247" fmla="*/ 1848960 w 5730544"/>
              <a:gd name="connsiteY247" fmla="*/ 20097 h 1240971"/>
              <a:gd name="connsiteX248" fmla="*/ 1768573 w 5730544"/>
              <a:gd name="connsiteY248" fmla="*/ 10048 h 1240971"/>
              <a:gd name="connsiteX249" fmla="*/ 1502292 w 5730544"/>
              <a:gd name="connsiteY249" fmla="*/ 20097 h 1240971"/>
              <a:gd name="connsiteX250" fmla="*/ 1467122 w 5730544"/>
              <a:gd name="connsiteY250" fmla="*/ 25121 h 1240971"/>
              <a:gd name="connsiteX251" fmla="*/ 1426929 w 5730544"/>
              <a:gd name="connsiteY251" fmla="*/ 30145 h 1240971"/>
              <a:gd name="connsiteX252" fmla="*/ 1341518 w 5730544"/>
              <a:gd name="connsiteY252" fmla="*/ 45217 h 1240971"/>
              <a:gd name="connsiteX253" fmla="*/ 1095333 w 5730544"/>
              <a:gd name="connsiteY253" fmla="*/ 35169 h 1240971"/>
              <a:gd name="connsiteX254" fmla="*/ 979777 w 5730544"/>
              <a:gd name="connsiteY254" fmla="*/ 20097 h 1240971"/>
              <a:gd name="connsiteX255" fmla="*/ 939584 w 5730544"/>
              <a:gd name="connsiteY255" fmla="*/ 10048 h 1240971"/>
              <a:gd name="connsiteX256" fmla="*/ 813980 w 5730544"/>
              <a:gd name="connsiteY256" fmla="*/ 0 h 1240971"/>
              <a:gd name="connsiteX257" fmla="*/ 743641 w 5730544"/>
              <a:gd name="connsiteY257" fmla="*/ 5024 h 1240971"/>
              <a:gd name="connsiteX258" fmla="*/ 582867 w 5730544"/>
              <a:gd name="connsiteY258" fmla="*/ 15072 h 1240971"/>
              <a:gd name="connsiteX259" fmla="*/ 432142 w 5730544"/>
              <a:gd name="connsiteY259" fmla="*/ 5024 h 1240971"/>
              <a:gd name="connsiteX260" fmla="*/ 412046 w 5730544"/>
              <a:gd name="connsiteY260" fmla="*/ 0 h 1240971"/>
              <a:gd name="connsiteX261" fmla="*/ 281417 w 5730544"/>
              <a:gd name="connsiteY261" fmla="*/ 10048 h 1240971"/>
              <a:gd name="connsiteX262" fmla="*/ 261320 w 5730544"/>
              <a:gd name="connsiteY262" fmla="*/ 15072 h 1240971"/>
              <a:gd name="connsiteX263" fmla="*/ 100547 w 5730544"/>
              <a:gd name="connsiteY263" fmla="*/ 20097 h 1240971"/>
              <a:gd name="connsiteX264" fmla="*/ 5087 w 5730544"/>
              <a:gd name="connsiteY264" fmla="*/ 30145 h 1240971"/>
              <a:gd name="connsiteX0" fmla="*/ 5087 w 5738365"/>
              <a:gd name="connsiteY0" fmla="*/ 30145 h 1240971"/>
              <a:gd name="connsiteX1" fmla="*/ 15136 w 5738365"/>
              <a:gd name="connsiteY1" fmla="*/ 115556 h 1240971"/>
              <a:gd name="connsiteX2" fmla="*/ 20160 w 5738365"/>
              <a:gd name="connsiteY2" fmla="*/ 150725 h 1240971"/>
              <a:gd name="connsiteX3" fmla="*/ 25184 w 5738365"/>
              <a:gd name="connsiteY3" fmla="*/ 236136 h 1240971"/>
              <a:gd name="connsiteX4" fmla="*/ 35232 w 5738365"/>
              <a:gd name="connsiteY4" fmla="*/ 311499 h 1240971"/>
              <a:gd name="connsiteX5" fmla="*/ 40256 w 5738365"/>
              <a:gd name="connsiteY5" fmla="*/ 783771 h 1240971"/>
              <a:gd name="connsiteX6" fmla="*/ 45281 w 5738365"/>
              <a:gd name="connsiteY6" fmla="*/ 864158 h 1240971"/>
              <a:gd name="connsiteX7" fmla="*/ 35232 w 5738365"/>
              <a:gd name="connsiteY7" fmla="*/ 1034980 h 1240971"/>
              <a:gd name="connsiteX8" fmla="*/ 25184 w 5738365"/>
              <a:gd name="connsiteY8" fmla="*/ 1100294 h 1240971"/>
              <a:gd name="connsiteX9" fmla="*/ 20160 w 5738365"/>
              <a:gd name="connsiteY9" fmla="*/ 1150536 h 1240971"/>
              <a:gd name="connsiteX10" fmla="*/ 25184 w 5738365"/>
              <a:gd name="connsiteY10" fmla="*/ 1170633 h 1240971"/>
              <a:gd name="connsiteX11" fmla="*/ 35232 w 5738365"/>
              <a:gd name="connsiteY11" fmla="*/ 1160584 h 1240971"/>
              <a:gd name="connsiteX12" fmla="*/ 55329 w 5738365"/>
              <a:gd name="connsiteY12" fmla="*/ 1100294 h 1240971"/>
              <a:gd name="connsiteX13" fmla="*/ 60353 w 5738365"/>
              <a:gd name="connsiteY13" fmla="*/ 1085222 h 1240971"/>
              <a:gd name="connsiteX14" fmla="*/ 70402 w 5738365"/>
              <a:gd name="connsiteY14" fmla="*/ 1075173 h 1240971"/>
              <a:gd name="connsiteX15" fmla="*/ 95522 w 5738365"/>
              <a:gd name="connsiteY15" fmla="*/ 1045028 h 1240971"/>
              <a:gd name="connsiteX16" fmla="*/ 110595 w 5738365"/>
              <a:gd name="connsiteY16" fmla="*/ 1040004 h 1240971"/>
              <a:gd name="connsiteX17" fmla="*/ 135716 w 5738365"/>
              <a:gd name="connsiteY17" fmla="*/ 1019908 h 1240971"/>
              <a:gd name="connsiteX18" fmla="*/ 150788 w 5738365"/>
              <a:gd name="connsiteY18" fmla="*/ 1009859 h 1240971"/>
              <a:gd name="connsiteX19" fmla="*/ 175909 w 5738365"/>
              <a:gd name="connsiteY19" fmla="*/ 994787 h 1240971"/>
              <a:gd name="connsiteX20" fmla="*/ 216103 w 5738365"/>
              <a:gd name="connsiteY20" fmla="*/ 984738 h 1240971"/>
              <a:gd name="connsiteX21" fmla="*/ 286441 w 5738365"/>
              <a:gd name="connsiteY21" fmla="*/ 994787 h 1240971"/>
              <a:gd name="connsiteX22" fmla="*/ 301514 w 5738365"/>
              <a:gd name="connsiteY22" fmla="*/ 1004835 h 1240971"/>
              <a:gd name="connsiteX23" fmla="*/ 321610 w 5738365"/>
              <a:gd name="connsiteY23" fmla="*/ 1034980 h 1240971"/>
              <a:gd name="connsiteX24" fmla="*/ 356780 w 5738365"/>
              <a:gd name="connsiteY24" fmla="*/ 1065125 h 1240971"/>
              <a:gd name="connsiteX25" fmla="*/ 366828 w 5738365"/>
              <a:gd name="connsiteY25" fmla="*/ 1080198 h 1240971"/>
              <a:gd name="connsiteX26" fmla="*/ 381900 w 5738365"/>
              <a:gd name="connsiteY26" fmla="*/ 1085222 h 1240971"/>
              <a:gd name="connsiteX27" fmla="*/ 396973 w 5738365"/>
              <a:gd name="connsiteY27" fmla="*/ 1095270 h 1240971"/>
              <a:gd name="connsiteX28" fmla="*/ 407021 w 5738365"/>
              <a:gd name="connsiteY28" fmla="*/ 1105319 h 1240971"/>
              <a:gd name="connsiteX29" fmla="*/ 422094 w 5738365"/>
              <a:gd name="connsiteY29" fmla="*/ 1110343 h 1240971"/>
              <a:gd name="connsiteX30" fmla="*/ 437166 w 5738365"/>
              <a:gd name="connsiteY30" fmla="*/ 1120391 h 1240971"/>
              <a:gd name="connsiteX31" fmla="*/ 467311 w 5738365"/>
              <a:gd name="connsiteY31" fmla="*/ 1130439 h 1240971"/>
              <a:gd name="connsiteX32" fmla="*/ 522577 w 5738365"/>
              <a:gd name="connsiteY32" fmla="*/ 1115367 h 1240971"/>
              <a:gd name="connsiteX33" fmla="*/ 552722 w 5738365"/>
              <a:gd name="connsiteY33" fmla="*/ 1075173 h 1240971"/>
              <a:gd name="connsiteX34" fmla="*/ 567795 w 5738365"/>
              <a:gd name="connsiteY34" fmla="*/ 1070149 h 1240971"/>
              <a:gd name="connsiteX35" fmla="*/ 582867 w 5738365"/>
              <a:gd name="connsiteY35" fmla="*/ 1060101 h 1240971"/>
              <a:gd name="connsiteX36" fmla="*/ 638133 w 5738365"/>
              <a:gd name="connsiteY36" fmla="*/ 1045028 h 1240971"/>
              <a:gd name="connsiteX37" fmla="*/ 653206 w 5738365"/>
              <a:gd name="connsiteY37" fmla="*/ 1040004 h 1240971"/>
              <a:gd name="connsiteX38" fmla="*/ 693399 w 5738365"/>
              <a:gd name="connsiteY38" fmla="*/ 1045028 h 1240971"/>
              <a:gd name="connsiteX39" fmla="*/ 723544 w 5738365"/>
              <a:gd name="connsiteY39" fmla="*/ 1055077 h 1240971"/>
              <a:gd name="connsiteX40" fmla="*/ 733593 w 5738365"/>
              <a:gd name="connsiteY40" fmla="*/ 1065125 h 1240971"/>
              <a:gd name="connsiteX41" fmla="*/ 768762 w 5738365"/>
              <a:gd name="connsiteY41" fmla="*/ 1080198 h 1240971"/>
              <a:gd name="connsiteX42" fmla="*/ 803931 w 5738365"/>
              <a:gd name="connsiteY42" fmla="*/ 1105319 h 1240971"/>
              <a:gd name="connsiteX43" fmla="*/ 834076 w 5738365"/>
              <a:gd name="connsiteY43" fmla="*/ 1130439 h 1240971"/>
              <a:gd name="connsiteX44" fmla="*/ 869246 w 5738365"/>
              <a:gd name="connsiteY44" fmla="*/ 1140488 h 1240971"/>
              <a:gd name="connsiteX45" fmla="*/ 909439 w 5738365"/>
              <a:gd name="connsiteY45" fmla="*/ 1175657 h 1240971"/>
              <a:gd name="connsiteX46" fmla="*/ 939584 w 5738365"/>
              <a:gd name="connsiteY46" fmla="*/ 1185705 h 1240971"/>
              <a:gd name="connsiteX47" fmla="*/ 979777 w 5738365"/>
              <a:gd name="connsiteY47" fmla="*/ 1180681 h 1240971"/>
              <a:gd name="connsiteX48" fmla="*/ 989826 w 5738365"/>
              <a:gd name="connsiteY48" fmla="*/ 1170633 h 1240971"/>
              <a:gd name="connsiteX49" fmla="*/ 1004898 w 5738365"/>
              <a:gd name="connsiteY49" fmla="*/ 1150536 h 1240971"/>
              <a:gd name="connsiteX50" fmla="*/ 1014947 w 5738365"/>
              <a:gd name="connsiteY50" fmla="*/ 1120391 h 1240971"/>
              <a:gd name="connsiteX51" fmla="*/ 1040067 w 5738365"/>
              <a:gd name="connsiteY51" fmla="*/ 1095270 h 1240971"/>
              <a:gd name="connsiteX52" fmla="*/ 1050116 w 5738365"/>
              <a:gd name="connsiteY52" fmla="*/ 1085222 h 1240971"/>
              <a:gd name="connsiteX53" fmla="*/ 1075237 w 5738365"/>
              <a:gd name="connsiteY53" fmla="*/ 1065125 h 1240971"/>
              <a:gd name="connsiteX54" fmla="*/ 1090309 w 5738365"/>
              <a:gd name="connsiteY54" fmla="*/ 1050053 h 1240971"/>
              <a:gd name="connsiteX55" fmla="*/ 1120454 w 5738365"/>
              <a:gd name="connsiteY55" fmla="*/ 1040004 h 1240971"/>
              <a:gd name="connsiteX56" fmla="*/ 1135527 w 5738365"/>
              <a:gd name="connsiteY56" fmla="*/ 1034980 h 1240971"/>
              <a:gd name="connsiteX57" fmla="*/ 1160648 w 5738365"/>
              <a:gd name="connsiteY57" fmla="*/ 1019908 h 1240971"/>
              <a:gd name="connsiteX58" fmla="*/ 1175720 w 5738365"/>
              <a:gd name="connsiteY58" fmla="*/ 1014883 h 1240971"/>
              <a:gd name="connsiteX59" fmla="*/ 1195817 w 5738365"/>
              <a:gd name="connsiteY59" fmla="*/ 1004835 h 1240971"/>
              <a:gd name="connsiteX60" fmla="*/ 1281228 w 5738365"/>
              <a:gd name="connsiteY60" fmla="*/ 1014883 h 1240971"/>
              <a:gd name="connsiteX61" fmla="*/ 1296300 w 5738365"/>
              <a:gd name="connsiteY61" fmla="*/ 1024932 h 1240971"/>
              <a:gd name="connsiteX62" fmla="*/ 1311373 w 5738365"/>
              <a:gd name="connsiteY62" fmla="*/ 1029956 h 1240971"/>
              <a:gd name="connsiteX63" fmla="*/ 1326446 w 5738365"/>
              <a:gd name="connsiteY63" fmla="*/ 1060101 h 1240971"/>
              <a:gd name="connsiteX64" fmla="*/ 1341518 w 5738365"/>
              <a:gd name="connsiteY64" fmla="*/ 1065125 h 1240971"/>
              <a:gd name="connsiteX65" fmla="*/ 1356591 w 5738365"/>
              <a:gd name="connsiteY65" fmla="*/ 1075173 h 1240971"/>
              <a:gd name="connsiteX66" fmla="*/ 1396784 w 5738365"/>
              <a:gd name="connsiteY66" fmla="*/ 1090246 h 1240971"/>
              <a:gd name="connsiteX67" fmla="*/ 1447026 w 5738365"/>
              <a:gd name="connsiteY67" fmla="*/ 1105319 h 1240971"/>
              <a:gd name="connsiteX68" fmla="*/ 1462098 w 5738365"/>
              <a:gd name="connsiteY68" fmla="*/ 1110343 h 1240971"/>
              <a:gd name="connsiteX69" fmla="*/ 1497267 w 5738365"/>
              <a:gd name="connsiteY69" fmla="*/ 1120391 h 1240971"/>
              <a:gd name="connsiteX70" fmla="*/ 1552533 w 5738365"/>
              <a:gd name="connsiteY70" fmla="*/ 1115367 h 1240971"/>
              <a:gd name="connsiteX71" fmla="*/ 1567606 w 5738365"/>
              <a:gd name="connsiteY71" fmla="*/ 1110343 h 1240971"/>
              <a:gd name="connsiteX72" fmla="*/ 1587703 w 5738365"/>
              <a:gd name="connsiteY72" fmla="*/ 1090246 h 1240971"/>
              <a:gd name="connsiteX73" fmla="*/ 1637944 w 5738365"/>
              <a:gd name="connsiteY73" fmla="*/ 1050053 h 1240971"/>
              <a:gd name="connsiteX74" fmla="*/ 1653017 w 5738365"/>
              <a:gd name="connsiteY74" fmla="*/ 1029956 h 1240971"/>
              <a:gd name="connsiteX75" fmla="*/ 1688186 w 5738365"/>
              <a:gd name="connsiteY75" fmla="*/ 1019908 h 1240971"/>
              <a:gd name="connsiteX76" fmla="*/ 1788670 w 5738365"/>
              <a:gd name="connsiteY76" fmla="*/ 1029956 h 1240971"/>
              <a:gd name="connsiteX77" fmla="*/ 1818815 w 5738365"/>
              <a:gd name="connsiteY77" fmla="*/ 1040004 h 1240971"/>
              <a:gd name="connsiteX78" fmla="*/ 1853984 w 5738365"/>
              <a:gd name="connsiteY78" fmla="*/ 1050053 h 1240971"/>
              <a:gd name="connsiteX79" fmla="*/ 1869056 w 5738365"/>
              <a:gd name="connsiteY79" fmla="*/ 1060101 h 1240971"/>
              <a:gd name="connsiteX80" fmla="*/ 1894177 w 5738365"/>
              <a:gd name="connsiteY80" fmla="*/ 1065125 h 1240971"/>
              <a:gd name="connsiteX81" fmla="*/ 1949443 w 5738365"/>
              <a:gd name="connsiteY81" fmla="*/ 1085222 h 1240971"/>
              <a:gd name="connsiteX82" fmla="*/ 1969540 w 5738365"/>
              <a:gd name="connsiteY82" fmla="*/ 1090246 h 1240971"/>
              <a:gd name="connsiteX83" fmla="*/ 2014758 w 5738365"/>
              <a:gd name="connsiteY83" fmla="*/ 1110343 h 1240971"/>
              <a:gd name="connsiteX84" fmla="*/ 2039878 w 5738365"/>
              <a:gd name="connsiteY84" fmla="*/ 1125415 h 1240971"/>
              <a:gd name="connsiteX85" fmla="*/ 2120265 w 5738365"/>
              <a:gd name="connsiteY85" fmla="*/ 1120391 h 1240971"/>
              <a:gd name="connsiteX86" fmla="*/ 2130314 w 5738365"/>
              <a:gd name="connsiteY86" fmla="*/ 1110343 h 1240971"/>
              <a:gd name="connsiteX87" fmla="*/ 2155435 w 5738365"/>
              <a:gd name="connsiteY87" fmla="*/ 1100294 h 1240971"/>
              <a:gd name="connsiteX88" fmla="*/ 2190604 w 5738365"/>
              <a:gd name="connsiteY88" fmla="*/ 1070149 h 1240971"/>
              <a:gd name="connsiteX89" fmla="*/ 2230797 w 5738365"/>
              <a:gd name="connsiteY89" fmla="*/ 1040004 h 1240971"/>
              <a:gd name="connsiteX90" fmla="*/ 2245870 w 5738365"/>
              <a:gd name="connsiteY90" fmla="*/ 1034980 h 1240971"/>
              <a:gd name="connsiteX91" fmla="*/ 2270991 w 5738365"/>
              <a:gd name="connsiteY91" fmla="*/ 1019908 h 1240971"/>
              <a:gd name="connsiteX92" fmla="*/ 2301136 w 5738365"/>
              <a:gd name="connsiteY92" fmla="*/ 994787 h 1240971"/>
              <a:gd name="connsiteX93" fmla="*/ 2316208 w 5738365"/>
              <a:gd name="connsiteY93" fmla="*/ 989763 h 1240971"/>
              <a:gd name="connsiteX94" fmla="*/ 2396595 w 5738365"/>
              <a:gd name="connsiteY94" fmla="*/ 984738 h 1240971"/>
              <a:gd name="connsiteX95" fmla="*/ 2426740 w 5738365"/>
              <a:gd name="connsiteY95" fmla="*/ 989763 h 1240971"/>
              <a:gd name="connsiteX96" fmla="*/ 2461909 w 5738365"/>
              <a:gd name="connsiteY96" fmla="*/ 1024932 h 1240971"/>
              <a:gd name="connsiteX97" fmla="*/ 2476982 w 5738365"/>
              <a:gd name="connsiteY97" fmla="*/ 1029956 h 1240971"/>
              <a:gd name="connsiteX98" fmla="*/ 2487030 w 5738365"/>
              <a:gd name="connsiteY98" fmla="*/ 1045028 h 1240971"/>
              <a:gd name="connsiteX99" fmla="*/ 2497078 w 5738365"/>
              <a:gd name="connsiteY99" fmla="*/ 1055077 h 1240971"/>
              <a:gd name="connsiteX100" fmla="*/ 2532248 w 5738365"/>
              <a:gd name="connsiteY100" fmla="*/ 1095270 h 1240971"/>
              <a:gd name="connsiteX101" fmla="*/ 2567417 w 5738365"/>
              <a:gd name="connsiteY101" fmla="*/ 1135464 h 1240971"/>
              <a:gd name="connsiteX102" fmla="*/ 2582489 w 5738365"/>
              <a:gd name="connsiteY102" fmla="*/ 1145512 h 1240971"/>
              <a:gd name="connsiteX103" fmla="*/ 2622683 w 5738365"/>
              <a:gd name="connsiteY103" fmla="*/ 1170633 h 1240971"/>
              <a:gd name="connsiteX104" fmla="*/ 2657852 w 5738365"/>
              <a:gd name="connsiteY104" fmla="*/ 1160584 h 1240971"/>
              <a:gd name="connsiteX105" fmla="*/ 2682973 w 5738365"/>
              <a:gd name="connsiteY105" fmla="*/ 1145512 h 1240971"/>
              <a:gd name="connsiteX106" fmla="*/ 2713118 w 5738365"/>
              <a:gd name="connsiteY106" fmla="*/ 1130439 h 1240971"/>
              <a:gd name="connsiteX107" fmla="*/ 2728191 w 5738365"/>
              <a:gd name="connsiteY107" fmla="*/ 1120391 h 1240971"/>
              <a:gd name="connsiteX108" fmla="*/ 2748287 w 5738365"/>
              <a:gd name="connsiteY108" fmla="*/ 1115367 h 1240971"/>
              <a:gd name="connsiteX109" fmla="*/ 2778432 w 5738365"/>
              <a:gd name="connsiteY109" fmla="*/ 1105319 h 1240971"/>
              <a:gd name="connsiteX110" fmla="*/ 2868867 w 5738365"/>
              <a:gd name="connsiteY110" fmla="*/ 1075173 h 1240971"/>
              <a:gd name="connsiteX111" fmla="*/ 2893988 w 5738365"/>
              <a:gd name="connsiteY111" fmla="*/ 1070149 h 1240971"/>
              <a:gd name="connsiteX112" fmla="*/ 2919109 w 5738365"/>
              <a:gd name="connsiteY112" fmla="*/ 1075173 h 1240971"/>
              <a:gd name="connsiteX113" fmla="*/ 2934182 w 5738365"/>
              <a:gd name="connsiteY113" fmla="*/ 1080198 h 1240971"/>
              <a:gd name="connsiteX114" fmla="*/ 2944230 w 5738365"/>
              <a:gd name="connsiteY114" fmla="*/ 1110343 h 1240971"/>
              <a:gd name="connsiteX115" fmla="*/ 2959303 w 5738365"/>
              <a:gd name="connsiteY115" fmla="*/ 1125415 h 1240971"/>
              <a:gd name="connsiteX116" fmla="*/ 2979399 w 5738365"/>
              <a:gd name="connsiteY116" fmla="*/ 1155560 h 1240971"/>
              <a:gd name="connsiteX117" fmla="*/ 2994472 w 5738365"/>
              <a:gd name="connsiteY117" fmla="*/ 1160584 h 1240971"/>
              <a:gd name="connsiteX118" fmla="*/ 3014569 w 5738365"/>
              <a:gd name="connsiteY118" fmla="*/ 1180681 h 1240971"/>
              <a:gd name="connsiteX119" fmla="*/ 3024617 w 5738365"/>
              <a:gd name="connsiteY119" fmla="*/ 1190730 h 1240971"/>
              <a:gd name="connsiteX120" fmla="*/ 3069835 w 5738365"/>
              <a:gd name="connsiteY120" fmla="*/ 1215850 h 1240971"/>
              <a:gd name="connsiteX121" fmla="*/ 3079883 w 5738365"/>
              <a:gd name="connsiteY121" fmla="*/ 1225899 h 1240971"/>
              <a:gd name="connsiteX122" fmla="*/ 3099980 w 5738365"/>
              <a:gd name="connsiteY122" fmla="*/ 1230923 h 1240971"/>
              <a:gd name="connsiteX123" fmla="*/ 3130125 w 5738365"/>
              <a:gd name="connsiteY123" fmla="*/ 1240971 h 1240971"/>
              <a:gd name="connsiteX124" fmla="*/ 3180366 w 5738365"/>
              <a:gd name="connsiteY124" fmla="*/ 1235947 h 1240971"/>
              <a:gd name="connsiteX125" fmla="*/ 3195439 w 5738365"/>
              <a:gd name="connsiteY125" fmla="*/ 1225899 h 1240971"/>
              <a:gd name="connsiteX126" fmla="*/ 3220560 w 5738365"/>
              <a:gd name="connsiteY126" fmla="*/ 1215850 h 1240971"/>
              <a:gd name="connsiteX127" fmla="*/ 3255729 w 5738365"/>
              <a:gd name="connsiteY127" fmla="*/ 1185705 h 1240971"/>
              <a:gd name="connsiteX128" fmla="*/ 3295922 w 5738365"/>
              <a:gd name="connsiteY128" fmla="*/ 1160584 h 1240971"/>
              <a:gd name="connsiteX129" fmla="*/ 3310995 w 5738365"/>
              <a:gd name="connsiteY129" fmla="*/ 1145512 h 1240971"/>
              <a:gd name="connsiteX130" fmla="*/ 3351188 w 5738365"/>
              <a:gd name="connsiteY130" fmla="*/ 1140488 h 1240971"/>
              <a:gd name="connsiteX131" fmla="*/ 3406454 w 5738365"/>
              <a:gd name="connsiteY131" fmla="*/ 1155560 h 1240971"/>
              <a:gd name="connsiteX132" fmla="*/ 3426551 w 5738365"/>
              <a:gd name="connsiteY132" fmla="*/ 1165609 h 1240971"/>
              <a:gd name="connsiteX133" fmla="*/ 3441624 w 5738365"/>
              <a:gd name="connsiteY133" fmla="*/ 1175657 h 1240971"/>
              <a:gd name="connsiteX134" fmla="*/ 3456696 w 5738365"/>
              <a:gd name="connsiteY134" fmla="*/ 1180681 h 1240971"/>
              <a:gd name="connsiteX135" fmla="*/ 3466744 w 5738365"/>
              <a:gd name="connsiteY135" fmla="*/ 1195754 h 1240971"/>
              <a:gd name="connsiteX136" fmla="*/ 3527035 w 5738365"/>
              <a:gd name="connsiteY136" fmla="*/ 1200778 h 1240971"/>
              <a:gd name="connsiteX137" fmla="*/ 3542107 w 5738365"/>
              <a:gd name="connsiteY137" fmla="*/ 1190730 h 1240971"/>
              <a:gd name="connsiteX138" fmla="*/ 3567228 w 5738365"/>
              <a:gd name="connsiteY138" fmla="*/ 1180681 h 1240971"/>
              <a:gd name="connsiteX139" fmla="*/ 3587325 w 5738365"/>
              <a:gd name="connsiteY139" fmla="*/ 1150536 h 1240971"/>
              <a:gd name="connsiteX140" fmla="*/ 3617470 w 5738365"/>
              <a:gd name="connsiteY140" fmla="*/ 1125415 h 1240971"/>
              <a:gd name="connsiteX141" fmla="*/ 3632542 w 5738365"/>
              <a:gd name="connsiteY141" fmla="*/ 1105319 h 1240971"/>
              <a:gd name="connsiteX142" fmla="*/ 3662687 w 5738365"/>
              <a:gd name="connsiteY142" fmla="*/ 1085222 h 1240971"/>
              <a:gd name="connsiteX143" fmla="*/ 3697856 w 5738365"/>
              <a:gd name="connsiteY143" fmla="*/ 1070149 h 1240971"/>
              <a:gd name="connsiteX144" fmla="*/ 3707905 w 5738365"/>
              <a:gd name="connsiteY144" fmla="*/ 1060101 h 1240971"/>
              <a:gd name="connsiteX145" fmla="*/ 3743074 w 5738365"/>
              <a:gd name="connsiteY145" fmla="*/ 1040004 h 1240971"/>
              <a:gd name="connsiteX146" fmla="*/ 3813413 w 5738365"/>
              <a:gd name="connsiteY146" fmla="*/ 1024932 h 1240971"/>
              <a:gd name="connsiteX147" fmla="*/ 3833509 w 5738365"/>
              <a:gd name="connsiteY147" fmla="*/ 1014883 h 1240971"/>
              <a:gd name="connsiteX148" fmla="*/ 3858630 w 5738365"/>
              <a:gd name="connsiteY148" fmla="*/ 1009859 h 1240971"/>
              <a:gd name="connsiteX149" fmla="*/ 3873703 w 5738365"/>
              <a:gd name="connsiteY149" fmla="*/ 1004835 h 1240971"/>
              <a:gd name="connsiteX150" fmla="*/ 3923944 w 5738365"/>
              <a:gd name="connsiteY150" fmla="*/ 1014883 h 1240971"/>
              <a:gd name="connsiteX151" fmla="*/ 3933993 w 5738365"/>
              <a:gd name="connsiteY151" fmla="*/ 1029956 h 1240971"/>
              <a:gd name="connsiteX152" fmla="*/ 3964138 w 5738365"/>
              <a:gd name="connsiteY152" fmla="*/ 1075173 h 1240971"/>
              <a:gd name="connsiteX153" fmla="*/ 3969162 w 5738365"/>
              <a:gd name="connsiteY153" fmla="*/ 1100294 h 1240971"/>
              <a:gd name="connsiteX154" fmla="*/ 3979210 w 5738365"/>
              <a:gd name="connsiteY154" fmla="*/ 1110343 h 1240971"/>
              <a:gd name="connsiteX155" fmla="*/ 3984235 w 5738365"/>
              <a:gd name="connsiteY155" fmla="*/ 1130439 h 1240971"/>
              <a:gd name="connsiteX156" fmla="*/ 4019404 w 5738365"/>
              <a:gd name="connsiteY156" fmla="*/ 1165609 h 1240971"/>
              <a:gd name="connsiteX157" fmla="*/ 4064621 w 5738365"/>
              <a:gd name="connsiteY157" fmla="*/ 1150536 h 1240971"/>
              <a:gd name="connsiteX158" fmla="*/ 4079694 w 5738365"/>
              <a:gd name="connsiteY158" fmla="*/ 1125415 h 1240971"/>
              <a:gd name="connsiteX159" fmla="*/ 4099791 w 5738365"/>
              <a:gd name="connsiteY159" fmla="*/ 1105319 h 1240971"/>
              <a:gd name="connsiteX160" fmla="*/ 4129936 w 5738365"/>
              <a:gd name="connsiteY160" fmla="*/ 1075173 h 1240971"/>
              <a:gd name="connsiteX161" fmla="*/ 4150032 w 5738365"/>
              <a:gd name="connsiteY161" fmla="*/ 1040004 h 1240971"/>
              <a:gd name="connsiteX162" fmla="*/ 4160081 w 5738365"/>
              <a:gd name="connsiteY162" fmla="*/ 1019908 h 1240971"/>
              <a:gd name="connsiteX163" fmla="*/ 4165105 w 5738365"/>
              <a:gd name="connsiteY163" fmla="*/ 1004835 h 1240971"/>
              <a:gd name="connsiteX164" fmla="*/ 4185202 w 5738365"/>
              <a:gd name="connsiteY164" fmla="*/ 984738 h 1240971"/>
              <a:gd name="connsiteX165" fmla="*/ 4200274 w 5738365"/>
              <a:gd name="connsiteY165" fmla="*/ 979714 h 1240971"/>
              <a:gd name="connsiteX166" fmla="*/ 4235443 w 5738365"/>
              <a:gd name="connsiteY166" fmla="*/ 954593 h 1240971"/>
              <a:gd name="connsiteX167" fmla="*/ 4275637 w 5738365"/>
              <a:gd name="connsiteY167" fmla="*/ 934497 h 1240971"/>
              <a:gd name="connsiteX168" fmla="*/ 4310806 w 5738365"/>
              <a:gd name="connsiteY168" fmla="*/ 914400 h 1240971"/>
              <a:gd name="connsiteX169" fmla="*/ 4325878 w 5738365"/>
              <a:gd name="connsiteY169" fmla="*/ 904352 h 1240971"/>
              <a:gd name="connsiteX170" fmla="*/ 4381144 w 5738365"/>
              <a:gd name="connsiteY170" fmla="*/ 904352 h 1240971"/>
              <a:gd name="connsiteX171" fmla="*/ 4401241 w 5738365"/>
              <a:gd name="connsiteY171" fmla="*/ 914400 h 1240971"/>
              <a:gd name="connsiteX172" fmla="*/ 4416314 w 5738365"/>
              <a:gd name="connsiteY172" fmla="*/ 919424 h 1240971"/>
              <a:gd name="connsiteX173" fmla="*/ 4431386 w 5738365"/>
              <a:gd name="connsiteY173" fmla="*/ 929472 h 1240971"/>
              <a:gd name="connsiteX174" fmla="*/ 4456507 w 5738365"/>
              <a:gd name="connsiteY174" fmla="*/ 974690 h 1240971"/>
              <a:gd name="connsiteX175" fmla="*/ 4476604 w 5738365"/>
              <a:gd name="connsiteY175" fmla="*/ 999811 h 1240971"/>
              <a:gd name="connsiteX176" fmla="*/ 4567039 w 5738365"/>
              <a:gd name="connsiteY176" fmla="*/ 994787 h 1240971"/>
              <a:gd name="connsiteX177" fmla="*/ 4597184 w 5738365"/>
              <a:gd name="connsiteY177" fmla="*/ 969666 h 1240971"/>
              <a:gd name="connsiteX178" fmla="*/ 4617281 w 5738365"/>
              <a:gd name="connsiteY178" fmla="*/ 959617 h 1240971"/>
              <a:gd name="connsiteX179" fmla="*/ 4632353 w 5738365"/>
              <a:gd name="connsiteY179" fmla="*/ 944545 h 1240971"/>
              <a:gd name="connsiteX180" fmla="*/ 4652450 w 5738365"/>
              <a:gd name="connsiteY180" fmla="*/ 934497 h 1240971"/>
              <a:gd name="connsiteX181" fmla="*/ 4672547 w 5738365"/>
              <a:gd name="connsiteY181" fmla="*/ 919424 h 1240971"/>
              <a:gd name="connsiteX182" fmla="*/ 4737861 w 5738365"/>
              <a:gd name="connsiteY182" fmla="*/ 884255 h 1240971"/>
              <a:gd name="connsiteX183" fmla="*/ 4762982 w 5738365"/>
              <a:gd name="connsiteY183" fmla="*/ 879231 h 1240971"/>
              <a:gd name="connsiteX184" fmla="*/ 4778054 w 5738365"/>
              <a:gd name="connsiteY184" fmla="*/ 874206 h 1240971"/>
              <a:gd name="connsiteX185" fmla="*/ 4819294 w 5738365"/>
              <a:gd name="connsiteY185" fmla="*/ 873944 h 1240971"/>
              <a:gd name="connsiteX186" fmla="*/ 4877465 w 5738365"/>
              <a:gd name="connsiteY186" fmla="*/ 895638 h 1240971"/>
              <a:gd name="connsiteX187" fmla="*/ 4935347 w 5738365"/>
              <a:gd name="connsiteY187" fmla="*/ 934523 h 1240971"/>
              <a:gd name="connsiteX188" fmla="*/ 4995402 w 5738365"/>
              <a:gd name="connsiteY188" fmla="*/ 1006746 h 1240971"/>
              <a:gd name="connsiteX189" fmla="*/ 5024762 w 5738365"/>
              <a:gd name="connsiteY189" fmla="*/ 1051963 h 1240971"/>
              <a:gd name="connsiteX190" fmla="*/ 5092223 w 5738365"/>
              <a:gd name="connsiteY190" fmla="*/ 1016506 h 1240971"/>
              <a:gd name="connsiteX191" fmla="*/ 5144322 w 5738365"/>
              <a:gd name="connsiteY191" fmla="*/ 948261 h 1240971"/>
              <a:gd name="connsiteX192" fmla="*/ 5189252 w 5738365"/>
              <a:gd name="connsiteY192" fmla="*/ 886112 h 1240971"/>
              <a:gd name="connsiteX193" fmla="*/ 5226279 w 5738365"/>
              <a:gd name="connsiteY193" fmla="*/ 856230 h 1240971"/>
              <a:gd name="connsiteX194" fmla="*/ 5260637 w 5738365"/>
              <a:gd name="connsiteY194" fmla="*/ 822918 h 1240971"/>
              <a:gd name="connsiteX195" fmla="*/ 5295282 w 5738365"/>
              <a:gd name="connsiteY195" fmla="*/ 800440 h 1240971"/>
              <a:gd name="connsiteX196" fmla="*/ 5334430 w 5738365"/>
              <a:gd name="connsiteY196" fmla="*/ 794893 h 1240971"/>
              <a:gd name="connsiteX197" fmla="*/ 5412174 w 5738365"/>
              <a:gd name="connsiteY197" fmla="*/ 824252 h 1240971"/>
              <a:gd name="connsiteX198" fmla="*/ 5431197 w 5738365"/>
              <a:gd name="connsiteY198" fmla="*/ 768699 h 1240971"/>
              <a:gd name="connsiteX199" fmla="*/ 5441246 w 5738365"/>
              <a:gd name="connsiteY199" fmla="*/ 753626 h 1240971"/>
              <a:gd name="connsiteX200" fmla="*/ 5456318 w 5738365"/>
              <a:gd name="connsiteY200" fmla="*/ 708409 h 1240971"/>
              <a:gd name="connsiteX201" fmla="*/ 5466366 w 5738365"/>
              <a:gd name="connsiteY201" fmla="*/ 683288 h 1240971"/>
              <a:gd name="connsiteX202" fmla="*/ 5476415 w 5738365"/>
              <a:gd name="connsiteY202" fmla="*/ 643094 h 1240971"/>
              <a:gd name="connsiteX203" fmla="*/ 5491487 w 5738365"/>
              <a:gd name="connsiteY203" fmla="*/ 617973 h 1240971"/>
              <a:gd name="connsiteX204" fmla="*/ 5506560 w 5738365"/>
              <a:gd name="connsiteY204" fmla="*/ 572756 h 1240971"/>
              <a:gd name="connsiteX205" fmla="*/ 5526656 w 5738365"/>
              <a:gd name="connsiteY205" fmla="*/ 522514 h 1240971"/>
              <a:gd name="connsiteX206" fmla="*/ 5546753 w 5738365"/>
              <a:gd name="connsiteY206" fmla="*/ 467248 h 1240971"/>
              <a:gd name="connsiteX207" fmla="*/ 5556802 w 5738365"/>
              <a:gd name="connsiteY207" fmla="*/ 411982 h 1240971"/>
              <a:gd name="connsiteX208" fmla="*/ 5566850 w 5738365"/>
              <a:gd name="connsiteY208" fmla="*/ 381837 h 1240971"/>
              <a:gd name="connsiteX209" fmla="*/ 5576898 w 5738365"/>
              <a:gd name="connsiteY209" fmla="*/ 356716 h 1240971"/>
              <a:gd name="connsiteX210" fmla="*/ 5596995 w 5738365"/>
              <a:gd name="connsiteY210" fmla="*/ 316523 h 1240971"/>
              <a:gd name="connsiteX211" fmla="*/ 5617092 w 5738365"/>
              <a:gd name="connsiteY211" fmla="*/ 246184 h 1240971"/>
              <a:gd name="connsiteX212" fmla="*/ 5622116 w 5738365"/>
              <a:gd name="connsiteY212" fmla="*/ 226088 h 1240971"/>
              <a:gd name="connsiteX213" fmla="*/ 5632164 w 5738365"/>
              <a:gd name="connsiteY213" fmla="*/ 216039 h 1240971"/>
              <a:gd name="connsiteX214" fmla="*/ 5637188 w 5738365"/>
              <a:gd name="connsiteY214" fmla="*/ 200967 h 1240971"/>
              <a:gd name="connsiteX215" fmla="*/ 5642213 w 5738365"/>
              <a:gd name="connsiteY215" fmla="*/ 180870 h 1240971"/>
              <a:gd name="connsiteX216" fmla="*/ 5652261 w 5738365"/>
              <a:gd name="connsiteY216" fmla="*/ 165798 h 1240971"/>
              <a:gd name="connsiteX217" fmla="*/ 5726602 w 5738365"/>
              <a:gd name="connsiteY217" fmla="*/ 89362 h 1240971"/>
              <a:gd name="connsiteX218" fmla="*/ 5728722 w 5738365"/>
              <a:gd name="connsiteY218" fmla="*/ 42287 h 1240971"/>
              <a:gd name="connsiteX219" fmla="*/ 5634284 w 5738365"/>
              <a:gd name="connsiteY219" fmla="*/ 25357 h 1240971"/>
              <a:gd name="connsiteX220" fmla="*/ 5536940 w 5738365"/>
              <a:gd name="connsiteY220" fmla="*/ 27214 h 1240971"/>
              <a:gd name="connsiteX221" fmla="*/ 5470369 w 5738365"/>
              <a:gd name="connsiteY221" fmla="*/ 39381 h 1240971"/>
              <a:gd name="connsiteX222" fmla="*/ 5379124 w 5738365"/>
              <a:gd name="connsiteY222" fmla="*/ 39644 h 1240971"/>
              <a:gd name="connsiteX223" fmla="*/ 5309282 w 5738365"/>
              <a:gd name="connsiteY223" fmla="*/ 42287 h 1240971"/>
              <a:gd name="connsiteX224" fmla="*/ 5238682 w 5738365"/>
              <a:gd name="connsiteY224" fmla="*/ 54455 h 1240971"/>
              <a:gd name="connsiteX225" fmla="*/ 5108892 w 5738365"/>
              <a:gd name="connsiteY225" fmla="*/ 37524 h 1240971"/>
              <a:gd name="connsiteX226" fmla="*/ 5020026 w 5738365"/>
              <a:gd name="connsiteY226" fmla="*/ 39120 h 1240971"/>
              <a:gd name="connsiteX227" fmla="*/ 4946233 w 5738365"/>
              <a:gd name="connsiteY227" fmla="*/ 41240 h 1240971"/>
              <a:gd name="connsiteX228" fmla="*/ 4823272 w 5738365"/>
              <a:gd name="connsiteY228" fmla="*/ 50242 h 1240971"/>
              <a:gd name="connsiteX229" fmla="*/ 4727577 w 5738365"/>
              <a:gd name="connsiteY229" fmla="*/ 29073 h 1240971"/>
              <a:gd name="connsiteX230" fmla="*/ 4628376 w 5738365"/>
              <a:gd name="connsiteY230" fmla="*/ 41240 h 1240971"/>
              <a:gd name="connsiteX231" fmla="*/ 4565180 w 5738365"/>
              <a:gd name="connsiteY231" fmla="*/ 46264 h 1240971"/>
              <a:gd name="connsiteX232" fmla="*/ 4417596 w 5738365"/>
              <a:gd name="connsiteY232" fmla="*/ 44406 h 1240971"/>
              <a:gd name="connsiteX233" fmla="*/ 4139984 w 5738365"/>
              <a:gd name="connsiteY233" fmla="*/ 60290 h 1240971"/>
              <a:gd name="connsiteX234" fmla="*/ 3918920 w 5738365"/>
              <a:gd name="connsiteY234" fmla="*/ 50242 h 1240971"/>
              <a:gd name="connsiteX235" fmla="*/ 3873703 w 5738365"/>
              <a:gd name="connsiteY235" fmla="*/ 45217 h 1240971"/>
              <a:gd name="connsiteX236" fmla="*/ 3687808 w 5738365"/>
              <a:gd name="connsiteY236" fmla="*/ 40193 h 1240971"/>
              <a:gd name="connsiteX237" fmla="*/ 3662687 w 5738365"/>
              <a:gd name="connsiteY237" fmla="*/ 35169 h 1240971"/>
              <a:gd name="connsiteX238" fmla="*/ 3627518 w 5738365"/>
              <a:gd name="connsiteY238" fmla="*/ 25121 h 1240971"/>
              <a:gd name="connsiteX239" fmla="*/ 3547131 w 5738365"/>
              <a:gd name="connsiteY239" fmla="*/ 20097 h 1240971"/>
              <a:gd name="connsiteX240" fmla="*/ 3310995 w 5738365"/>
              <a:gd name="connsiteY240" fmla="*/ 25121 h 1240971"/>
              <a:gd name="connsiteX241" fmla="*/ 3265777 w 5738365"/>
              <a:gd name="connsiteY241" fmla="*/ 30145 h 1240971"/>
              <a:gd name="connsiteX242" fmla="*/ 3175342 w 5738365"/>
              <a:gd name="connsiteY242" fmla="*/ 35169 h 1240971"/>
              <a:gd name="connsiteX243" fmla="*/ 2582489 w 5738365"/>
              <a:gd name="connsiteY243" fmla="*/ 45217 h 1240971"/>
              <a:gd name="connsiteX244" fmla="*/ 2255918 w 5738365"/>
              <a:gd name="connsiteY244" fmla="*/ 40193 h 1240971"/>
              <a:gd name="connsiteX245" fmla="*/ 1974564 w 5738365"/>
              <a:gd name="connsiteY245" fmla="*/ 30145 h 1240971"/>
              <a:gd name="connsiteX246" fmla="*/ 1944419 w 5738365"/>
              <a:gd name="connsiteY246" fmla="*/ 25121 h 1240971"/>
              <a:gd name="connsiteX247" fmla="*/ 1848960 w 5738365"/>
              <a:gd name="connsiteY247" fmla="*/ 20097 h 1240971"/>
              <a:gd name="connsiteX248" fmla="*/ 1768573 w 5738365"/>
              <a:gd name="connsiteY248" fmla="*/ 10048 h 1240971"/>
              <a:gd name="connsiteX249" fmla="*/ 1502292 w 5738365"/>
              <a:gd name="connsiteY249" fmla="*/ 20097 h 1240971"/>
              <a:gd name="connsiteX250" fmla="*/ 1467122 w 5738365"/>
              <a:gd name="connsiteY250" fmla="*/ 25121 h 1240971"/>
              <a:gd name="connsiteX251" fmla="*/ 1426929 w 5738365"/>
              <a:gd name="connsiteY251" fmla="*/ 30145 h 1240971"/>
              <a:gd name="connsiteX252" fmla="*/ 1341518 w 5738365"/>
              <a:gd name="connsiteY252" fmla="*/ 45217 h 1240971"/>
              <a:gd name="connsiteX253" fmla="*/ 1095333 w 5738365"/>
              <a:gd name="connsiteY253" fmla="*/ 35169 h 1240971"/>
              <a:gd name="connsiteX254" fmla="*/ 979777 w 5738365"/>
              <a:gd name="connsiteY254" fmla="*/ 20097 h 1240971"/>
              <a:gd name="connsiteX255" fmla="*/ 939584 w 5738365"/>
              <a:gd name="connsiteY255" fmla="*/ 10048 h 1240971"/>
              <a:gd name="connsiteX256" fmla="*/ 813980 w 5738365"/>
              <a:gd name="connsiteY256" fmla="*/ 0 h 1240971"/>
              <a:gd name="connsiteX257" fmla="*/ 743641 w 5738365"/>
              <a:gd name="connsiteY257" fmla="*/ 5024 h 1240971"/>
              <a:gd name="connsiteX258" fmla="*/ 582867 w 5738365"/>
              <a:gd name="connsiteY258" fmla="*/ 15072 h 1240971"/>
              <a:gd name="connsiteX259" fmla="*/ 432142 w 5738365"/>
              <a:gd name="connsiteY259" fmla="*/ 5024 h 1240971"/>
              <a:gd name="connsiteX260" fmla="*/ 412046 w 5738365"/>
              <a:gd name="connsiteY260" fmla="*/ 0 h 1240971"/>
              <a:gd name="connsiteX261" fmla="*/ 281417 w 5738365"/>
              <a:gd name="connsiteY261" fmla="*/ 10048 h 1240971"/>
              <a:gd name="connsiteX262" fmla="*/ 261320 w 5738365"/>
              <a:gd name="connsiteY262" fmla="*/ 15072 h 1240971"/>
              <a:gd name="connsiteX263" fmla="*/ 100547 w 5738365"/>
              <a:gd name="connsiteY263" fmla="*/ 20097 h 1240971"/>
              <a:gd name="connsiteX264" fmla="*/ 5087 w 5738365"/>
              <a:gd name="connsiteY264"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58630 w 5737264"/>
              <a:gd name="connsiteY148" fmla="*/ 1009859 h 1240971"/>
              <a:gd name="connsiteX149" fmla="*/ 3873703 w 5737264"/>
              <a:gd name="connsiteY149" fmla="*/ 1004835 h 1240971"/>
              <a:gd name="connsiteX150" fmla="*/ 3923944 w 5737264"/>
              <a:gd name="connsiteY150" fmla="*/ 1014883 h 1240971"/>
              <a:gd name="connsiteX151" fmla="*/ 3933993 w 5737264"/>
              <a:gd name="connsiteY151" fmla="*/ 1029956 h 1240971"/>
              <a:gd name="connsiteX152" fmla="*/ 3964138 w 5737264"/>
              <a:gd name="connsiteY152" fmla="*/ 1075173 h 1240971"/>
              <a:gd name="connsiteX153" fmla="*/ 3969162 w 5737264"/>
              <a:gd name="connsiteY153" fmla="*/ 1100294 h 1240971"/>
              <a:gd name="connsiteX154" fmla="*/ 3979210 w 5737264"/>
              <a:gd name="connsiteY154" fmla="*/ 1110343 h 1240971"/>
              <a:gd name="connsiteX155" fmla="*/ 3984235 w 5737264"/>
              <a:gd name="connsiteY155" fmla="*/ 1130439 h 1240971"/>
              <a:gd name="connsiteX156" fmla="*/ 4019404 w 5737264"/>
              <a:gd name="connsiteY156" fmla="*/ 1165609 h 1240971"/>
              <a:gd name="connsiteX157" fmla="*/ 4064621 w 5737264"/>
              <a:gd name="connsiteY157" fmla="*/ 1150536 h 1240971"/>
              <a:gd name="connsiteX158" fmla="*/ 4079694 w 5737264"/>
              <a:gd name="connsiteY158" fmla="*/ 1125415 h 1240971"/>
              <a:gd name="connsiteX159" fmla="*/ 4099791 w 5737264"/>
              <a:gd name="connsiteY159" fmla="*/ 1105319 h 1240971"/>
              <a:gd name="connsiteX160" fmla="*/ 4129936 w 5737264"/>
              <a:gd name="connsiteY160" fmla="*/ 1075173 h 1240971"/>
              <a:gd name="connsiteX161" fmla="*/ 4150032 w 5737264"/>
              <a:gd name="connsiteY161" fmla="*/ 1040004 h 1240971"/>
              <a:gd name="connsiteX162" fmla="*/ 4160081 w 5737264"/>
              <a:gd name="connsiteY162" fmla="*/ 1019908 h 1240971"/>
              <a:gd name="connsiteX163" fmla="*/ 4165105 w 5737264"/>
              <a:gd name="connsiteY163" fmla="*/ 1004835 h 1240971"/>
              <a:gd name="connsiteX164" fmla="*/ 4185202 w 5737264"/>
              <a:gd name="connsiteY164" fmla="*/ 984738 h 1240971"/>
              <a:gd name="connsiteX165" fmla="*/ 4200274 w 5737264"/>
              <a:gd name="connsiteY165" fmla="*/ 979714 h 1240971"/>
              <a:gd name="connsiteX166" fmla="*/ 4235443 w 5737264"/>
              <a:gd name="connsiteY166" fmla="*/ 954593 h 1240971"/>
              <a:gd name="connsiteX167" fmla="*/ 4275637 w 5737264"/>
              <a:gd name="connsiteY167" fmla="*/ 934497 h 1240971"/>
              <a:gd name="connsiteX168" fmla="*/ 4310806 w 5737264"/>
              <a:gd name="connsiteY168" fmla="*/ 914400 h 1240971"/>
              <a:gd name="connsiteX169" fmla="*/ 4325878 w 5737264"/>
              <a:gd name="connsiteY169" fmla="*/ 904352 h 1240971"/>
              <a:gd name="connsiteX170" fmla="*/ 4381144 w 5737264"/>
              <a:gd name="connsiteY170" fmla="*/ 904352 h 1240971"/>
              <a:gd name="connsiteX171" fmla="*/ 4401241 w 5737264"/>
              <a:gd name="connsiteY171" fmla="*/ 914400 h 1240971"/>
              <a:gd name="connsiteX172" fmla="*/ 4416314 w 5737264"/>
              <a:gd name="connsiteY172" fmla="*/ 919424 h 1240971"/>
              <a:gd name="connsiteX173" fmla="*/ 4431386 w 5737264"/>
              <a:gd name="connsiteY173" fmla="*/ 929472 h 1240971"/>
              <a:gd name="connsiteX174" fmla="*/ 4456507 w 5737264"/>
              <a:gd name="connsiteY174" fmla="*/ 974690 h 1240971"/>
              <a:gd name="connsiteX175" fmla="*/ 4476604 w 5737264"/>
              <a:gd name="connsiteY175" fmla="*/ 999811 h 1240971"/>
              <a:gd name="connsiteX176" fmla="*/ 4567039 w 5737264"/>
              <a:gd name="connsiteY176" fmla="*/ 994787 h 1240971"/>
              <a:gd name="connsiteX177" fmla="*/ 4597184 w 5737264"/>
              <a:gd name="connsiteY177" fmla="*/ 969666 h 1240971"/>
              <a:gd name="connsiteX178" fmla="*/ 4617281 w 5737264"/>
              <a:gd name="connsiteY178" fmla="*/ 959617 h 1240971"/>
              <a:gd name="connsiteX179" fmla="*/ 4632353 w 5737264"/>
              <a:gd name="connsiteY179" fmla="*/ 944545 h 1240971"/>
              <a:gd name="connsiteX180" fmla="*/ 4652450 w 5737264"/>
              <a:gd name="connsiteY180" fmla="*/ 934497 h 1240971"/>
              <a:gd name="connsiteX181" fmla="*/ 4672547 w 5737264"/>
              <a:gd name="connsiteY181" fmla="*/ 919424 h 1240971"/>
              <a:gd name="connsiteX182" fmla="*/ 4737861 w 5737264"/>
              <a:gd name="connsiteY182" fmla="*/ 884255 h 1240971"/>
              <a:gd name="connsiteX183" fmla="*/ 4762982 w 5737264"/>
              <a:gd name="connsiteY183" fmla="*/ 879231 h 1240971"/>
              <a:gd name="connsiteX184" fmla="*/ 4778054 w 5737264"/>
              <a:gd name="connsiteY184" fmla="*/ 874206 h 1240971"/>
              <a:gd name="connsiteX185" fmla="*/ 4819294 w 5737264"/>
              <a:gd name="connsiteY185" fmla="*/ 873944 h 1240971"/>
              <a:gd name="connsiteX186" fmla="*/ 4877465 w 5737264"/>
              <a:gd name="connsiteY186" fmla="*/ 895638 h 1240971"/>
              <a:gd name="connsiteX187" fmla="*/ 4935347 w 5737264"/>
              <a:gd name="connsiteY187" fmla="*/ 934523 h 1240971"/>
              <a:gd name="connsiteX188" fmla="*/ 4995402 w 5737264"/>
              <a:gd name="connsiteY188" fmla="*/ 1006746 h 1240971"/>
              <a:gd name="connsiteX189" fmla="*/ 5024762 w 5737264"/>
              <a:gd name="connsiteY189" fmla="*/ 1051963 h 1240971"/>
              <a:gd name="connsiteX190" fmla="*/ 5092223 w 5737264"/>
              <a:gd name="connsiteY190" fmla="*/ 1016506 h 1240971"/>
              <a:gd name="connsiteX191" fmla="*/ 5144322 w 5737264"/>
              <a:gd name="connsiteY191" fmla="*/ 948261 h 1240971"/>
              <a:gd name="connsiteX192" fmla="*/ 5189252 w 5737264"/>
              <a:gd name="connsiteY192" fmla="*/ 886112 h 1240971"/>
              <a:gd name="connsiteX193" fmla="*/ 5226279 w 5737264"/>
              <a:gd name="connsiteY193" fmla="*/ 856230 h 1240971"/>
              <a:gd name="connsiteX194" fmla="*/ 5260637 w 5737264"/>
              <a:gd name="connsiteY194" fmla="*/ 822918 h 1240971"/>
              <a:gd name="connsiteX195" fmla="*/ 5295282 w 5737264"/>
              <a:gd name="connsiteY195" fmla="*/ 800440 h 1240971"/>
              <a:gd name="connsiteX196" fmla="*/ 5334430 w 5737264"/>
              <a:gd name="connsiteY196" fmla="*/ 794893 h 1240971"/>
              <a:gd name="connsiteX197" fmla="*/ 5412174 w 5737264"/>
              <a:gd name="connsiteY197" fmla="*/ 824252 h 1240971"/>
              <a:gd name="connsiteX198" fmla="*/ 5431197 w 5737264"/>
              <a:gd name="connsiteY198" fmla="*/ 768699 h 1240971"/>
              <a:gd name="connsiteX199" fmla="*/ 5441246 w 5737264"/>
              <a:gd name="connsiteY199" fmla="*/ 753626 h 1240971"/>
              <a:gd name="connsiteX200" fmla="*/ 5456318 w 5737264"/>
              <a:gd name="connsiteY200" fmla="*/ 708409 h 1240971"/>
              <a:gd name="connsiteX201" fmla="*/ 5466366 w 5737264"/>
              <a:gd name="connsiteY201" fmla="*/ 683288 h 1240971"/>
              <a:gd name="connsiteX202" fmla="*/ 5476415 w 5737264"/>
              <a:gd name="connsiteY202" fmla="*/ 643094 h 1240971"/>
              <a:gd name="connsiteX203" fmla="*/ 5491487 w 5737264"/>
              <a:gd name="connsiteY203" fmla="*/ 617973 h 1240971"/>
              <a:gd name="connsiteX204" fmla="*/ 5506560 w 5737264"/>
              <a:gd name="connsiteY204" fmla="*/ 572756 h 1240971"/>
              <a:gd name="connsiteX205" fmla="*/ 5526656 w 5737264"/>
              <a:gd name="connsiteY205" fmla="*/ 522514 h 1240971"/>
              <a:gd name="connsiteX206" fmla="*/ 5546753 w 5737264"/>
              <a:gd name="connsiteY206" fmla="*/ 467248 h 1240971"/>
              <a:gd name="connsiteX207" fmla="*/ 5556802 w 5737264"/>
              <a:gd name="connsiteY207" fmla="*/ 411982 h 1240971"/>
              <a:gd name="connsiteX208" fmla="*/ 5566850 w 5737264"/>
              <a:gd name="connsiteY208" fmla="*/ 381837 h 1240971"/>
              <a:gd name="connsiteX209" fmla="*/ 5576898 w 5737264"/>
              <a:gd name="connsiteY209" fmla="*/ 356716 h 1240971"/>
              <a:gd name="connsiteX210" fmla="*/ 5596995 w 5737264"/>
              <a:gd name="connsiteY210" fmla="*/ 316523 h 1240971"/>
              <a:gd name="connsiteX211" fmla="*/ 5617092 w 5737264"/>
              <a:gd name="connsiteY211" fmla="*/ 246184 h 1240971"/>
              <a:gd name="connsiteX212" fmla="*/ 5622116 w 5737264"/>
              <a:gd name="connsiteY212" fmla="*/ 226088 h 1240971"/>
              <a:gd name="connsiteX213" fmla="*/ 5632164 w 5737264"/>
              <a:gd name="connsiteY213" fmla="*/ 216039 h 1240971"/>
              <a:gd name="connsiteX214" fmla="*/ 5637188 w 5737264"/>
              <a:gd name="connsiteY214" fmla="*/ 200967 h 1240971"/>
              <a:gd name="connsiteX215" fmla="*/ 5642213 w 5737264"/>
              <a:gd name="connsiteY215" fmla="*/ 180870 h 1240971"/>
              <a:gd name="connsiteX216" fmla="*/ 5673692 w 5737264"/>
              <a:gd name="connsiteY216" fmla="*/ 153892 h 1240971"/>
              <a:gd name="connsiteX217" fmla="*/ 5726602 w 5737264"/>
              <a:gd name="connsiteY217" fmla="*/ 89362 h 1240971"/>
              <a:gd name="connsiteX218" fmla="*/ 5728722 w 5737264"/>
              <a:gd name="connsiteY218" fmla="*/ 42287 h 1240971"/>
              <a:gd name="connsiteX219" fmla="*/ 5634284 w 5737264"/>
              <a:gd name="connsiteY219" fmla="*/ 25357 h 1240971"/>
              <a:gd name="connsiteX220" fmla="*/ 5536940 w 5737264"/>
              <a:gd name="connsiteY220" fmla="*/ 27214 h 1240971"/>
              <a:gd name="connsiteX221" fmla="*/ 5470369 w 5737264"/>
              <a:gd name="connsiteY221" fmla="*/ 39381 h 1240971"/>
              <a:gd name="connsiteX222" fmla="*/ 5379124 w 5737264"/>
              <a:gd name="connsiteY222" fmla="*/ 39644 h 1240971"/>
              <a:gd name="connsiteX223" fmla="*/ 5309282 w 5737264"/>
              <a:gd name="connsiteY223" fmla="*/ 42287 h 1240971"/>
              <a:gd name="connsiteX224" fmla="*/ 5238682 w 5737264"/>
              <a:gd name="connsiteY224" fmla="*/ 54455 h 1240971"/>
              <a:gd name="connsiteX225" fmla="*/ 5108892 w 5737264"/>
              <a:gd name="connsiteY225" fmla="*/ 37524 h 1240971"/>
              <a:gd name="connsiteX226" fmla="*/ 5020026 w 5737264"/>
              <a:gd name="connsiteY226" fmla="*/ 39120 h 1240971"/>
              <a:gd name="connsiteX227" fmla="*/ 4946233 w 5737264"/>
              <a:gd name="connsiteY227" fmla="*/ 41240 h 1240971"/>
              <a:gd name="connsiteX228" fmla="*/ 4823272 w 5737264"/>
              <a:gd name="connsiteY228" fmla="*/ 50242 h 1240971"/>
              <a:gd name="connsiteX229" fmla="*/ 4727577 w 5737264"/>
              <a:gd name="connsiteY229" fmla="*/ 29073 h 1240971"/>
              <a:gd name="connsiteX230" fmla="*/ 4628376 w 5737264"/>
              <a:gd name="connsiteY230" fmla="*/ 41240 h 1240971"/>
              <a:gd name="connsiteX231" fmla="*/ 4565180 w 5737264"/>
              <a:gd name="connsiteY231" fmla="*/ 46264 h 1240971"/>
              <a:gd name="connsiteX232" fmla="*/ 4417596 w 5737264"/>
              <a:gd name="connsiteY232" fmla="*/ 44406 h 1240971"/>
              <a:gd name="connsiteX233" fmla="*/ 4139984 w 5737264"/>
              <a:gd name="connsiteY233" fmla="*/ 60290 h 1240971"/>
              <a:gd name="connsiteX234" fmla="*/ 3918920 w 5737264"/>
              <a:gd name="connsiteY234" fmla="*/ 50242 h 1240971"/>
              <a:gd name="connsiteX235" fmla="*/ 3873703 w 5737264"/>
              <a:gd name="connsiteY235" fmla="*/ 45217 h 1240971"/>
              <a:gd name="connsiteX236" fmla="*/ 3687808 w 5737264"/>
              <a:gd name="connsiteY236" fmla="*/ 40193 h 1240971"/>
              <a:gd name="connsiteX237" fmla="*/ 3662687 w 5737264"/>
              <a:gd name="connsiteY237" fmla="*/ 35169 h 1240971"/>
              <a:gd name="connsiteX238" fmla="*/ 3627518 w 5737264"/>
              <a:gd name="connsiteY238" fmla="*/ 25121 h 1240971"/>
              <a:gd name="connsiteX239" fmla="*/ 3547131 w 5737264"/>
              <a:gd name="connsiteY239" fmla="*/ 20097 h 1240971"/>
              <a:gd name="connsiteX240" fmla="*/ 3310995 w 5737264"/>
              <a:gd name="connsiteY240" fmla="*/ 25121 h 1240971"/>
              <a:gd name="connsiteX241" fmla="*/ 3265777 w 5737264"/>
              <a:gd name="connsiteY241" fmla="*/ 30145 h 1240971"/>
              <a:gd name="connsiteX242" fmla="*/ 3175342 w 5737264"/>
              <a:gd name="connsiteY242" fmla="*/ 35169 h 1240971"/>
              <a:gd name="connsiteX243" fmla="*/ 2582489 w 5737264"/>
              <a:gd name="connsiteY243" fmla="*/ 45217 h 1240971"/>
              <a:gd name="connsiteX244" fmla="*/ 2255918 w 5737264"/>
              <a:gd name="connsiteY244" fmla="*/ 40193 h 1240971"/>
              <a:gd name="connsiteX245" fmla="*/ 1974564 w 5737264"/>
              <a:gd name="connsiteY245" fmla="*/ 30145 h 1240971"/>
              <a:gd name="connsiteX246" fmla="*/ 1944419 w 5737264"/>
              <a:gd name="connsiteY246" fmla="*/ 25121 h 1240971"/>
              <a:gd name="connsiteX247" fmla="*/ 1848960 w 5737264"/>
              <a:gd name="connsiteY247" fmla="*/ 20097 h 1240971"/>
              <a:gd name="connsiteX248" fmla="*/ 1768573 w 5737264"/>
              <a:gd name="connsiteY248" fmla="*/ 10048 h 1240971"/>
              <a:gd name="connsiteX249" fmla="*/ 1502292 w 5737264"/>
              <a:gd name="connsiteY249" fmla="*/ 20097 h 1240971"/>
              <a:gd name="connsiteX250" fmla="*/ 1467122 w 5737264"/>
              <a:gd name="connsiteY250" fmla="*/ 25121 h 1240971"/>
              <a:gd name="connsiteX251" fmla="*/ 1426929 w 5737264"/>
              <a:gd name="connsiteY251" fmla="*/ 30145 h 1240971"/>
              <a:gd name="connsiteX252" fmla="*/ 1341518 w 5737264"/>
              <a:gd name="connsiteY252" fmla="*/ 45217 h 1240971"/>
              <a:gd name="connsiteX253" fmla="*/ 1095333 w 5737264"/>
              <a:gd name="connsiteY253" fmla="*/ 35169 h 1240971"/>
              <a:gd name="connsiteX254" fmla="*/ 979777 w 5737264"/>
              <a:gd name="connsiteY254" fmla="*/ 20097 h 1240971"/>
              <a:gd name="connsiteX255" fmla="*/ 939584 w 5737264"/>
              <a:gd name="connsiteY255" fmla="*/ 10048 h 1240971"/>
              <a:gd name="connsiteX256" fmla="*/ 813980 w 5737264"/>
              <a:gd name="connsiteY256" fmla="*/ 0 h 1240971"/>
              <a:gd name="connsiteX257" fmla="*/ 743641 w 5737264"/>
              <a:gd name="connsiteY257" fmla="*/ 5024 h 1240971"/>
              <a:gd name="connsiteX258" fmla="*/ 582867 w 5737264"/>
              <a:gd name="connsiteY258" fmla="*/ 15072 h 1240971"/>
              <a:gd name="connsiteX259" fmla="*/ 432142 w 5737264"/>
              <a:gd name="connsiteY259" fmla="*/ 5024 h 1240971"/>
              <a:gd name="connsiteX260" fmla="*/ 412046 w 5737264"/>
              <a:gd name="connsiteY260" fmla="*/ 0 h 1240971"/>
              <a:gd name="connsiteX261" fmla="*/ 281417 w 5737264"/>
              <a:gd name="connsiteY261" fmla="*/ 10048 h 1240971"/>
              <a:gd name="connsiteX262" fmla="*/ 261320 w 5737264"/>
              <a:gd name="connsiteY262" fmla="*/ 15072 h 1240971"/>
              <a:gd name="connsiteX263" fmla="*/ 100547 w 5737264"/>
              <a:gd name="connsiteY263" fmla="*/ 20097 h 1240971"/>
              <a:gd name="connsiteX264" fmla="*/ 5087 w 5737264"/>
              <a:gd name="connsiteY264"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58630 w 5737264"/>
              <a:gd name="connsiteY148" fmla="*/ 1009859 h 1240971"/>
              <a:gd name="connsiteX149" fmla="*/ 3873703 w 5737264"/>
              <a:gd name="connsiteY149" fmla="*/ 1004835 h 1240971"/>
              <a:gd name="connsiteX150" fmla="*/ 3923944 w 5737264"/>
              <a:gd name="connsiteY150" fmla="*/ 1014883 h 1240971"/>
              <a:gd name="connsiteX151" fmla="*/ 3933993 w 5737264"/>
              <a:gd name="connsiteY151" fmla="*/ 1029956 h 1240971"/>
              <a:gd name="connsiteX152" fmla="*/ 3964138 w 5737264"/>
              <a:gd name="connsiteY152" fmla="*/ 1075173 h 1240971"/>
              <a:gd name="connsiteX153" fmla="*/ 3969162 w 5737264"/>
              <a:gd name="connsiteY153" fmla="*/ 1100294 h 1240971"/>
              <a:gd name="connsiteX154" fmla="*/ 3979210 w 5737264"/>
              <a:gd name="connsiteY154" fmla="*/ 1110343 h 1240971"/>
              <a:gd name="connsiteX155" fmla="*/ 3984235 w 5737264"/>
              <a:gd name="connsiteY155" fmla="*/ 1130439 h 1240971"/>
              <a:gd name="connsiteX156" fmla="*/ 4019404 w 5737264"/>
              <a:gd name="connsiteY156" fmla="*/ 1165609 h 1240971"/>
              <a:gd name="connsiteX157" fmla="*/ 4064621 w 5737264"/>
              <a:gd name="connsiteY157" fmla="*/ 1150536 h 1240971"/>
              <a:gd name="connsiteX158" fmla="*/ 4079694 w 5737264"/>
              <a:gd name="connsiteY158" fmla="*/ 1125415 h 1240971"/>
              <a:gd name="connsiteX159" fmla="*/ 4099791 w 5737264"/>
              <a:gd name="connsiteY159" fmla="*/ 1105319 h 1240971"/>
              <a:gd name="connsiteX160" fmla="*/ 4129936 w 5737264"/>
              <a:gd name="connsiteY160" fmla="*/ 1075173 h 1240971"/>
              <a:gd name="connsiteX161" fmla="*/ 4150032 w 5737264"/>
              <a:gd name="connsiteY161" fmla="*/ 1040004 h 1240971"/>
              <a:gd name="connsiteX162" fmla="*/ 4160081 w 5737264"/>
              <a:gd name="connsiteY162" fmla="*/ 1019908 h 1240971"/>
              <a:gd name="connsiteX163" fmla="*/ 4165105 w 5737264"/>
              <a:gd name="connsiteY163" fmla="*/ 1004835 h 1240971"/>
              <a:gd name="connsiteX164" fmla="*/ 4185202 w 5737264"/>
              <a:gd name="connsiteY164" fmla="*/ 984738 h 1240971"/>
              <a:gd name="connsiteX165" fmla="*/ 4200274 w 5737264"/>
              <a:gd name="connsiteY165" fmla="*/ 979714 h 1240971"/>
              <a:gd name="connsiteX166" fmla="*/ 4235443 w 5737264"/>
              <a:gd name="connsiteY166" fmla="*/ 954593 h 1240971"/>
              <a:gd name="connsiteX167" fmla="*/ 4275637 w 5737264"/>
              <a:gd name="connsiteY167" fmla="*/ 934497 h 1240971"/>
              <a:gd name="connsiteX168" fmla="*/ 4310806 w 5737264"/>
              <a:gd name="connsiteY168" fmla="*/ 914400 h 1240971"/>
              <a:gd name="connsiteX169" fmla="*/ 4325878 w 5737264"/>
              <a:gd name="connsiteY169" fmla="*/ 904352 h 1240971"/>
              <a:gd name="connsiteX170" fmla="*/ 4381144 w 5737264"/>
              <a:gd name="connsiteY170" fmla="*/ 904352 h 1240971"/>
              <a:gd name="connsiteX171" fmla="*/ 4401241 w 5737264"/>
              <a:gd name="connsiteY171" fmla="*/ 914400 h 1240971"/>
              <a:gd name="connsiteX172" fmla="*/ 4416314 w 5737264"/>
              <a:gd name="connsiteY172" fmla="*/ 919424 h 1240971"/>
              <a:gd name="connsiteX173" fmla="*/ 4431386 w 5737264"/>
              <a:gd name="connsiteY173" fmla="*/ 929472 h 1240971"/>
              <a:gd name="connsiteX174" fmla="*/ 4456507 w 5737264"/>
              <a:gd name="connsiteY174" fmla="*/ 974690 h 1240971"/>
              <a:gd name="connsiteX175" fmla="*/ 4476604 w 5737264"/>
              <a:gd name="connsiteY175" fmla="*/ 999811 h 1240971"/>
              <a:gd name="connsiteX176" fmla="*/ 4567039 w 5737264"/>
              <a:gd name="connsiteY176" fmla="*/ 994787 h 1240971"/>
              <a:gd name="connsiteX177" fmla="*/ 4597184 w 5737264"/>
              <a:gd name="connsiteY177" fmla="*/ 969666 h 1240971"/>
              <a:gd name="connsiteX178" fmla="*/ 4617281 w 5737264"/>
              <a:gd name="connsiteY178" fmla="*/ 959617 h 1240971"/>
              <a:gd name="connsiteX179" fmla="*/ 4632353 w 5737264"/>
              <a:gd name="connsiteY179" fmla="*/ 944545 h 1240971"/>
              <a:gd name="connsiteX180" fmla="*/ 4652450 w 5737264"/>
              <a:gd name="connsiteY180" fmla="*/ 934497 h 1240971"/>
              <a:gd name="connsiteX181" fmla="*/ 4672547 w 5737264"/>
              <a:gd name="connsiteY181" fmla="*/ 919424 h 1240971"/>
              <a:gd name="connsiteX182" fmla="*/ 4737861 w 5737264"/>
              <a:gd name="connsiteY182" fmla="*/ 884255 h 1240971"/>
              <a:gd name="connsiteX183" fmla="*/ 4762982 w 5737264"/>
              <a:gd name="connsiteY183" fmla="*/ 879231 h 1240971"/>
              <a:gd name="connsiteX184" fmla="*/ 4778054 w 5737264"/>
              <a:gd name="connsiteY184" fmla="*/ 874206 h 1240971"/>
              <a:gd name="connsiteX185" fmla="*/ 4819294 w 5737264"/>
              <a:gd name="connsiteY185" fmla="*/ 873944 h 1240971"/>
              <a:gd name="connsiteX186" fmla="*/ 4877465 w 5737264"/>
              <a:gd name="connsiteY186" fmla="*/ 895638 h 1240971"/>
              <a:gd name="connsiteX187" fmla="*/ 4935347 w 5737264"/>
              <a:gd name="connsiteY187" fmla="*/ 934523 h 1240971"/>
              <a:gd name="connsiteX188" fmla="*/ 4995402 w 5737264"/>
              <a:gd name="connsiteY188" fmla="*/ 1006746 h 1240971"/>
              <a:gd name="connsiteX189" fmla="*/ 5024762 w 5737264"/>
              <a:gd name="connsiteY189" fmla="*/ 1051963 h 1240971"/>
              <a:gd name="connsiteX190" fmla="*/ 5092223 w 5737264"/>
              <a:gd name="connsiteY190" fmla="*/ 1016506 h 1240971"/>
              <a:gd name="connsiteX191" fmla="*/ 5144322 w 5737264"/>
              <a:gd name="connsiteY191" fmla="*/ 948261 h 1240971"/>
              <a:gd name="connsiteX192" fmla="*/ 5189252 w 5737264"/>
              <a:gd name="connsiteY192" fmla="*/ 886112 h 1240971"/>
              <a:gd name="connsiteX193" fmla="*/ 5226279 w 5737264"/>
              <a:gd name="connsiteY193" fmla="*/ 856230 h 1240971"/>
              <a:gd name="connsiteX194" fmla="*/ 5260637 w 5737264"/>
              <a:gd name="connsiteY194" fmla="*/ 822918 h 1240971"/>
              <a:gd name="connsiteX195" fmla="*/ 5295282 w 5737264"/>
              <a:gd name="connsiteY195" fmla="*/ 800440 h 1240971"/>
              <a:gd name="connsiteX196" fmla="*/ 5334430 w 5737264"/>
              <a:gd name="connsiteY196" fmla="*/ 794893 h 1240971"/>
              <a:gd name="connsiteX197" fmla="*/ 5412174 w 5737264"/>
              <a:gd name="connsiteY197" fmla="*/ 824252 h 1240971"/>
              <a:gd name="connsiteX198" fmla="*/ 5431197 w 5737264"/>
              <a:gd name="connsiteY198" fmla="*/ 768699 h 1240971"/>
              <a:gd name="connsiteX199" fmla="*/ 5441246 w 5737264"/>
              <a:gd name="connsiteY199" fmla="*/ 753626 h 1240971"/>
              <a:gd name="connsiteX200" fmla="*/ 5456318 w 5737264"/>
              <a:gd name="connsiteY200" fmla="*/ 708409 h 1240971"/>
              <a:gd name="connsiteX201" fmla="*/ 5466366 w 5737264"/>
              <a:gd name="connsiteY201" fmla="*/ 683288 h 1240971"/>
              <a:gd name="connsiteX202" fmla="*/ 5476415 w 5737264"/>
              <a:gd name="connsiteY202" fmla="*/ 643094 h 1240971"/>
              <a:gd name="connsiteX203" fmla="*/ 5491487 w 5737264"/>
              <a:gd name="connsiteY203" fmla="*/ 617973 h 1240971"/>
              <a:gd name="connsiteX204" fmla="*/ 5506560 w 5737264"/>
              <a:gd name="connsiteY204" fmla="*/ 572756 h 1240971"/>
              <a:gd name="connsiteX205" fmla="*/ 5526656 w 5737264"/>
              <a:gd name="connsiteY205" fmla="*/ 522514 h 1240971"/>
              <a:gd name="connsiteX206" fmla="*/ 5546753 w 5737264"/>
              <a:gd name="connsiteY206" fmla="*/ 467248 h 1240971"/>
              <a:gd name="connsiteX207" fmla="*/ 5556802 w 5737264"/>
              <a:gd name="connsiteY207" fmla="*/ 411982 h 1240971"/>
              <a:gd name="connsiteX208" fmla="*/ 5566850 w 5737264"/>
              <a:gd name="connsiteY208" fmla="*/ 381837 h 1240971"/>
              <a:gd name="connsiteX209" fmla="*/ 5576898 w 5737264"/>
              <a:gd name="connsiteY209" fmla="*/ 356716 h 1240971"/>
              <a:gd name="connsiteX210" fmla="*/ 5596995 w 5737264"/>
              <a:gd name="connsiteY210" fmla="*/ 316523 h 1240971"/>
              <a:gd name="connsiteX211" fmla="*/ 5617092 w 5737264"/>
              <a:gd name="connsiteY211" fmla="*/ 246184 h 1240971"/>
              <a:gd name="connsiteX212" fmla="*/ 5622116 w 5737264"/>
              <a:gd name="connsiteY212" fmla="*/ 226088 h 1240971"/>
              <a:gd name="connsiteX213" fmla="*/ 5632164 w 5737264"/>
              <a:gd name="connsiteY213" fmla="*/ 216039 h 1240971"/>
              <a:gd name="connsiteX214" fmla="*/ 5637188 w 5737264"/>
              <a:gd name="connsiteY214" fmla="*/ 200967 h 1240971"/>
              <a:gd name="connsiteX215" fmla="*/ 5651738 w 5737264"/>
              <a:gd name="connsiteY215" fmla="*/ 190395 h 1240971"/>
              <a:gd name="connsiteX216" fmla="*/ 5673692 w 5737264"/>
              <a:gd name="connsiteY216" fmla="*/ 153892 h 1240971"/>
              <a:gd name="connsiteX217" fmla="*/ 5726602 w 5737264"/>
              <a:gd name="connsiteY217" fmla="*/ 89362 h 1240971"/>
              <a:gd name="connsiteX218" fmla="*/ 5728722 w 5737264"/>
              <a:gd name="connsiteY218" fmla="*/ 42287 h 1240971"/>
              <a:gd name="connsiteX219" fmla="*/ 5634284 w 5737264"/>
              <a:gd name="connsiteY219" fmla="*/ 25357 h 1240971"/>
              <a:gd name="connsiteX220" fmla="*/ 5536940 w 5737264"/>
              <a:gd name="connsiteY220" fmla="*/ 27214 h 1240971"/>
              <a:gd name="connsiteX221" fmla="*/ 5470369 w 5737264"/>
              <a:gd name="connsiteY221" fmla="*/ 39381 h 1240971"/>
              <a:gd name="connsiteX222" fmla="*/ 5379124 w 5737264"/>
              <a:gd name="connsiteY222" fmla="*/ 39644 h 1240971"/>
              <a:gd name="connsiteX223" fmla="*/ 5309282 w 5737264"/>
              <a:gd name="connsiteY223" fmla="*/ 42287 h 1240971"/>
              <a:gd name="connsiteX224" fmla="*/ 5238682 w 5737264"/>
              <a:gd name="connsiteY224" fmla="*/ 54455 h 1240971"/>
              <a:gd name="connsiteX225" fmla="*/ 5108892 w 5737264"/>
              <a:gd name="connsiteY225" fmla="*/ 37524 h 1240971"/>
              <a:gd name="connsiteX226" fmla="*/ 5020026 w 5737264"/>
              <a:gd name="connsiteY226" fmla="*/ 39120 h 1240971"/>
              <a:gd name="connsiteX227" fmla="*/ 4946233 w 5737264"/>
              <a:gd name="connsiteY227" fmla="*/ 41240 h 1240971"/>
              <a:gd name="connsiteX228" fmla="*/ 4823272 w 5737264"/>
              <a:gd name="connsiteY228" fmla="*/ 50242 h 1240971"/>
              <a:gd name="connsiteX229" fmla="*/ 4727577 w 5737264"/>
              <a:gd name="connsiteY229" fmla="*/ 29073 h 1240971"/>
              <a:gd name="connsiteX230" fmla="*/ 4628376 w 5737264"/>
              <a:gd name="connsiteY230" fmla="*/ 41240 h 1240971"/>
              <a:gd name="connsiteX231" fmla="*/ 4565180 w 5737264"/>
              <a:gd name="connsiteY231" fmla="*/ 46264 h 1240971"/>
              <a:gd name="connsiteX232" fmla="*/ 4417596 w 5737264"/>
              <a:gd name="connsiteY232" fmla="*/ 44406 h 1240971"/>
              <a:gd name="connsiteX233" fmla="*/ 4139984 w 5737264"/>
              <a:gd name="connsiteY233" fmla="*/ 60290 h 1240971"/>
              <a:gd name="connsiteX234" fmla="*/ 3918920 w 5737264"/>
              <a:gd name="connsiteY234" fmla="*/ 50242 h 1240971"/>
              <a:gd name="connsiteX235" fmla="*/ 3873703 w 5737264"/>
              <a:gd name="connsiteY235" fmla="*/ 45217 h 1240971"/>
              <a:gd name="connsiteX236" fmla="*/ 3687808 w 5737264"/>
              <a:gd name="connsiteY236" fmla="*/ 40193 h 1240971"/>
              <a:gd name="connsiteX237" fmla="*/ 3662687 w 5737264"/>
              <a:gd name="connsiteY237" fmla="*/ 35169 h 1240971"/>
              <a:gd name="connsiteX238" fmla="*/ 3627518 w 5737264"/>
              <a:gd name="connsiteY238" fmla="*/ 25121 h 1240971"/>
              <a:gd name="connsiteX239" fmla="*/ 3547131 w 5737264"/>
              <a:gd name="connsiteY239" fmla="*/ 20097 h 1240971"/>
              <a:gd name="connsiteX240" fmla="*/ 3310995 w 5737264"/>
              <a:gd name="connsiteY240" fmla="*/ 25121 h 1240971"/>
              <a:gd name="connsiteX241" fmla="*/ 3265777 w 5737264"/>
              <a:gd name="connsiteY241" fmla="*/ 30145 h 1240971"/>
              <a:gd name="connsiteX242" fmla="*/ 3175342 w 5737264"/>
              <a:gd name="connsiteY242" fmla="*/ 35169 h 1240971"/>
              <a:gd name="connsiteX243" fmla="*/ 2582489 w 5737264"/>
              <a:gd name="connsiteY243" fmla="*/ 45217 h 1240971"/>
              <a:gd name="connsiteX244" fmla="*/ 2255918 w 5737264"/>
              <a:gd name="connsiteY244" fmla="*/ 40193 h 1240971"/>
              <a:gd name="connsiteX245" fmla="*/ 1974564 w 5737264"/>
              <a:gd name="connsiteY245" fmla="*/ 30145 h 1240971"/>
              <a:gd name="connsiteX246" fmla="*/ 1944419 w 5737264"/>
              <a:gd name="connsiteY246" fmla="*/ 25121 h 1240971"/>
              <a:gd name="connsiteX247" fmla="*/ 1848960 w 5737264"/>
              <a:gd name="connsiteY247" fmla="*/ 20097 h 1240971"/>
              <a:gd name="connsiteX248" fmla="*/ 1768573 w 5737264"/>
              <a:gd name="connsiteY248" fmla="*/ 10048 h 1240971"/>
              <a:gd name="connsiteX249" fmla="*/ 1502292 w 5737264"/>
              <a:gd name="connsiteY249" fmla="*/ 20097 h 1240971"/>
              <a:gd name="connsiteX250" fmla="*/ 1467122 w 5737264"/>
              <a:gd name="connsiteY250" fmla="*/ 25121 h 1240971"/>
              <a:gd name="connsiteX251" fmla="*/ 1426929 w 5737264"/>
              <a:gd name="connsiteY251" fmla="*/ 30145 h 1240971"/>
              <a:gd name="connsiteX252" fmla="*/ 1341518 w 5737264"/>
              <a:gd name="connsiteY252" fmla="*/ 45217 h 1240971"/>
              <a:gd name="connsiteX253" fmla="*/ 1095333 w 5737264"/>
              <a:gd name="connsiteY253" fmla="*/ 35169 h 1240971"/>
              <a:gd name="connsiteX254" fmla="*/ 979777 w 5737264"/>
              <a:gd name="connsiteY254" fmla="*/ 20097 h 1240971"/>
              <a:gd name="connsiteX255" fmla="*/ 939584 w 5737264"/>
              <a:gd name="connsiteY255" fmla="*/ 10048 h 1240971"/>
              <a:gd name="connsiteX256" fmla="*/ 813980 w 5737264"/>
              <a:gd name="connsiteY256" fmla="*/ 0 h 1240971"/>
              <a:gd name="connsiteX257" fmla="*/ 743641 w 5737264"/>
              <a:gd name="connsiteY257" fmla="*/ 5024 h 1240971"/>
              <a:gd name="connsiteX258" fmla="*/ 582867 w 5737264"/>
              <a:gd name="connsiteY258" fmla="*/ 15072 h 1240971"/>
              <a:gd name="connsiteX259" fmla="*/ 432142 w 5737264"/>
              <a:gd name="connsiteY259" fmla="*/ 5024 h 1240971"/>
              <a:gd name="connsiteX260" fmla="*/ 412046 w 5737264"/>
              <a:gd name="connsiteY260" fmla="*/ 0 h 1240971"/>
              <a:gd name="connsiteX261" fmla="*/ 281417 w 5737264"/>
              <a:gd name="connsiteY261" fmla="*/ 10048 h 1240971"/>
              <a:gd name="connsiteX262" fmla="*/ 261320 w 5737264"/>
              <a:gd name="connsiteY262" fmla="*/ 15072 h 1240971"/>
              <a:gd name="connsiteX263" fmla="*/ 100547 w 5737264"/>
              <a:gd name="connsiteY263" fmla="*/ 20097 h 1240971"/>
              <a:gd name="connsiteX264" fmla="*/ 5087 w 5737264"/>
              <a:gd name="connsiteY264"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58630 w 5737264"/>
              <a:gd name="connsiteY148" fmla="*/ 1009859 h 1240971"/>
              <a:gd name="connsiteX149" fmla="*/ 3873703 w 5737264"/>
              <a:gd name="connsiteY149" fmla="*/ 1004835 h 1240971"/>
              <a:gd name="connsiteX150" fmla="*/ 3923944 w 5737264"/>
              <a:gd name="connsiteY150" fmla="*/ 1014883 h 1240971"/>
              <a:gd name="connsiteX151" fmla="*/ 3933993 w 5737264"/>
              <a:gd name="connsiteY151" fmla="*/ 1029956 h 1240971"/>
              <a:gd name="connsiteX152" fmla="*/ 3964138 w 5737264"/>
              <a:gd name="connsiteY152" fmla="*/ 1075173 h 1240971"/>
              <a:gd name="connsiteX153" fmla="*/ 3969162 w 5737264"/>
              <a:gd name="connsiteY153" fmla="*/ 1100294 h 1240971"/>
              <a:gd name="connsiteX154" fmla="*/ 3979210 w 5737264"/>
              <a:gd name="connsiteY154" fmla="*/ 1110343 h 1240971"/>
              <a:gd name="connsiteX155" fmla="*/ 3984235 w 5737264"/>
              <a:gd name="connsiteY155" fmla="*/ 1130439 h 1240971"/>
              <a:gd name="connsiteX156" fmla="*/ 4019404 w 5737264"/>
              <a:gd name="connsiteY156" fmla="*/ 1165609 h 1240971"/>
              <a:gd name="connsiteX157" fmla="*/ 4064621 w 5737264"/>
              <a:gd name="connsiteY157" fmla="*/ 1150536 h 1240971"/>
              <a:gd name="connsiteX158" fmla="*/ 4079694 w 5737264"/>
              <a:gd name="connsiteY158" fmla="*/ 1125415 h 1240971"/>
              <a:gd name="connsiteX159" fmla="*/ 4099791 w 5737264"/>
              <a:gd name="connsiteY159" fmla="*/ 1105319 h 1240971"/>
              <a:gd name="connsiteX160" fmla="*/ 4129936 w 5737264"/>
              <a:gd name="connsiteY160" fmla="*/ 1075173 h 1240971"/>
              <a:gd name="connsiteX161" fmla="*/ 4150032 w 5737264"/>
              <a:gd name="connsiteY161" fmla="*/ 1040004 h 1240971"/>
              <a:gd name="connsiteX162" fmla="*/ 4160081 w 5737264"/>
              <a:gd name="connsiteY162" fmla="*/ 1019908 h 1240971"/>
              <a:gd name="connsiteX163" fmla="*/ 4165105 w 5737264"/>
              <a:gd name="connsiteY163" fmla="*/ 1004835 h 1240971"/>
              <a:gd name="connsiteX164" fmla="*/ 4185202 w 5737264"/>
              <a:gd name="connsiteY164" fmla="*/ 984738 h 1240971"/>
              <a:gd name="connsiteX165" fmla="*/ 4200274 w 5737264"/>
              <a:gd name="connsiteY165" fmla="*/ 979714 h 1240971"/>
              <a:gd name="connsiteX166" fmla="*/ 4235443 w 5737264"/>
              <a:gd name="connsiteY166" fmla="*/ 954593 h 1240971"/>
              <a:gd name="connsiteX167" fmla="*/ 4275637 w 5737264"/>
              <a:gd name="connsiteY167" fmla="*/ 934497 h 1240971"/>
              <a:gd name="connsiteX168" fmla="*/ 4310806 w 5737264"/>
              <a:gd name="connsiteY168" fmla="*/ 914400 h 1240971"/>
              <a:gd name="connsiteX169" fmla="*/ 4325878 w 5737264"/>
              <a:gd name="connsiteY169" fmla="*/ 904352 h 1240971"/>
              <a:gd name="connsiteX170" fmla="*/ 4381144 w 5737264"/>
              <a:gd name="connsiteY170" fmla="*/ 904352 h 1240971"/>
              <a:gd name="connsiteX171" fmla="*/ 4401241 w 5737264"/>
              <a:gd name="connsiteY171" fmla="*/ 914400 h 1240971"/>
              <a:gd name="connsiteX172" fmla="*/ 4416314 w 5737264"/>
              <a:gd name="connsiteY172" fmla="*/ 919424 h 1240971"/>
              <a:gd name="connsiteX173" fmla="*/ 4431386 w 5737264"/>
              <a:gd name="connsiteY173" fmla="*/ 929472 h 1240971"/>
              <a:gd name="connsiteX174" fmla="*/ 4456507 w 5737264"/>
              <a:gd name="connsiteY174" fmla="*/ 974690 h 1240971"/>
              <a:gd name="connsiteX175" fmla="*/ 4476604 w 5737264"/>
              <a:gd name="connsiteY175" fmla="*/ 999811 h 1240971"/>
              <a:gd name="connsiteX176" fmla="*/ 4531320 w 5737264"/>
              <a:gd name="connsiteY176" fmla="*/ 1037650 h 1240971"/>
              <a:gd name="connsiteX177" fmla="*/ 4597184 w 5737264"/>
              <a:gd name="connsiteY177" fmla="*/ 969666 h 1240971"/>
              <a:gd name="connsiteX178" fmla="*/ 4617281 w 5737264"/>
              <a:gd name="connsiteY178" fmla="*/ 959617 h 1240971"/>
              <a:gd name="connsiteX179" fmla="*/ 4632353 w 5737264"/>
              <a:gd name="connsiteY179" fmla="*/ 944545 h 1240971"/>
              <a:gd name="connsiteX180" fmla="*/ 4652450 w 5737264"/>
              <a:gd name="connsiteY180" fmla="*/ 934497 h 1240971"/>
              <a:gd name="connsiteX181" fmla="*/ 4672547 w 5737264"/>
              <a:gd name="connsiteY181" fmla="*/ 919424 h 1240971"/>
              <a:gd name="connsiteX182" fmla="*/ 4737861 w 5737264"/>
              <a:gd name="connsiteY182" fmla="*/ 884255 h 1240971"/>
              <a:gd name="connsiteX183" fmla="*/ 4762982 w 5737264"/>
              <a:gd name="connsiteY183" fmla="*/ 879231 h 1240971"/>
              <a:gd name="connsiteX184" fmla="*/ 4778054 w 5737264"/>
              <a:gd name="connsiteY184" fmla="*/ 874206 h 1240971"/>
              <a:gd name="connsiteX185" fmla="*/ 4819294 w 5737264"/>
              <a:gd name="connsiteY185" fmla="*/ 873944 h 1240971"/>
              <a:gd name="connsiteX186" fmla="*/ 4877465 w 5737264"/>
              <a:gd name="connsiteY186" fmla="*/ 895638 h 1240971"/>
              <a:gd name="connsiteX187" fmla="*/ 4935347 w 5737264"/>
              <a:gd name="connsiteY187" fmla="*/ 934523 h 1240971"/>
              <a:gd name="connsiteX188" fmla="*/ 4995402 w 5737264"/>
              <a:gd name="connsiteY188" fmla="*/ 1006746 h 1240971"/>
              <a:gd name="connsiteX189" fmla="*/ 5024762 w 5737264"/>
              <a:gd name="connsiteY189" fmla="*/ 1051963 h 1240971"/>
              <a:gd name="connsiteX190" fmla="*/ 5092223 w 5737264"/>
              <a:gd name="connsiteY190" fmla="*/ 1016506 h 1240971"/>
              <a:gd name="connsiteX191" fmla="*/ 5144322 w 5737264"/>
              <a:gd name="connsiteY191" fmla="*/ 948261 h 1240971"/>
              <a:gd name="connsiteX192" fmla="*/ 5189252 w 5737264"/>
              <a:gd name="connsiteY192" fmla="*/ 886112 h 1240971"/>
              <a:gd name="connsiteX193" fmla="*/ 5226279 w 5737264"/>
              <a:gd name="connsiteY193" fmla="*/ 856230 h 1240971"/>
              <a:gd name="connsiteX194" fmla="*/ 5260637 w 5737264"/>
              <a:gd name="connsiteY194" fmla="*/ 822918 h 1240971"/>
              <a:gd name="connsiteX195" fmla="*/ 5295282 w 5737264"/>
              <a:gd name="connsiteY195" fmla="*/ 800440 h 1240971"/>
              <a:gd name="connsiteX196" fmla="*/ 5334430 w 5737264"/>
              <a:gd name="connsiteY196" fmla="*/ 794893 h 1240971"/>
              <a:gd name="connsiteX197" fmla="*/ 5412174 w 5737264"/>
              <a:gd name="connsiteY197" fmla="*/ 824252 h 1240971"/>
              <a:gd name="connsiteX198" fmla="*/ 5431197 w 5737264"/>
              <a:gd name="connsiteY198" fmla="*/ 768699 h 1240971"/>
              <a:gd name="connsiteX199" fmla="*/ 5441246 w 5737264"/>
              <a:gd name="connsiteY199" fmla="*/ 753626 h 1240971"/>
              <a:gd name="connsiteX200" fmla="*/ 5456318 w 5737264"/>
              <a:gd name="connsiteY200" fmla="*/ 708409 h 1240971"/>
              <a:gd name="connsiteX201" fmla="*/ 5466366 w 5737264"/>
              <a:gd name="connsiteY201" fmla="*/ 683288 h 1240971"/>
              <a:gd name="connsiteX202" fmla="*/ 5476415 w 5737264"/>
              <a:gd name="connsiteY202" fmla="*/ 643094 h 1240971"/>
              <a:gd name="connsiteX203" fmla="*/ 5491487 w 5737264"/>
              <a:gd name="connsiteY203" fmla="*/ 617973 h 1240971"/>
              <a:gd name="connsiteX204" fmla="*/ 5506560 w 5737264"/>
              <a:gd name="connsiteY204" fmla="*/ 572756 h 1240971"/>
              <a:gd name="connsiteX205" fmla="*/ 5526656 w 5737264"/>
              <a:gd name="connsiteY205" fmla="*/ 522514 h 1240971"/>
              <a:gd name="connsiteX206" fmla="*/ 5546753 w 5737264"/>
              <a:gd name="connsiteY206" fmla="*/ 467248 h 1240971"/>
              <a:gd name="connsiteX207" fmla="*/ 5556802 w 5737264"/>
              <a:gd name="connsiteY207" fmla="*/ 411982 h 1240971"/>
              <a:gd name="connsiteX208" fmla="*/ 5566850 w 5737264"/>
              <a:gd name="connsiteY208" fmla="*/ 381837 h 1240971"/>
              <a:gd name="connsiteX209" fmla="*/ 5576898 w 5737264"/>
              <a:gd name="connsiteY209" fmla="*/ 356716 h 1240971"/>
              <a:gd name="connsiteX210" fmla="*/ 5596995 w 5737264"/>
              <a:gd name="connsiteY210" fmla="*/ 316523 h 1240971"/>
              <a:gd name="connsiteX211" fmla="*/ 5617092 w 5737264"/>
              <a:gd name="connsiteY211" fmla="*/ 246184 h 1240971"/>
              <a:gd name="connsiteX212" fmla="*/ 5622116 w 5737264"/>
              <a:gd name="connsiteY212" fmla="*/ 226088 h 1240971"/>
              <a:gd name="connsiteX213" fmla="*/ 5632164 w 5737264"/>
              <a:gd name="connsiteY213" fmla="*/ 216039 h 1240971"/>
              <a:gd name="connsiteX214" fmla="*/ 5637188 w 5737264"/>
              <a:gd name="connsiteY214" fmla="*/ 200967 h 1240971"/>
              <a:gd name="connsiteX215" fmla="*/ 5651738 w 5737264"/>
              <a:gd name="connsiteY215" fmla="*/ 190395 h 1240971"/>
              <a:gd name="connsiteX216" fmla="*/ 5673692 w 5737264"/>
              <a:gd name="connsiteY216" fmla="*/ 153892 h 1240971"/>
              <a:gd name="connsiteX217" fmla="*/ 5726602 w 5737264"/>
              <a:gd name="connsiteY217" fmla="*/ 89362 h 1240971"/>
              <a:gd name="connsiteX218" fmla="*/ 5728722 w 5737264"/>
              <a:gd name="connsiteY218" fmla="*/ 42287 h 1240971"/>
              <a:gd name="connsiteX219" fmla="*/ 5634284 w 5737264"/>
              <a:gd name="connsiteY219" fmla="*/ 25357 h 1240971"/>
              <a:gd name="connsiteX220" fmla="*/ 5536940 w 5737264"/>
              <a:gd name="connsiteY220" fmla="*/ 27214 h 1240971"/>
              <a:gd name="connsiteX221" fmla="*/ 5470369 w 5737264"/>
              <a:gd name="connsiteY221" fmla="*/ 39381 h 1240971"/>
              <a:gd name="connsiteX222" fmla="*/ 5379124 w 5737264"/>
              <a:gd name="connsiteY222" fmla="*/ 39644 h 1240971"/>
              <a:gd name="connsiteX223" fmla="*/ 5309282 w 5737264"/>
              <a:gd name="connsiteY223" fmla="*/ 42287 h 1240971"/>
              <a:gd name="connsiteX224" fmla="*/ 5238682 w 5737264"/>
              <a:gd name="connsiteY224" fmla="*/ 54455 h 1240971"/>
              <a:gd name="connsiteX225" fmla="*/ 5108892 w 5737264"/>
              <a:gd name="connsiteY225" fmla="*/ 37524 h 1240971"/>
              <a:gd name="connsiteX226" fmla="*/ 5020026 w 5737264"/>
              <a:gd name="connsiteY226" fmla="*/ 39120 h 1240971"/>
              <a:gd name="connsiteX227" fmla="*/ 4946233 w 5737264"/>
              <a:gd name="connsiteY227" fmla="*/ 41240 h 1240971"/>
              <a:gd name="connsiteX228" fmla="*/ 4823272 w 5737264"/>
              <a:gd name="connsiteY228" fmla="*/ 50242 h 1240971"/>
              <a:gd name="connsiteX229" fmla="*/ 4727577 w 5737264"/>
              <a:gd name="connsiteY229" fmla="*/ 29073 h 1240971"/>
              <a:gd name="connsiteX230" fmla="*/ 4628376 w 5737264"/>
              <a:gd name="connsiteY230" fmla="*/ 41240 h 1240971"/>
              <a:gd name="connsiteX231" fmla="*/ 4565180 w 5737264"/>
              <a:gd name="connsiteY231" fmla="*/ 46264 h 1240971"/>
              <a:gd name="connsiteX232" fmla="*/ 4417596 w 5737264"/>
              <a:gd name="connsiteY232" fmla="*/ 44406 h 1240971"/>
              <a:gd name="connsiteX233" fmla="*/ 4139984 w 5737264"/>
              <a:gd name="connsiteY233" fmla="*/ 60290 h 1240971"/>
              <a:gd name="connsiteX234" fmla="*/ 3918920 w 5737264"/>
              <a:gd name="connsiteY234" fmla="*/ 50242 h 1240971"/>
              <a:gd name="connsiteX235" fmla="*/ 3873703 w 5737264"/>
              <a:gd name="connsiteY235" fmla="*/ 45217 h 1240971"/>
              <a:gd name="connsiteX236" fmla="*/ 3687808 w 5737264"/>
              <a:gd name="connsiteY236" fmla="*/ 40193 h 1240971"/>
              <a:gd name="connsiteX237" fmla="*/ 3662687 w 5737264"/>
              <a:gd name="connsiteY237" fmla="*/ 35169 h 1240971"/>
              <a:gd name="connsiteX238" fmla="*/ 3627518 w 5737264"/>
              <a:gd name="connsiteY238" fmla="*/ 25121 h 1240971"/>
              <a:gd name="connsiteX239" fmla="*/ 3547131 w 5737264"/>
              <a:gd name="connsiteY239" fmla="*/ 20097 h 1240971"/>
              <a:gd name="connsiteX240" fmla="*/ 3310995 w 5737264"/>
              <a:gd name="connsiteY240" fmla="*/ 25121 h 1240971"/>
              <a:gd name="connsiteX241" fmla="*/ 3265777 w 5737264"/>
              <a:gd name="connsiteY241" fmla="*/ 30145 h 1240971"/>
              <a:gd name="connsiteX242" fmla="*/ 3175342 w 5737264"/>
              <a:gd name="connsiteY242" fmla="*/ 35169 h 1240971"/>
              <a:gd name="connsiteX243" fmla="*/ 2582489 w 5737264"/>
              <a:gd name="connsiteY243" fmla="*/ 45217 h 1240971"/>
              <a:gd name="connsiteX244" fmla="*/ 2255918 w 5737264"/>
              <a:gd name="connsiteY244" fmla="*/ 40193 h 1240971"/>
              <a:gd name="connsiteX245" fmla="*/ 1974564 w 5737264"/>
              <a:gd name="connsiteY245" fmla="*/ 30145 h 1240971"/>
              <a:gd name="connsiteX246" fmla="*/ 1944419 w 5737264"/>
              <a:gd name="connsiteY246" fmla="*/ 25121 h 1240971"/>
              <a:gd name="connsiteX247" fmla="*/ 1848960 w 5737264"/>
              <a:gd name="connsiteY247" fmla="*/ 20097 h 1240971"/>
              <a:gd name="connsiteX248" fmla="*/ 1768573 w 5737264"/>
              <a:gd name="connsiteY248" fmla="*/ 10048 h 1240971"/>
              <a:gd name="connsiteX249" fmla="*/ 1502292 w 5737264"/>
              <a:gd name="connsiteY249" fmla="*/ 20097 h 1240971"/>
              <a:gd name="connsiteX250" fmla="*/ 1467122 w 5737264"/>
              <a:gd name="connsiteY250" fmla="*/ 25121 h 1240971"/>
              <a:gd name="connsiteX251" fmla="*/ 1426929 w 5737264"/>
              <a:gd name="connsiteY251" fmla="*/ 30145 h 1240971"/>
              <a:gd name="connsiteX252" fmla="*/ 1341518 w 5737264"/>
              <a:gd name="connsiteY252" fmla="*/ 45217 h 1240971"/>
              <a:gd name="connsiteX253" fmla="*/ 1095333 w 5737264"/>
              <a:gd name="connsiteY253" fmla="*/ 35169 h 1240971"/>
              <a:gd name="connsiteX254" fmla="*/ 979777 w 5737264"/>
              <a:gd name="connsiteY254" fmla="*/ 20097 h 1240971"/>
              <a:gd name="connsiteX255" fmla="*/ 939584 w 5737264"/>
              <a:gd name="connsiteY255" fmla="*/ 10048 h 1240971"/>
              <a:gd name="connsiteX256" fmla="*/ 813980 w 5737264"/>
              <a:gd name="connsiteY256" fmla="*/ 0 h 1240971"/>
              <a:gd name="connsiteX257" fmla="*/ 743641 w 5737264"/>
              <a:gd name="connsiteY257" fmla="*/ 5024 h 1240971"/>
              <a:gd name="connsiteX258" fmla="*/ 582867 w 5737264"/>
              <a:gd name="connsiteY258" fmla="*/ 15072 h 1240971"/>
              <a:gd name="connsiteX259" fmla="*/ 432142 w 5737264"/>
              <a:gd name="connsiteY259" fmla="*/ 5024 h 1240971"/>
              <a:gd name="connsiteX260" fmla="*/ 412046 w 5737264"/>
              <a:gd name="connsiteY260" fmla="*/ 0 h 1240971"/>
              <a:gd name="connsiteX261" fmla="*/ 281417 w 5737264"/>
              <a:gd name="connsiteY261" fmla="*/ 10048 h 1240971"/>
              <a:gd name="connsiteX262" fmla="*/ 261320 w 5737264"/>
              <a:gd name="connsiteY262" fmla="*/ 15072 h 1240971"/>
              <a:gd name="connsiteX263" fmla="*/ 100547 w 5737264"/>
              <a:gd name="connsiteY263" fmla="*/ 20097 h 1240971"/>
              <a:gd name="connsiteX264" fmla="*/ 5087 w 5737264"/>
              <a:gd name="connsiteY264"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58630 w 5737264"/>
              <a:gd name="connsiteY148" fmla="*/ 1009859 h 1240971"/>
              <a:gd name="connsiteX149" fmla="*/ 3873703 w 5737264"/>
              <a:gd name="connsiteY149" fmla="*/ 1004835 h 1240971"/>
              <a:gd name="connsiteX150" fmla="*/ 3923944 w 5737264"/>
              <a:gd name="connsiteY150" fmla="*/ 1014883 h 1240971"/>
              <a:gd name="connsiteX151" fmla="*/ 3933993 w 5737264"/>
              <a:gd name="connsiteY151" fmla="*/ 1029956 h 1240971"/>
              <a:gd name="connsiteX152" fmla="*/ 3964138 w 5737264"/>
              <a:gd name="connsiteY152" fmla="*/ 1075173 h 1240971"/>
              <a:gd name="connsiteX153" fmla="*/ 3969162 w 5737264"/>
              <a:gd name="connsiteY153" fmla="*/ 1100294 h 1240971"/>
              <a:gd name="connsiteX154" fmla="*/ 3979210 w 5737264"/>
              <a:gd name="connsiteY154" fmla="*/ 1110343 h 1240971"/>
              <a:gd name="connsiteX155" fmla="*/ 3984235 w 5737264"/>
              <a:gd name="connsiteY155" fmla="*/ 1130439 h 1240971"/>
              <a:gd name="connsiteX156" fmla="*/ 4019404 w 5737264"/>
              <a:gd name="connsiteY156" fmla="*/ 1165609 h 1240971"/>
              <a:gd name="connsiteX157" fmla="*/ 4064621 w 5737264"/>
              <a:gd name="connsiteY157" fmla="*/ 1150536 h 1240971"/>
              <a:gd name="connsiteX158" fmla="*/ 4079694 w 5737264"/>
              <a:gd name="connsiteY158" fmla="*/ 1125415 h 1240971"/>
              <a:gd name="connsiteX159" fmla="*/ 4099791 w 5737264"/>
              <a:gd name="connsiteY159" fmla="*/ 1105319 h 1240971"/>
              <a:gd name="connsiteX160" fmla="*/ 4129936 w 5737264"/>
              <a:gd name="connsiteY160" fmla="*/ 1075173 h 1240971"/>
              <a:gd name="connsiteX161" fmla="*/ 4150032 w 5737264"/>
              <a:gd name="connsiteY161" fmla="*/ 1040004 h 1240971"/>
              <a:gd name="connsiteX162" fmla="*/ 4160081 w 5737264"/>
              <a:gd name="connsiteY162" fmla="*/ 1019908 h 1240971"/>
              <a:gd name="connsiteX163" fmla="*/ 4165105 w 5737264"/>
              <a:gd name="connsiteY163" fmla="*/ 1004835 h 1240971"/>
              <a:gd name="connsiteX164" fmla="*/ 4185202 w 5737264"/>
              <a:gd name="connsiteY164" fmla="*/ 984738 h 1240971"/>
              <a:gd name="connsiteX165" fmla="*/ 4200274 w 5737264"/>
              <a:gd name="connsiteY165" fmla="*/ 979714 h 1240971"/>
              <a:gd name="connsiteX166" fmla="*/ 4235443 w 5737264"/>
              <a:gd name="connsiteY166" fmla="*/ 954593 h 1240971"/>
              <a:gd name="connsiteX167" fmla="*/ 4275637 w 5737264"/>
              <a:gd name="connsiteY167" fmla="*/ 934497 h 1240971"/>
              <a:gd name="connsiteX168" fmla="*/ 4310806 w 5737264"/>
              <a:gd name="connsiteY168" fmla="*/ 914400 h 1240971"/>
              <a:gd name="connsiteX169" fmla="*/ 4325878 w 5737264"/>
              <a:gd name="connsiteY169" fmla="*/ 904352 h 1240971"/>
              <a:gd name="connsiteX170" fmla="*/ 4381144 w 5737264"/>
              <a:gd name="connsiteY170" fmla="*/ 904352 h 1240971"/>
              <a:gd name="connsiteX171" fmla="*/ 4401241 w 5737264"/>
              <a:gd name="connsiteY171" fmla="*/ 914400 h 1240971"/>
              <a:gd name="connsiteX172" fmla="*/ 4416314 w 5737264"/>
              <a:gd name="connsiteY172" fmla="*/ 919424 h 1240971"/>
              <a:gd name="connsiteX173" fmla="*/ 4431386 w 5737264"/>
              <a:gd name="connsiteY173" fmla="*/ 929472 h 1240971"/>
              <a:gd name="connsiteX174" fmla="*/ 4456507 w 5737264"/>
              <a:gd name="connsiteY174" fmla="*/ 974690 h 1240971"/>
              <a:gd name="connsiteX175" fmla="*/ 4462316 w 5737264"/>
              <a:gd name="connsiteY175" fmla="*/ 1006955 h 1240971"/>
              <a:gd name="connsiteX176" fmla="*/ 4531320 w 5737264"/>
              <a:gd name="connsiteY176" fmla="*/ 1037650 h 1240971"/>
              <a:gd name="connsiteX177" fmla="*/ 4597184 w 5737264"/>
              <a:gd name="connsiteY177" fmla="*/ 969666 h 1240971"/>
              <a:gd name="connsiteX178" fmla="*/ 4617281 w 5737264"/>
              <a:gd name="connsiteY178" fmla="*/ 959617 h 1240971"/>
              <a:gd name="connsiteX179" fmla="*/ 4632353 w 5737264"/>
              <a:gd name="connsiteY179" fmla="*/ 944545 h 1240971"/>
              <a:gd name="connsiteX180" fmla="*/ 4652450 w 5737264"/>
              <a:gd name="connsiteY180" fmla="*/ 934497 h 1240971"/>
              <a:gd name="connsiteX181" fmla="*/ 4672547 w 5737264"/>
              <a:gd name="connsiteY181" fmla="*/ 919424 h 1240971"/>
              <a:gd name="connsiteX182" fmla="*/ 4737861 w 5737264"/>
              <a:gd name="connsiteY182" fmla="*/ 884255 h 1240971"/>
              <a:gd name="connsiteX183" fmla="*/ 4762982 w 5737264"/>
              <a:gd name="connsiteY183" fmla="*/ 879231 h 1240971"/>
              <a:gd name="connsiteX184" fmla="*/ 4778054 w 5737264"/>
              <a:gd name="connsiteY184" fmla="*/ 874206 h 1240971"/>
              <a:gd name="connsiteX185" fmla="*/ 4819294 w 5737264"/>
              <a:gd name="connsiteY185" fmla="*/ 873944 h 1240971"/>
              <a:gd name="connsiteX186" fmla="*/ 4877465 w 5737264"/>
              <a:gd name="connsiteY186" fmla="*/ 895638 h 1240971"/>
              <a:gd name="connsiteX187" fmla="*/ 4935347 w 5737264"/>
              <a:gd name="connsiteY187" fmla="*/ 934523 h 1240971"/>
              <a:gd name="connsiteX188" fmla="*/ 4995402 w 5737264"/>
              <a:gd name="connsiteY188" fmla="*/ 1006746 h 1240971"/>
              <a:gd name="connsiteX189" fmla="*/ 5024762 w 5737264"/>
              <a:gd name="connsiteY189" fmla="*/ 1051963 h 1240971"/>
              <a:gd name="connsiteX190" fmla="*/ 5092223 w 5737264"/>
              <a:gd name="connsiteY190" fmla="*/ 1016506 h 1240971"/>
              <a:gd name="connsiteX191" fmla="*/ 5144322 w 5737264"/>
              <a:gd name="connsiteY191" fmla="*/ 948261 h 1240971"/>
              <a:gd name="connsiteX192" fmla="*/ 5189252 w 5737264"/>
              <a:gd name="connsiteY192" fmla="*/ 886112 h 1240971"/>
              <a:gd name="connsiteX193" fmla="*/ 5226279 w 5737264"/>
              <a:gd name="connsiteY193" fmla="*/ 856230 h 1240971"/>
              <a:gd name="connsiteX194" fmla="*/ 5260637 w 5737264"/>
              <a:gd name="connsiteY194" fmla="*/ 822918 h 1240971"/>
              <a:gd name="connsiteX195" fmla="*/ 5295282 w 5737264"/>
              <a:gd name="connsiteY195" fmla="*/ 800440 h 1240971"/>
              <a:gd name="connsiteX196" fmla="*/ 5334430 w 5737264"/>
              <a:gd name="connsiteY196" fmla="*/ 794893 h 1240971"/>
              <a:gd name="connsiteX197" fmla="*/ 5412174 w 5737264"/>
              <a:gd name="connsiteY197" fmla="*/ 824252 h 1240971"/>
              <a:gd name="connsiteX198" fmla="*/ 5431197 w 5737264"/>
              <a:gd name="connsiteY198" fmla="*/ 768699 h 1240971"/>
              <a:gd name="connsiteX199" fmla="*/ 5441246 w 5737264"/>
              <a:gd name="connsiteY199" fmla="*/ 753626 h 1240971"/>
              <a:gd name="connsiteX200" fmla="*/ 5456318 w 5737264"/>
              <a:gd name="connsiteY200" fmla="*/ 708409 h 1240971"/>
              <a:gd name="connsiteX201" fmla="*/ 5466366 w 5737264"/>
              <a:gd name="connsiteY201" fmla="*/ 683288 h 1240971"/>
              <a:gd name="connsiteX202" fmla="*/ 5476415 w 5737264"/>
              <a:gd name="connsiteY202" fmla="*/ 643094 h 1240971"/>
              <a:gd name="connsiteX203" fmla="*/ 5491487 w 5737264"/>
              <a:gd name="connsiteY203" fmla="*/ 617973 h 1240971"/>
              <a:gd name="connsiteX204" fmla="*/ 5506560 w 5737264"/>
              <a:gd name="connsiteY204" fmla="*/ 572756 h 1240971"/>
              <a:gd name="connsiteX205" fmla="*/ 5526656 w 5737264"/>
              <a:gd name="connsiteY205" fmla="*/ 522514 h 1240971"/>
              <a:gd name="connsiteX206" fmla="*/ 5546753 w 5737264"/>
              <a:gd name="connsiteY206" fmla="*/ 467248 h 1240971"/>
              <a:gd name="connsiteX207" fmla="*/ 5556802 w 5737264"/>
              <a:gd name="connsiteY207" fmla="*/ 411982 h 1240971"/>
              <a:gd name="connsiteX208" fmla="*/ 5566850 w 5737264"/>
              <a:gd name="connsiteY208" fmla="*/ 381837 h 1240971"/>
              <a:gd name="connsiteX209" fmla="*/ 5576898 w 5737264"/>
              <a:gd name="connsiteY209" fmla="*/ 356716 h 1240971"/>
              <a:gd name="connsiteX210" fmla="*/ 5596995 w 5737264"/>
              <a:gd name="connsiteY210" fmla="*/ 316523 h 1240971"/>
              <a:gd name="connsiteX211" fmla="*/ 5617092 w 5737264"/>
              <a:gd name="connsiteY211" fmla="*/ 246184 h 1240971"/>
              <a:gd name="connsiteX212" fmla="*/ 5622116 w 5737264"/>
              <a:gd name="connsiteY212" fmla="*/ 226088 h 1240971"/>
              <a:gd name="connsiteX213" fmla="*/ 5632164 w 5737264"/>
              <a:gd name="connsiteY213" fmla="*/ 216039 h 1240971"/>
              <a:gd name="connsiteX214" fmla="*/ 5637188 w 5737264"/>
              <a:gd name="connsiteY214" fmla="*/ 200967 h 1240971"/>
              <a:gd name="connsiteX215" fmla="*/ 5651738 w 5737264"/>
              <a:gd name="connsiteY215" fmla="*/ 190395 h 1240971"/>
              <a:gd name="connsiteX216" fmla="*/ 5673692 w 5737264"/>
              <a:gd name="connsiteY216" fmla="*/ 153892 h 1240971"/>
              <a:gd name="connsiteX217" fmla="*/ 5726602 w 5737264"/>
              <a:gd name="connsiteY217" fmla="*/ 89362 h 1240971"/>
              <a:gd name="connsiteX218" fmla="*/ 5728722 w 5737264"/>
              <a:gd name="connsiteY218" fmla="*/ 42287 h 1240971"/>
              <a:gd name="connsiteX219" fmla="*/ 5634284 w 5737264"/>
              <a:gd name="connsiteY219" fmla="*/ 25357 h 1240971"/>
              <a:gd name="connsiteX220" fmla="*/ 5536940 w 5737264"/>
              <a:gd name="connsiteY220" fmla="*/ 27214 h 1240971"/>
              <a:gd name="connsiteX221" fmla="*/ 5470369 w 5737264"/>
              <a:gd name="connsiteY221" fmla="*/ 39381 h 1240971"/>
              <a:gd name="connsiteX222" fmla="*/ 5379124 w 5737264"/>
              <a:gd name="connsiteY222" fmla="*/ 39644 h 1240971"/>
              <a:gd name="connsiteX223" fmla="*/ 5309282 w 5737264"/>
              <a:gd name="connsiteY223" fmla="*/ 42287 h 1240971"/>
              <a:gd name="connsiteX224" fmla="*/ 5238682 w 5737264"/>
              <a:gd name="connsiteY224" fmla="*/ 54455 h 1240971"/>
              <a:gd name="connsiteX225" fmla="*/ 5108892 w 5737264"/>
              <a:gd name="connsiteY225" fmla="*/ 37524 h 1240971"/>
              <a:gd name="connsiteX226" fmla="*/ 5020026 w 5737264"/>
              <a:gd name="connsiteY226" fmla="*/ 39120 h 1240971"/>
              <a:gd name="connsiteX227" fmla="*/ 4946233 w 5737264"/>
              <a:gd name="connsiteY227" fmla="*/ 41240 h 1240971"/>
              <a:gd name="connsiteX228" fmla="*/ 4823272 w 5737264"/>
              <a:gd name="connsiteY228" fmla="*/ 50242 h 1240971"/>
              <a:gd name="connsiteX229" fmla="*/ 4727577 w 5737264"/>
              <a:gd name="connsiteY229" fmla="*/ 29073 h 1240971"/>
              <a:gd name="connsiteX230" fmla="*/ 4628376 w 5737264"/>
              <a:gd name="connsiteY230" fmla="*/ 41240 h 1240971"/>
              <a:gd name="connsiteX231" fmla="*/ 4565180 w 5737264"/>
              <a:gd name="connsiteY231" fmla="*/ 46264 h 1240971"/>
              <a:gd name="connsiteX232" fmla="*/ 4417596 w 5737264"/>
              <a:gd name="connsiteY232" fmla="*/ 44406 h 1240971"/>
              <a:gd name="connsiteX233" fmla="*/ 4139984 w 5737264"/>
              <a:gd name="connsiteY233" fmla="*/ 60290 h 1240971"/>
              <a:gd name="connsiteX234" fmla="*/ 3918920 w 5737264"/>
              <a:gd name="connsiteY234" fmla="*/ 50242 h 1240971"/>
              <a:gd name="connsiteX235" fmla="*/ 3873703 w 5737264"/>
              <a:gd name="connsiteY235" fmla="*/ 45217 h 1240971"/>
              <a:gd name="connsiteX236" fmla="*/ 3687808 w 5737264"/>
              <a:gd name="connsiteY236" fmla="*/ 40193 h 1240971"/>
              <a:gd name="connsiteX237" fmla="*/ 3662687 w 5737264"/>
              <a:gd name="connsiteY237" fmla="*/ 35169 h 1240971"/>
              <a:gd name="connsiteX238" fmla="*/ 3627518 w 5737264"/>
              <a:gd name="connsiteY238" fmla="*/ 25121 h 1240971"/>
              <a:gd name="connsiteX239" fmla="*/ 3547131 w 5737264"/>
              <a:gd name="connsiteY239" fmla="*/ 20097 h 1240971"/>
              <a:gd name="connsiteX240" fmla="*/ 3310995 w 5737264"/>
              <a:gd name="connsiteY240" fmla="*/ 25121 h 1240971"/>
              <a:gd name="connsiteX241" fmla="*/ 3265777 w 5737264"/>
              <a:gd name="connsiteY241" fmla="*/ 30145 h 1240971"/>
              <a:gd name="connsiteX242" fmla="*/ 3175342 w 5737264"/>
              <a:gd name="connsiteY242" fmla="*/ 35169 h 1240971"/>
              <a:gd name="connsiteX243" fmla="*/ 2582489 w 5737264"/>
              <a:gd name="connsiteY243" fmla="*/ 45217 h 1240971"/>
              <a:gd name="connsiteX244" fmla="*/ 2255918 w 5737264"/>
              <a:gd name="connsiteY244" fmla="*/ 40193 h 1240971"/>
              <a:gd name="connsiteX245" fmla="*/ 1974564 w 5737264"/>
              <a:gd name="connsiteY245" fmla="*/ 30145 h 1240971"/>
              <a:gd name="connsiteX246" fmla="*/ 1944419 w 5737264"/>
              <a:gd name="connsiteY246" fmla="*/ 25121 h 1240971"/>
              <a:gd name="connsiteX247" fmla="*/ 1848960 w 5737264"/>
              <a:gd name="connsiteY247" fmla="*/ 20097 h 1240971"/>
              <a:gd name="connsiteX248" fmla="*/ 1768573 w 5737264"/>
              <a:gd name="connsiteY248" fmla="*/ 10048 h 1240971"/>
              <a:gd name="connsiteX249" fmla="*/ 1502292 w 5737264"/>
              <a:gd name="connsiteY249" fmla="*/ 20097 h 1240971"/>
              <a:gd name="connsiteX250" fmla="*/ 1467122 w 5737264"/>
              <a:gd name="connsiteY250" fmla="*/ 25121 h 1240971"/>
              <a:gd name="connsiteX251" fmla="*/ 1426929 w 5737264"/>
              <a:gd name="connsiteY251" fmla="*/ 30145 h 1240971"/>
              <a:gd name="connsiteX252" fmla="*/ 1341518 w 5737264"/>
              <a:gd name="connsiteY252" fmla="*/ 45217 h 1240971"/>
              <a:gd name="connsiteX253" fmla="*/ 1095333 w 5737264"/>
              <a:gd name="connsiteY253" fmla="*/ 35169 h 1240971"/>
              <a:gd name="connsiteX254" fmla="*/ 979777 w 5737264"/>
              <a:gd name="connsiteY254" fmla="*/ 20097 h 1240971"/>
              <a:gd name="connsiteX255" fmla="*/ 939584 w 5737264"/>
              <a:gd name="connsiteY255" fmla="*/ 10048 h 1240971"/>
              <a:gd name="connsiteX256" fmla="*/ 813980 w 5737264"/>
              <a:gd name="connsiteY256" fmla="*/ 0 h 1240971"/>
              <a:gd name="connsiteX257" fmla="*/ 743641 w 5737264"/>
              <a:gd name="connsiteY257" fmla="*/ 5024 h 1240971"/>
              <a:gd name="connsiteX258" fmla="*/ 582867 w 5737264"/>
              <a:gd name="connsiteY258" fmla="*/ 15072 h 1240971"/>
              <a:gd name="connsiteX259" fmla="*/ 432142 w 5737264"/>
              <a:gd name="connsiteY259" fmla="*/ 5024 h 1240971"/>
              <a:gd name="connsiteX260" fmla="*/ 412046 w 5737264"/>
              <a:gd name="connsiteY260" fmla="*/ 0 h 1240971"/>
              <a:gd name="connsiteX261" fmla="*/ 281417 w 5737264"/>
              <a:gd name="connsiteY261" fmla="*/ 10048 h 1240971"/>
              <a:gd name="connsiteX262" fmla="*/ 261320 w 5737264"/>
              <a:gd name="connsiteY262" fmla="*/ 15072 h 1240971"/>
              <a:gd name="connsiteX263" fmla="*/ 100547 w 5737264"/>
              <a:gd name="connsiteY263" fmla="*/ 20097 h 1240971"/>
              <a:gd name="connsiteX264" fmla="*/ 5087 w 5737264"/>
              <a:gd name="connsiteY264"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58630 w 5737264"/>
              <a:gd name="connsiteY148" fmla="*/ 1009859 h 1240971"/>
              <a:gd name="connsiteX149" fmla="*/ 3873703 w 5737264"/>
              <a:gd name="connsiteY149" fmla="*/ 1004835 h 1240971"/>
              <a:gd name="connsiteX150" fmla="*/ 3923944 w 5737264"/>
              <a:gd name="connsiteY150" fmla="*/ 1014883 h 1240971"/>
              <a:gd name="connsiteX151" fmla="*/ 3933993 w 5737264"/>
              <a:gd name="connsiteY151" fmla="*/ 1029956 h 1240971"/>
              <a:gd name="connsiteX152" fmla="*/ 3964138 w 5737264"/>
              <a:gd name="connsiteY152" fmla="*/ 1075173 h 1240971"/>
              <a:gd name="connsiteX153" fmla="*/ 3969162 w 5737264"/>
              <a:gd name="connsiteY153" fmla="*/ 1100294 h 1240971"/>
              <a:gd name="connsiteX154" fmla="*/ 3979210 w 5737264"/>
              <a:gd name="connsiteY154" fmla="*/ 1110343 h 1240971"/>
              <a:gd name="connsiteX155" fmla="*/ 3984235 w 5737264"/>
              <a:gd name="connsiteY155" fmla="*/ 1130439 h 1240971"/>
              <a:gd name="connsiteX156" fmla="*/ 4019404 w 5737264"/>
              <a:gd name="connsiteY156" fmla="*/ 1165609 h 1240971"/>
              <a:gd name="connsiteX157" fmla="*/ 4064621 w 5737264"/>
              <a:gd name="connsiteY157" fmla="*/ 1150536 h 1240971"/>
              <a:gd name="connsiteX158" fmla="*/ 4079694 w 5737264"/>
              <a:gd name="connsiteY158" fmla="*/ 1125415 h 1240971"/>
              <a:gd name="connsiteX159" fmla="*/ 4099791 w 5737264"/>
              <a:gd name="connsiteY159" fmla="*/ 1105319 h 1240971"/>
              <a:gd name="connsiteX160" fmla="*/ 4129936 w 5737264"/>
              <a:gd name="connsiteY160" fmla="*/ 1075173 h 1240971"/>
              <a:gd name="connsiteX161" fmla="*/ 4150032 w 5737264"/>
              <a:gd name="connsiteY161" fmla="*/ 1040004 h 1240971"/>
              <a:gd name="connsiteX162" fmla="*/ 4160081 w 5737264"/>
              <a:gd name="connsiteY162" fmla="*/ 1019908 h 1240971"/>
              <a:gd name="connsiteX163" fmla="*/ 4165105 w 5737264"/>
              <a:gd name="connsiteY163" fmla="*/ 1004835 h 1240971"/>
              <a:gd name="connsiteX164" fmla="*/ 4185202 w 5737264"/>
              <a:gd name="connsiteY164" fmla="*/ 984738 h 1240971"/>
              <a:gd name="connsiteX165" fmla="*/ 4200274 w 5737264"/>
              <a:gd name="connsiteY165" fmla="*/ 979714 h 1240971"/>
              <a:gd name="connsiteX166" fmla="*/ 4235443 w 5737264"/>
              <a:gd name="connsiteY166" fmla="*/ 954593 h 1240971"/>
              <a:gd name="connsiteX167" fmla="*/ 4275637 w 5737264"/>
              <a:gd name="connsiteY167" fmla="*/ 934497 h 1240971"/>
              <a:gd name="connsiteX168" fmla="*/ 4310806 w 5737264"/>
              <a:gd name="connsiteY168" fmla="*/ 914400 h 1240971"/>
              <a:gd name="connsiteX169" fmla="*/ 4325878 w 5737264"/>
              <a:gd name="connsiteY169" fmla="*/ 904352 h 1240971"/>
              <a:gd name="connsiteX170" fmla="*/ 4381144 w 5737264"/>
              <a:gd name="connsiteY170" fmla="*/ 904352 h 1240971"/>
              <a:gd name="connsiteX171" fmla="*/ 4401241 w 5737264"/>
              <a:gd name="connsiteY171" fmla="*/ 914400 h 1240971"/>
              <a:gd name="connsiteX172" fmla="*/ 4416314 w 5737264"/>
              <a:gd name="connsiteY172" fmla="*/ 919424 h 1240971"/>
              <a:gd name="connsiteX173" fmla="*/ 4431386 w 5737264"/>
              <a:gd name="connsiteY173" fmla="*/ 929472 h 1240971"/>
              <a:gd name="connsiteX174" fmla="*/ 4462316 w 5737264"/>
              <a:gd name="connsiteY174" fmla="*/ 1006955 h 1240971"/>
              <a:gd name="connsiteX175" fmla="*/ 4531320 w 5737264"/>
              <a:gd name="connsiteY175" fmla="*/ 1037650 h 1240971"/>
              <a:gd name="connsiteX176" fmla="*/ 4597184 w 5737264"/>
              <a:gd name="connsiteY176" fmla="*/ 969666 h 1240971"/>
              <a:gd name="connsiteX177" fmla="*/ 4617281 w 5737264"/>
              <a:gd name="connsiteY177" fmla="*/ 959617 h 1240971"/>
              <a:gd name="connsiteX178" fmla="*/ 4632353 w 5737264"/>
              <a:gd name="connsiteY178" fmla="*/ 944545 h 1240971"/>
              <a:gd name="connsiteX179" fmla="*/ 4652450 w 5737264"/>
              <a:gd name="connsiteY179" fmla="*/ 934497 h 1240971"/>
              <a:gd name="connsiteX180" fmla="*/ 4672547 w 5737264"/>
              <a:gd name="connsiteY180" fmla="*/ 919424 h 1240971"/>
              <a:gd name="connsiteX181" fmla="*/ 4737861 w 5737264"/>
              <a:gd name="connsiteY181" fmla="*/ 884255 h 1240971"/>
              <a:gd name="connsiteX182" fmla="*/ 4762982 w 5737264"/>
              <a:gd name="connsiteY182" fmla="*/ 879231 h 1240971"/>
              <a:gd name="connsiteX183" fmla="*/ 4778054 w 5737264"/>
              <a:gd name="connsiteY183" fmla="*/ 874206 h 1240971"/>
              <a:gd name="connsiteX184" fmla="*/ 4819294 w 5737264"/>
              <a:gd name="connsiteY184" fmla="*/ 873944 h 1240971"/>
              <a:gd name="connsiteX185" fmla="*/ 4877465 w 5737264"/>
              <a:gd name="connsiteY185" fmla="*/ 895638 h 1240971"/>
              <a:gd name="connsiteX186" fmla="*/ 4935347 w 5737264"/>
              <a:gd name="connsiteY186" fmla="*/ 934523 h 1240971"/>
              <a:gd name="connsiteX187" fmla="*/ 4995402 w 5737264"/>
              <a:gd name="connsiteY187" fmla="*/ 1006746 h 1240971"/>
              <a:gd name="connsiteX188" fmla="*/ 5024762 w 5737264"/>
              <a:gd name="connsiteY188" fmla="*/ 1051963 h 1240971"/>
              <a:gd name="connsiteX189" fmla="*/ 5092223 w 5737264"/>
              <a:gd name="connsiteY189" fmla="*/ 1016506 h 1240971"/>
              <a:gd name="connsiteX190" fmla="*/ 5144322 w 5737264"/>
              <a:gd name="connsiteY190" fmla="*/ 948261 h 1240971"/>
              <a:gd name="connsiteX191" fmla="*/ 5189252 w 5737264"/>
              <a:gd name="connsiteY191" fmla="*/ 886112 h 1240971"/>
              <a:gd name="connsiteX192" fmla="*/ 5226279 w 5737264"/>
              <a:gd name="connsiteY192" fmla="*/ 856230 h 1240971"/>
              <a:gd name="connsiteX193" fmla="*/ 5260637 w 5737264"/>
              <a:gd name="connsiteY193" fmla="*/ 822918 h 1240971"/>
              <a:gd name="connsiteX194" fmla="*/ 5295282 w 5737264"/>
              <a:gd name="connsiteY194" fmla="*/ 800440 h 1240971"/>
              <a:gd name="connsiteX195" fmla="*/ 5334430 w 5737264"/>
              <a:gd name="connsiteY195" fmla="*/ 794893 h 1240971"/>
              <a:gd name="connsiteX196" fmla="*/ 5412174 w 5737264"/>
              <a:gd name="connsiteY196" fmla="*/ 824252 h 1240971"/>
              <a:gd name="connsiteX197" fmla="*/ 5431197 w 5737264"/>
              <a:gd name="connsiteY197" fmla="*/ 768699 h 1240971"/>
              <a:gd name="connsiteX198" fmla="*/ 5441246 w 5737264"/>
              <a:gd name="connsiteY198" fmla="*/ 753626 h 1240971"/>
              <a:gd name="connsiteX199" fmla="*/ 5456318 w 5737264"/>
              <a:gd name="connsiteY199" fmla="*/ 708409 h 1240971"/>
              <a:gd name="connsiteX200" fmla="*/ 5466366 w 5737264"/>
              <a:gd name="connsiteY200" fmla="*/ 683288 h 1240971"/>
              <a:gd name="connsiteX201" fmla="*/ 5476415 w 5737264"/>
              <a:gd name="connsiteY201" fmla="*/ 643094 h 1240971"/>
              <a:gd name="connsiteX202" fmla="*/ 5491487 w 5737264"/>
              <a:gd name="connsiteY202" fmla="*/ 617973 h 1240971"/>
              <a:gd name="connsiteX203" fmla="*/ 5506560 w 5737264"/>
              <a:gd name="connsiteY203" fmla="*/ 572756 h 1240971"/>
              <a:gd name="connsiteX204" fmla="*/ 5526656 w 5737264"/>
              <a:gd name="connsiteY204" fmla="*/ 522514 h 1240971"/>
              <a:gd name="connsiteX205" fmla="*/ 5546753 w 5737264"/>
              <a:gd name="connsiteY205" fmla="*/ 467248 h 1240971"/>
              <a:gd name="connsiteX206" fmla="*/ 5556802 w 5737264"/>
              <a:gd name="connsiteY206" fmla="*/ 411982 h 1240971"/>
              <a:gd name="connsiteX207" fmla="*/ 5566850 w 5737264"/>
              <a:gd name="connsiteY207" fmla="*/ 381837 h 1240971"/>
              <a:gd name="connsiteX208" fmla="*/ 5576898 w 5737264"/>
              <a:gd name="connsiteY208" fmla="*/ 356716 h 1240971"/>
              <a:gd name="connsiteX209" fmla="*/ 5596995 w 5737264"/>
              <a:gd name="connsiteY209" fmla="*/ 316523 h 1240971"/>
              <a:gd name="connsiteX210" fmla="*/ 5617092 w 5737264"/>
              <a:gd name="connsiteY210" fmla="*/ 246184 h 1240971"/>
              <a:gd name="connsiteX211" fmla="*/ 5622116 w 5737264"/>
              <a:gd name="connsiteY211" fmla="*/ 226088 h 1240971"/>
              <a:gd name="connsiteX212" fmla="*/ 5632164 w 5737264"/>
              <a:gd name="connsiteY212" fmla="*/ 216039 h 1240971"/>
              <a:gd name="connsiteX213" fmla="*/ 5637188 w 5737264"/>
              <a:gd name="connsiteY213" fmla="*/ 200967 h 1240971"/>
              <a:gd name="connsiteX214" fmla="*/ 5651738 w 5737264"/>
              <a:gd name="connsiteY214" fmla="*/ 190395 h 1240971"/>
              <a:gd name="connsiteX215" fmla="*/ 5673692 w 5737264"/>
              <a:gd name="connsiteY215" fmla="*/ 153892 h 1240971"/>
              <a:gd name="connsiteX216" fmla="*/ 5726602 w 5737264"/>
              <a:gd name="connsiteY216" fmla="*/ 89362 h 1240971"/>
              <a:gd name="connsiteX217" fmla="*/ 5728722 w 5737264"/>
              <a:gd name="connsiteY217" fmla="*/ 42287 h 1240971"/>
              <a:gd name="connsiteX218" fmla="*/ 5634284 w 5737264"/>
              <a:gd name="connsiteY218" fmla="*/ 25357 h 1240971"/>
              <a:gd name="connsiteX219" fmla="*/ 5536940 w 5737264"/>
              <a:gd name="connsiteY219" fmla="*/ 27214 h 1240971"/>
              <a:gd name="connsiteX220" fmla="*/ 5470369 w 5737264"/>
              <a:gd name="connsiteY220" fmla="*/ 39381 h 1240971"/>
              <a:gd name="connsiteX221" fmla="*/ 5379124 w 5737264"/>
              <a:gd name="connsiteY221" fmla="*/ 39644 h 1240971"/>
              <a:gd name="connsiteX222" fmla="*/ 5309282 w 5737264"/>
              <a:gd name="connsiteY222" fmla="*/ 42287 h 1240971"/>
              <a:gd name="connsiteX223" fmla="*/ 5238682 w 5737264"/>
              <a:gd name="connsiteY223" fmla="*/ 54455 h 1240971"/>
              <a:gd name="connsiteX224" fmla="*/ 5108892 w 5737264"/>
              <a:gd name="connsiteY224" fmla="*/ 37524 h 1240971"/>
              <a:gd name="connsiteX225" fmla="*/ 5020026 w 5737264"/>
              <a:gd name="connsiteY225" fmla="*/ 39120 h 1240971"/>
              <a:gd name="connsiteX226" fmla="*/ 4946233 w 5737264"/>
              <a:gd name="connsiteY226" fmla="*/ 41240 h 1240971"/>
              <a:gd name="connsiteX227" fmla="*/ 4823272 w 5737264"/>
              <a:gd name="connsiteY227" fmla="*/ 50242 h 1240971"/>
              <a:gd name="connsiteX228" fmla="*/ 4727577 w 5737264"/>
              <a:gd name="connsiteY228" fmla="*/ 29073 h 1240971"/>
              <a:gd name="connsiteX229" fmla="*/ 4628376 w 5737264"/>
              <a:gd name="connsiteY229" fmla="*/ 41240 h 1240971"/>
              <a:gd name="connsiteX230" fmla="*/ 4565180 w 5737264"/>
              <a:gd name="connsiteY230" fmla="*/ 46264 h 1240971"/>
              <a:gd name="connsiteX231" fmla="*/ 4417596 w 5737264"/>
              <a:gd name="connsiteY231" fmla="*/ 44406 h 1240971"/>
              <a:gd name="connsiteX232" fmla="*/ 4139984 w 5737264"/>
              <a:gd name="connsiteY232" fmla="*/ 60290 h 1240971"/>
              <a:gd name="connsiteX233" fmla="*/ 3918920 w 5737264"/>
              <a:gd name="connsiteY233" fmla="*/ 50242 h 1240971"/>
              <a:gd name="connsiteX234" fmla="*/ 3873703 w 5737264"/>
              <a:gd name="connsiteY234" fmla="*/ 45217 h 1240971"/>
              <a:gd name="connsiteX235" fmla="*/ 3687808 w 5737264"/>
              <a:gd name="connsiteY235" fmla="*/ 40193 h 1240971"/>
              <a:gd name="connsiteX236" fmla="*/ 3662687 w 5737264"/>
              <a:gd name="connsiteY236" fmla="*/ 35169 h 1240971"/>
              <a:gd name="connsiteX237" fmla="*/ 3627518 w 5737264"/>
              <a:gd name="connsiteY237" fmla="*/ 25121 h 1240971"/>
              <a:gd name="connsiteX238" fmla="*/ 3547131 w 5737264"/>
              <a:gd name="connsiteY238" fmla="*/ 20097 h 1240971"/>
              <a:gd name="connsiteX239" fmla="*/ 3310995 w 5737264"/>
              <a:gd name="connsiteY239" fmla="*/ 25121 h 1240971"/>
              <a:gd name="connsiteX240" fmla="*/ 3265777 w 5737264"/>
              <a:gd name="connsiteY240" fmla="*/ 30145 h 1240971"/>
              <a:gd name="connsiteX241" fmla="*/ 3175342 w 5737264"/>
              <a:gd name="connsiteY241" fmla="*/ 35169 h 1240971"/>
              <a:gd name="connsiteX242" fmla="*/ 2582489 w 5737264"/>
              <a:gd name="connsiteY242" fmla="*/ 45217 h 1240971"/>
              <a:gd name="connsiteX243" fmla="*/ 2255918 w 5737264"/>
              <a:gd name="connsiteY243" fmla="*/ 40193 h 1240971"/>
              <a:gd name="connsiteX244" fmla="*/ 1974564 w 5737264"/>
              <a:gd name="connsiteY244" fmla="*/ 30145 h 1240971"/>
              <a:gd name="connsiteX245" fmla="*/ 1944419 w 5737264"/>
              <a:gd name="connsiteY245" fmla="*/ 25121 h 1240971"/>
              <a:gd name="connsiteX246" fmla="*/ 1848960 w 5737264"/>
              <a:gd name="connsiteY246" fmla="*/ 20097 h 1240971"/>
              <a:gd name="connsiteX247" fmla="*/ 1768573 w 5737264"/>
              <a:gd name="connsiteY247" fmla="*/ 10048 h 1240971"/>
              <a:gd name="connsiteX248" fmla="*/ 1502292 w 5737264"/>
              <a:gd name="connsiteY248" fmla="*/ 20097 h 1240971"/>
              <a:gd name="connsiteX249" fmla="*/ 1467122 w 5737264"/>
              <a:gd name="connsiteY249" fmla="*/ 25121 h 1240971"/>
              <a:gd name="connsiteX250" fmla="*/ 1426929 w 5737264"/>
              <a:gd name="connsiteY250" fmla="*/ 30145 h 1240971"/>
              <a:gd name="connsiteX251" fmla="*/ 1341518 w 5737264"/>
              <a:gd name="connsiteY251" fmla="*/ 45217 h 1240971"/>
              <a:gd name="connsiteX252" fmla="*/ 1095333 w 5737264"/>
              <a:gd name="connsiteY252" fmla="*/ 35169 h 1240971"/>
              <a:gd name="connsiteX253" fmla="*/ 979777 w 5737264"/>
              <a:gd name="connsiteY253" fmla="*/ 20097 h 1240971"/>
              <a:gd name="connsiteX254" fmla="*/ 939584 w 5737264"/>
              <a:gd name="connsiteY254" fmla="*/ 10048 h 1240971"/>
              <a:gd name="connsiteX255" fmla="*/ 813980 w 5737264"/>
              <a:gd name="connsiteY255" fmla="*/ 0 h 1240971"/>
              <a:gd name="connsiteX256" fmla="*/ 743641 w 5737264"/>
              <a:gd name="connsiteY256" fmla="*/ 5024 h 1240971"/>
              <a:gd name="connsiteX257" fmla="*/ 582867 w 5737264"/>
              <a:gd name="connsiteY257" fmla="*/ 15072 h 1240971"/>
              <a:gd name="connsiteX258" fmla="*/ 432142 w 5737264"/>
              <a:gd name="connsiteY258" fmla="*/ 5024 h 1240971"/>
              <a:gd name="connsiteX259" fmla="*/ 412046 w 5737264"/>
              <a:gd name="connsiteY259" fmla="*/ 0 h 1240971"/>
              <a:gd name="connsiteX260" fmla="*/ 281417 w 5737264"/>
              <a:gd name="connsiteY260" fmla="*/ 10048 h 1240971"/>
              <a:gd name="connsiteX261" fmla="*/ 261320 w 5737264"/>
              <a:gd name="connsiteY261" fmla="*/ 15072 h 1240971"/>
              <a:gd name="connsiteX262" fmla="*/ 100547 w 5737264"/>
              <a:gd name="connsiteY262" fmla="*/ 20097 h 1240971"/>
              <a:gd name="connsiteX263" fmla="*/ 5087 w 5737264"/>
              <a:gd name="connsiteY263"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58630 w 5737264"/>
              <a:gd name="connsiteY148" fmla="*/ 1009859 h 1240971"/>
              <a:gd name="connsiteX149" fmla="*/ 3873703 w 5737264"/>
              <a:gd name="connsiteY149" fmla="*/ 1004835 h 1240971"/>
              <a:gd name="connsiteX150" fmla="*/ 3923944 w 5737264"/>
              <a:gd name="connsiteY150" fmla="*/ 1014883 h 1240971"/>
              <a:gd name="connsiteX151" fmla="*/ 3933993 w 5737264"/>
              <a:gd name="connsiteY151" fmla="*/ 1029956 h 1240971"/>
              <a:gd name="connsiteX152" fmla="*/ 3964138 w 5737264"/>
              <a:gd name="connsiteY152" fmla="*/ 1075173 h 1240971"/>
              <a:gd name="connsiteX153" fmla="*/ 3969162 w 5737264"/>
              <a:gd name="connsiteY153" fmla="*/ 1100294 h 1240971"/>
              <a:gd name="connsiteX154" fmla="*/ 3979210 w 5737264"/>
              <a:gd name="connsiteY154" fmla="*/ 1110343 h 1240971"/>
              <a:gd name="connsiteX155" fmla="*/ 3984235 w 5737264"/>
              <a:gd name="connsiteY155" fmla="*/ 1130439 h 1240971"/>
              <a:gd name="connsiteX156" fmla="*/ 4019404 w 5737264"/>
              <a:gd name="connsiteY156" fmla="*/ 1165609 h 1240971"/>
              <a:gd name="connsiteX157" fmla="*/ 4064621 w 5737264"/>
              <a:gd name="connsiteY157" fmla="*/ 1150536 h 1240971"/>
              <a:gd name="connsiteX158" fmla="*/ 4079694 w 5737264"/>
              <a:gd name="connsiteY158" fmla="*/ 1125415 h 1240971"/>
              <a:gd name="connsiteX159" fmla="*/ 4099791 w 5737264"/>
              <a:gd name="connsiteY159" fmla="*/ 1105319 h 1240971"/>
              <a:gd name="connsiteX160" fmla="*/ 4129936 w 5737264"/>
              <a:gd name="connsiteY160" fmla="*/ 1075173 h 1240971"/>
              <a:gd name="connsiteX161" fmla="*/ 4150032 w 5737264"/>
              <a:gd name="connsiteY161" fmla="*/ 1040004 h 1240971"/>
              <a:gd name="connsiteX162" fmla="*/ 4160081 w 5737264"/>
              <a:gd name="connsiteY162" fmla="*/ 1019908 h 1240971"/>
              <a:gd name="connsiteX163" fmla="*/ 4165105 w 5737264"/>
              <a:gd name="connsiteY163" fmla="*/ 1004835 h 1240971"/>
              <a:gd name="connsiteX164" fmla="*/ 4185202 w 5737264"/>
              <a:gd name="connsiteY164" fmla="*/ 984738 h 1240971"/>
              <a:gd name="connsiteX165" fmla="*/ 4200274 w 5737264"/>
              <a:gd name="connsiteY165" fmla="*/ 979714 h 1240971"/>
              <a:gd name="connsiteX166" fmla="*/ 4235443 w 5737264"/>
              <a:gd name="connsiteY166" fmla="*/ 954593 h 1240971"/>
              <a:gd name="connsiteX167" fmla="*/ 4275637 w 5737264"/>
              <a:gd name="connsiteY167" fmla="*/ 934497 h 1240971"/>
              <a:gd name="connsiteX168" fmla="*/ 4310806 w 5737264"/>
              <a:gd name="connsiteY168" fmla="*/ 914400 h 1240971"/>
              <a:gd name="connsiteX169" fmla="*/ 4325878 w 5737264"/>
              <a:gd name="connsiteY169" fmla="*/ 904352 h 1240971"/>
              <a:gd name="connsiteX170" fmla="*/ 4381144 w 5737264"/>
              <a:gd name="connsiteY170" fmla="*/ 904352 h 1240971"/>
              <a:gd name="connsiteX171" fmla="*/ 4401241 w 5737264"/>
              <a:gd name="connsiteY171" fmla="*/ 914400 h 1240971"/>
              <a:gd name="connsiteX172" fmla="*/ 4431386 w 5737264"/>
              <a:gd name="connsiteY172" fmla="*/ 929472 h 1240971"/>
              <a:gd name="connsiteX173" fmla="*/ 4462316 w 5737264"/>
              <a:gd name="connsiteY173" fmla="*/ 1006955 h 1240971"/>
              <a:gd name="connsiteX174" fmla="*/ 4531320 w 5737264"/>
              <a:gd name="connsiteY174" fmla="*/ 1037650 h 1240971"/>
              <a:gd name="connsiteX175" fmla="*/ 4597184 w 5737264"/>
              <a:gd name="connsiteY175" fmla="*/ 969666 h 1240971"/>
              <a:gd name="connsiteX176" fmla="*/ 4617281 w 5737264"/>
              <a:gd name="connsiteY176" fmla="*/ 959617 h 1240971"/>
              <a:gd name="connsiteX177" fmla="*/ 4632353 w 5737264"/>
              <a:gd name="connsiteY177" fmla="*/ 944545 h 1240971"/>
              <a:gd name="connsiteX178" fmla="*/ 4652450 w 5737264"/>
              <a:gd name="connsiteY178" fmla="*/ 934497 h 1240971"/>
              <a:gd name="connsiteX179" fmla="*/ 4672547 w 5737264"/>
              <a:gd name="connsiteY179" fmla="*/ 919424 h 1240971"/>
              <a:gd name="connsiteX180" fmla="*/ 4737861 w 5737264"/>
              <a:gd name="connsiteY180" fmla="*/ 884255 h 1240971"/>
              <a:gd name="connsiteX181" fmla="*/ 4762982 w 5737264"/>
              <a:gd name="connsiteY181" fmla="*/ 879231 h 1240971"/>
              <a:gd name="connsiteX182" fmla="*/ 4778054 w 5737264"/>
              <a:gd name="connsiteY182" fmla="*/ 874206 h 1240971"/>
              <a:gd name="connsiteX183" fmla="*/ 4819294 w 5737264"/>
              <a:gd name="connsiteY183" fmla="*/ 873944 h 1240971"/>
              <a:gd name="connsiteX184" fmla="*/ 4877465 w 5737264"/>
              <a:gd name="connsiteY184" fmla="*/ 895638 h 1240971"/>
              <a:gd name="connsiteX185" fmla="*/ 4935347 w 5737264"/>
              <a:gd name="connsiteY185" fmla="*/ 934523 h 1240971"/>
              <a:gd name="connsiteX186" fmla="*/ 4995402 w 5737264"/>
              <a:gd name="connsiteY186" fmla="*/ 1006746 h 1240971"/>
              <a:gd name="connsiteX187" fmla="*/ 5024762 w 5737264"/>
              <a:gd name="connsiteY187" fmla="*/ 1051963 h 1240971"/>
              <a:gd name="connsiteX188" fmla="*/ 5092223 w 5737264"/>
              <a:gd name="connsiteY188" fmla="*/ 1016506 h 1240971"/>
              <a:gd name="connsiteX189" fmla="*/ 5144322 w 5737264"/>
              <a:gd name="connsiteY189" fmla="*/ 948261 h 1240971"/>
              <a:gd name="connsiteX190" fmla="*/ 5189252 w 5737264"/>
              <a:gd name="connsiteY190" fmla="*/ 886112 h 1240971"/>
              <a:gd name="connsiteX191" fmla="*/ 5226279 w 5737264"/>
              <a:gd name="connsiteY191" fmla="*/ 856230 h 1240971"/>
              <a:gd name="connsiteX192" fmla="*/ 5260637 w 5737264"/>
              <a:gd name="connsiteY192" fmla="*/ 822918 h 1240971"/>
              <a:gd name="connsiteX193" fmla="*/ 5295282 w 5737264"/>
              <a:gd name="connsiteY193" fmla="*/ 800440 h 1240971"/>
              <a:gd name="connsiteX194" fmla="*/ 5334430 w 5737264"/>
              <a:gd name="connsiteY194" fmla="*/ 794893 h 1240971"/>
              <a:gd name="connsiteX195" fmla="*/ 5412174 w 5737264"/>
              <a:gd name="connsiteY195" fmla="*/ 824252 h 1240971"/>
              <a:gd name="connsiteX196" fmla="*/ 5431197 w 5737264"/>
              <a:gd name="connsiteY196" fmla="*/ 768699 h 1240971"/>
              <a:gd name="connsiteX197" fmla="*/ 5441246 w 5737264"/>
              <a:gd name="connsiteY197" fmla="*/ 753626 h 1240971"/>
              <a:gd name="connsiteX198" fmla="*/ 5456318 w 5737264"/>
              <a:gd name="connsiteY198" fmla="*/ 708409 h 1240971"/>
              <a:gd name="connsiteX199" fmla="*/ 5466366 w 5737264"/>
              <a:gd name="connsiteY199" fmla="*/ 683288 h 1240971"/>
              <a:gd name="connsiteX200" fmla="*/ 5476415 w 5737264"/>
              <a:gd name="connsiteY200" fmla="*/ 643094 h 1240971"/>
              <a:gd name="connsiteX201" fmla="*/ 5491487 w 5737264"/>
              <a:gd name="connsiteY201" fmla="*/ 617973 h 1240971"/>
              <a:gd name="connsiteX202" fmla="*/ 5506560 w 5737264"/>
              <a:gd name="connsiteY202" fmla="*/ 572756 h 1240971"/>
              <a:gd name="connsiteX203" fmla="*/ 5526656 w 5737264"/>
              <a:gd name="connsiteY203" fmla="*/ 522514 h 1240971"/>
              <a:gd name="connsiteX204" fmla="*/ 5546753 w 5737264"/>
              <a:gd name="connsiteY204" fmla="*/ 467248 h 1240971"/>
              <a:gd name="connsiteX205" fmla="*/ 5556802 w 5737264"/>
              <a:gd name="connsiteY205" fmla="*/ 411982 h 1240971"/>
              <a:gd name="connsiteX206" fmla="*/ 5566850 w 5737264"/>
              <a:gd name="connsiteY206" fmla="*/ 381837 h 1240971"/>
              <a:gd name="connsiteX207" fmla="*/ 5576898 w 5737264"/>
              <a:gd name="connsiteY207" fmla="*/ 356716 h 1240971"/>
              <a:gd name="connsiteX208" fmla="*/ 5596995 w 5737264"/>
              <a:gd name="connsiteY208" fmla="*/ 316523 h 1240971"/>
              <a:gd name="connsiteX209" fmla="*/ 5617092 w 5737264"/>
              <a:gd name="connsiteY209" fmla="*/ 246184 h 1240971"/>
              <a:gd name="connsiteX210" fmla="*/ 5622116 w 5737264"/>
              <a:gd name="connsiteY210" fmla="*/ 226088 h 1240971"/>
              <a:gd name="connsiteX211" fmla="*/ 5632164 w 5737264"/>
              <a:gd name="connsiteY211" fmla="*/ 216039 h 1240971"/>
              <a:gd name="connsiteX212" fmla="*/ 5637188 w 5737264"/>
              <a:gd name="connsiteY212" fmla="*/ 200967 h 1240971"/>
              <a:gd name="connsiteX213" fmla="*/ 5651738 w 5737264"/>
              <a:gd name="connsiteY213" fmla="*/ 190395 h 1240971"/>
              <a:gd name="connsiteX214" fmla="*/ 5673692 w 5737264"/>
              <a:gd name="connsiteY214" fmla="*/ 153892 h 1240971"/>
              <a:gd name="connsiteX215" fmla="*/ 5726602 w 5737264"/>
              <a:gd name="connsiteY215" fmla="*/ 89362 h 1240971"/>
              <a:gd name="connsiteX216" fmla="*/ 5728722 w 5737264"/>
              <a:gd name="connsiteY216" fmla="*/ 42287 h 1240971"/>
              <a:gd name="connsiteX217" fmla="*/ 5634284 w 5737264"/>
              <a:gd name="connsiteY217" fmla="*/ 25357 h 1240971"/>
              <a:gd name="connsiteX218" fmla="*/ 5536940 w 5737264"/>
              <a:gd name="connsiteY218" fmla="*/ 27214 h 1240971"/>
              <a:gd name="connsiteX219" fmla="*/ 5470369 w 5737264"/>
              <a:gd name="connsiteY219" fmla="*/ 39381 h 1240971"/>
              <a:gd name="connsiteX220" fmla="*/ 5379124 w 5737264"/>
              <a:gd name="connsiteY220" fmla="*/ 39644 h 1240971"/>
              <a:gd name="connsiteX221" fmla="*/ 5309282 w 5737264"/>
              <a:gd name="connsiteY221" fmla="*/ 42287 h 1240971"/>
              <a:gd name="connsiteX222" fmla="*/ 5238682 w 5737264"/>
              <a:gd name="connsiteY222" fmla="*/ 54455 h 1240971"/>
              <a:gd name="connsiteX223" fmla="*/ 5108892 w 5737264"/>
              <a:gd name="connsiteY223" fmla="*/ 37524 h 1240971"/>
              <a:gd name="connsiteX224" fmla="*/ 5020026 w 5737264"/>
              <a:gd name="connsiteY224" fmla="*/ 39120 h 1240971"/>
              <a:gd name="connsiteX225" fmla="*/ 4946233 w 5737264"/>
              <a:gd name="connsiteY225" fmla="*/ 41240 h 1240971"/>
              <a:gd name="connsiteX226" fmla="*/ 4823272 w 5737264"/>
              <a:gd name="connsiteY226" fmla="*/ 50242 h 1240971"/>
              <a:gd name="connsiteX227" fmla="*/ 4727577 w 5737264"/>
              <a:gd name="connsiteY227" fmla="*/ 29073 h 1240971"/>
              <a:gd name="connsiteX228" fmla="*/ 4628376 w 5737264"/>
              <a:gd name="connsiteY228" fmla="*/ 41240 h 1240971"/>
              <a:gd name="connsiteX229" fmla="*/ 4565180 w 5737264"/>
              <a:gd name="connsiteY229" fmla="*/ 46264 h 1240971"/>
              <a:gd name="connsiteX230" fmla="*/ 4417596 w 5737264"/>
              <a:gd name="connsiteY230" fmla="*/ 44406 h 1240971"/>
              <a:gd name="connsiteX231" fmla="*/ 4139984 w 5737264"/>
              <a:gd name="connsiteY231" fmla="*/ 60290 h 1240971"/>
              <a:gd name="connsiteX232" fmla="*/ 3918920 w 5737264"/>
              <a:gd name="connsiteY232" fmla="*/ 50242 h 1240971"/>
              <a:gd name="connsiteX233" fmla="*/ 3873703 w 5737264"/>
              <a:gd name="connsiteY233" fmla="*/ 45217 h 1240971"/>
              <a:gd name="connsiteX234" fmla="*/ 3687808 w 5737264"/>
              <a:gd name="connsiteY234" fmla="*/ 40193 h 1240971"/>
              <a:gd name="connsiteX235" fmla="*/ 3662687 w 5737264"/>
              <a:gd name="connsiteY235" fmla="*/ 35169 h 1240971"/>
              <a:gd name="connsiteX236" fmla="*/ 3627518 w 5737264"/>
              <a:gd name="connsiteY236" fmla="*/ 25121 h 1240971"/>
              <a:gd name="connsiteX237" fmla="*/ 3547131 w 5737264"/>
              <a:gd name="connsiteY237" fmla="*/ 20097 h 1240971"/>
              <a:gd name="connsiteX238" fmla="*/ 3310995 w 5737264"/>
              <a:gd name="connsiteY238" fmla="*/ 25121 h 1240971"/>
              <a:gd name="connsiteX239" fmla="*/ 3265777 w 5737264"/>
              <a:gd name="connsiteY239" fmla="*/ 30145 h 1240971"/>
              <a:gd name="connsiteX240" fmla="*/ 3175342 w 5737264"/>
              <a:gd name="connsiteY240" fmla="*/ 35169 h 1240971"/>
              <a:gd name="connsiteX241" fmla="*/ 2582489 w 5737264"/>
              <a:gd name="connsiteY241" fmla="*/ 45217 h 1240971"/>
              <a:gd name="connsiteX242" fmla="*/ 2255918 w 5737264"/>
              <a:gd name="connsiteY242" fmla="*/ 40193 h 1240971"/>
              <a:gd name="connsiteX243" fmla="*/ 1974564 w 5737264"/>
              <a:gd name="connsiteY243" fmla="*/ 30145 h 1240971"/>
              <a:gd name="connsiteX244" fmla="*/ 1944419 w 5737264"/>
              <a:gd name="connsiteY244" fmla="*/ 25121 h 1240971"/>
              <a:gd name="connsiteX245" fmla="*/ 1848960 w 5737264"/>
              <a:gd name="connsiteY245" fmla="*/ 20097 h 1240971"/>
              <a:gd name="connsiteX246" fmla="*/ 1768573 w 5737264"/>
              <a:gd name="connsiteY246" fmla="*/ 10048 h 1240971"/>
              <a:gd name="connsiteX247" fmla="*/ 1502292 w 5737264"/>
              <a:gd name="connsiteY247" fmla="*/ 20097 h 1240971"/>
              <a:gd name="connsiteX248" fmla="*/ 1467122 w 5737264"/>
              <a:gd name="connsiteY248" fmla="*/ 25121 h 1240971"/>
              <a:gd name="connsiteX249" fmla="*/ 1426929 w 5737264"/>
              <a:gd name="connsiteY249" fmla="*/ 30145 h 1240971"/>
              <a:gd name="connsiteX250" fmla="*/ 1341518 w 5737264"/>
              <a:gd name="connsiteY250" fmla="*/ 45217 h 1240971"/>
              <a:gd name="connsiteX251" fmla="*/ 1095333 w 5737264"/>
              <a:gd name="connsiteY251" fmla="*/ 35169 h 1240971"/>
              <a:gd name="connsiteX252" fmla="*/ 979777 w 5737264"/>
              <a:gd name="connsiteY252" fmla="*/ 20097 h 1240971"/>
              <a:gd name="connsiteX253" fmla="*/ 939584 w 5737264"/>
              <a:gd name="connsiteY253" fmla="*/ 10048 h 1240971"/>
              <a:gd name="connsiteX254" fmla="*/ 813980 w 5737264"/>
              <a:gd name="connsiteY254" fmla="*/ 0 h 1240971"/>
              <a:gd name="connsiteX255" fmla="*/ 743641 w 5737264"/>
              <a:gd name="connsiteY255" fmla="*/ 5024 h 1240971"/>
              <a:gd name="connsiteX256" fmla="*/ 582867 w 5737264"/>
              <a:gd name="connsiteY256" fmla="*/ 15072 h 1240971"/>
              <a:gd name="connsiteX257" fmla="*/ 432142 w 5737264"/>
              <a:gd name="connsiteY257" fmla="*/ 5024 h 1240971"/>
              <a:gd name="connsiteX258" fmla="*/ 412046 w 5737264"/>
              <a:gd name="connsiteY258" fmla="*/ 0 h 1240971"/>
              <a:gd name="connsiteX259" fmla="*/ 281417 w 5737264"/>
              <a:gd name="connsiteY259" fmla="*/ 10048 h 1240971"/>
              <a:gd name="connsiteX260" fmla="*/ 261320 w 5737264"/>
              <a:gd name="connsiteY260" fmla="*/ 15072 h 1240971"/>
              <a:gd name="connsiteX261" fmla="*/ 100547 w 5737264"/>
              <a:gd name="connsiteY261" fmla="*/ 20097 h 1240971"/>
              <a:gd name="connsiteX262" fmla="*/ 5087 w 5737264"/>
              <a:gd name="connsiteY262"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58630 w 5737264"/>
              <a:gd name="connsiteY148" fmla="*/ 1009859 h 1240971"/>
              <a:gd name="connsiteX149" fmla="*/ 3873703 w 5737264"/>
              <a:gd name="connsiteY149" fmla="*/ 1004835 h 1240971"/>
              <a:gd name="connsiteX150" fmla="*/ 3923944 w 5737264"/>
              <a:gd name="connsiteY150" fmla="*/ 1014883 h 1240971"/>
              <a:gd name="connsiteX151" fmla="*/ 3933993 w 5737264"/>
              <a:gd name="connsiteY151" fmla="*/ 1029956 h 1240971"/>
              <a:gd name="connsiteX152" fmla="*/ 3964138 w 5737264"/>
              <a:gd name="connsiteY152" fmla="*/ 1075173 h 1240971"/>
              <a:gd name="connsiteX153" fmla="*/ 3969162 w 5737264"/>
              <a:gd name="connsiteY153" fmla="*/ 1100294 h 1240971"/>
              <a:gd name="connsiteX154" fmla="*/ 3979210 w 5737264"/>
              <a:gd name="connsiteY154" fmla="*/ 1110343 h 1240971"/>
              <a:gd name="connsiteX155" fmla="*/ 3984235 w 5737264"/>
              <a:gd name="connsiteY155" fmla="*/ 1130439 h 1240971"/>
              <a:gd name="connsiteX156" fmla="*/ 4019404 w 5737264"/>
              <a:gd name="connsiteY156" fmla="*/ 1165609 h 1240971"/>
              <a:gd name="connsiteX157" fmla="*/ 4064621 w 5737264"/>
              <a:gd name="connsiteY157" fmla="*/ 1150536 h 1240971"/>
              <a:gd name="connsiteX158" fmla="*/ 4079694 w 5737264"/>
              <a:gd name="connsiteY158" fmla="*/ 1125415 h 1240971"/>
              <a:gd name="connsiteX159" fmla="*/ 4099791 w 5737264"/>
              <a:gd name="connsiteY159" fmla="*/ 1105319 h 1240971"/>
              <a:gd name="connsiteX160" fmla="*/ 4129936 w 5737264"/>
              <a:gd name="connsiteY160" fmla="*/ 1075173 h 1240971"/>
              <a:gd name="connsiteX161" fmla="*/ 4150032 w 5737264"/>
              <a:gd name="connsiteY161" fmla="*/ 1040004 h 1240971"/>
              <a:gd name="connsiteX162" fmla="*/ 4160081 w 5737264"/>
              <a:gd name="connsiteY162" fmla="*/ 1019908 h 1240971"/>
              <a:gd name="connsiteX163" fmla="*/ 4165105 w 5737264"/>
              <a:gd name="connsiteY163" fmla="*/ 1004835 h 1240971"/>
              <a:gd name="connsiteX164" fmla="*/ 4185202 w 5737264"/>
              <a:gd name="connsiteY164" fmla="*/ 984738 h 1240971"/>
              <a:gd name="connsiteX165" fmla="*/ 4200274 w 5737264"/>
              <a:gd name="connsiteY165" fmla="*/ 979714 h 1240971"/>
              <a:gd name="connsiteX166" fmla="*/ 4235443 w 5737264"/>
              <a:gd name="connsiteY166" fmla="*/ 954593 h 1240971"/>
              <a:gd name="connsiteX167" fmla="*/ 4275637 w 5737264"/>
              <a:gd name="connsiteY167" fmla="*/ 934497 h 1240971"/>
              <a:gd name="connsiteX168" fmla="*/ 4310806 w 5737264"/>
              <a:gd name="connsiteY168" fmla="*/ 914400 h 1240971"/>
              <a:gd name="connsiteX169" fmla="*/ 4325878 w 5737264"/>
              <a:gd name="connsiteY169" fmla="*/ 904352 h 1240971"/>
              <a:gd name="connsiteX170" fmla="*/ 4381144 w 5737264"/>
              <a:gd name="connsiteY170" fmla="*/ 904352 h 1240971"/>
              <a:gd name="connsiteX171" fmla="*/ 4431386 w 5737264"/>
              <a:gd name="connsiteY171" fmla="*/ 929472 h 1240971"/>
              <a:gd name="connsiteX172" fmla="*/ 4462316 w 5737264"/>
              <a:gd name="connsiteY172" fmla="*/ 1006955 h 1240971"/>
              <a:gd name="connsiteX173" fmla="*/ 4531320 w 5737264"/>
              <a:gd name="connsiteY173" fmla="*/ 1037650 h 1240971"/>
              <a:gd name="connsiteX174" fmla="*/ 4597184 w 5737264"/>
              <a:gd name="connsiteY174" fmla="*/ 969666 h 1240971"/>
              <a:gd name="connsiteX175" fmla="*/ 4617281 w 5737264"/>
              <a:gd name="connsiteY175" fmla="*/ 959617 h 1240971"/>
              <a:gd name="connsiteX176" fmla="*/ 4632353 w 5737264"/>
              <a:gd name="connsiteY176" fmla="*/ 944545 h 1240971"/>
              <a:gd name="connsiteX177" fmla="*/ 4652450 w 5737264"/>
              <a:gd name="connsiteY177" fmla="*/ 934497 h 1240971"/>
              <a:gd name="connsiteX178" fmla="*/ 4672547 w 5737264"/>
              <a:gd name="connsiteY178" fmla="*/ 919424 h 1240971"/>
              <a:gd name="connsiteX179" fmla="*/ 4737861 w 5737264"/>
              <a:gd name="connsiteY179" fmla="*/ 884255 h 1240971"/>
              <a:gd name="connsiteX180" fmla="*/ 4762982 w 5737264"/>
              <a:gd name="connsiteY180" fmla="*/ 879231 h 1240971"/>
              <a:gd name="connsiteX181" fmla="*/ 4778054 w 5737264"/>
              <a:gd name="connsiteY181" fmla="*/ 874206 h 1240971"/>
              <a:gd name="connsiteX182" fmla="*/ 4819294 w 5737264"/>
              <a:gd name="connsiteY182" fmla="*/ 873944 h 1240971"/>
              <a:gd name="connsiteX183" fmla="*/ 4877465 w 5737264"/>
              <a:gd name="connsiteY183" fmla="*/ 895638 h 1240971"/>
              <a:gd name="connsiteX184" fmla="*/ 4935347 w 5737264"/>
              <a:gd name="connsiteY184" fmla="*/ 934523 h 1240971"/>
              <a:gd name="connsiteX185" fmla="*/ 4995402 w 5737264"/>
              <a:gd name="connsiteY185" fmla="*/ 1006746 h 1240971"/>
              <a:gd name="connsiteX186" fmla="*/ 5024762 w 5737264"/>
              <a:gd name="connsiteY186" fmla="*/ 1051963 h 1240971"/>
              <a:gd name="connsiteX187" fmla="*/ 5092223 w 5737264"/>
              <a:gd name="connsiteY187" fmla="*/ 1016506 h 1240971"/>
              <a:gd name="connsiteX188" fmla="*/ 5144322 w 5737264"/>
              <a:gd name="connsiteY188" fmla="*/ 948261 h 1240971"/>
              <a:gd name="connsiteX189" fmla="*/ 5189252 w 5737264"/>
              <a:gd name="connsiteY189" fmla="*/ 886112 h 1240971"/>
              <a:gd name="connsiteX190" fmla="*/ 5226279 w 5737264"/>
              <a:gd name="connsiteY190" fmla="*/ 856230 h 1240971"/>
              <a:gd name="connsiteX191" fmla="*/ 5260637 w 5737264"/>
              <a:gd name="connsiteY191" fmla="*/ 822918 h 1240971"/>
              <a:gd name="connsiteX192" fmla="*/ 5295282 w 5737264"/>
              <a:gd name="connsiteY192" fmla="*/ 800440 h 1240971"/>
              <a:gd name="connsiteX193" fmla="*/ 5334430 w 5737264"/>
              <a:gd name="connsiteY193" fmla="*/ 794893 h 1240971"/>
              <a:gd name="connsiteX194" fmla="*/ 5412174 w 5737264"/>
              <a:gd name="connsiteY194" fmla="*/ 824252 h 1240971"/>
              <a:gd name="connsiteX195" fmla="*/ 5431197 w 5737264"/>
              <a:gd name="connsiteY195" fmla="*/ 768699 h 1240971"/>
              <a:gd name="connsiteX196" fmla="*/ 5441246 w 5737264"/>
              <a:gd name="connsiteY196" fmla="*/ 753626 h 1240971"/>
              <a:gd name="connsiteX197" fmla="*/ 5456318 w 5737264"/>
              <a:gd name="connsiteY197" fmla="*/ 708409 h 1240971"/>
              <a:gd name="connsiteX198" fmla="*/ 5466366 w 5737264"/>
              <a:gd name="connsiteY198" fmla="*/ 683288 h 1240971"/>
              <a:gd name="connsiteX199" fmla="*/ 5476415 w 5737264"/>
              <a:gd name="connsiteY199" fmla="*/ 643094 h 1240971"/>
              <a:gd name="connsiteX200" fmla="*/ 5491487 w 5737264"/>
              <a:gd name="connsiteY200" fmla="*/ 617973 h 1240971"/>
              <a:gd name="connsiteX201" fmla="*/ 5506560 w 5737264"/>
              <a:gd name="connsiteY201" fmla="*/ 572756 h 1240971"/>
              <a:gd name="connsiteX202" fmla="*/ 5526656 w 5737264"/>
              <a:gd name="connsiteY202" fmla="*/ 522514 h 1240971"/>
              <a:gd name="connsiteX203" fmla="*/ 5546753 w 5737264"/>
              <a:gd name="connsiteY203" fmla="*/ 467248 h 1240971"/>
              <a:gd name="connsiteX204" fmla="*/ 5556802 w 5737264"/>
              <a:gd name="connsiteY204" fmla="*/ 411982 h 1240971"/>
              <a:gd name="connsiteX205" fmla="*/ 5566850 w 5737264"/>
              <a:gd name="connsiteY205" fmla="*/ 381837 h 1240971"/>
              <a:gd name="connsiteX206" fmla="*/ 5576898 w 5737264"/>
              <a:gd name="connsiteY206" fmla="*/ 356716 h 1240971"/>
              <a:gd name="connsiteX207" fmla="*/ 5596995 w 5737264"/>
              <a:gd name="connsiteY207" fmla="*/ 316523 h 1240971"/>
              <a:gd name="connsiteX208" fmla="*/ 5617092 w 5737264"/>
              <a:gd name="connsiteY208" fmla="*/ 246184 h 1240971"/>
              <a:gd name="connsiteX209" fmla="*/ 5622116 w 5737264"/>
              <a:gd name="connsiteY209" fmla="*/ 226088 h 1240971"/>
              <a:gd name="connsiteX210" fmla="*/ 5632164 w 5737264"/>
              <a:gd name="connsiteY210" fmla="*/ 216039 h 1240971"/>
              <a:gd name="connsiteX211" fmla="*/ 5637188 w 5737264"/>
              <a:gd name="connsiteY211" fmla="*/ 200967 h 1240971"/>
              <a:gd name="connsiteX212" fmla="*/ 5651738 w 5737264"/>
              <a:gd name="connsiteY212" fmla="*/ 190395 h 1240971"/>
              <a:gd name="connsiteX213" fmla="*/ 5673692 w 5737264"/>
              <a:gd name="connsiteY213" fmla="*/ 153892 h 1240971"/>
              <a:gd name="connsiteX214" fmla="*/ 5726602 w 5737264"/>
              <a:gd name="connsiteY214" fmla="*/ 89362 h 1240971"/>
              <a:gd name="connsiteX215" fmla="*/ 5728722 w 5737264"/>
              <a:gd name="connsiteY215" fmla="*/ 42287 h 1240971"/>
              <a:gd name="connsiteX216" fmla="*/ 5634284 w 5737264"/>
              <a:gd name="connsiteY216" fmla="*/ 25357 h 1240971"/>
              <a:gd name="connsiteX217" fmla="*/ 5536940 w 5737264"/>
              <a:gd name="connsiteY217" fmla="*/ 27214 h 1240971"/>
              <a:gd name="connsiteX218" fmla="*/ 5470369 w 5737264"/>
              <a:gd name="connsiteY218" fmla="*/ 39381 h 1240971"/>
              <a:gd name="connsiteX219" fmla="*/ 5379124 w 5737264"/>
              <a:gd name="connsiteY219" fmla="*/ 39644 h 1240971"/>
              <a:gd name="connsiteX220" fmla="*/ 5309282 w 5737264"/>
              <a:gd name="connsiteY220" fmla="*/ 42287 h 1240971"/>
              <a:gd name="connsiteX221" fmla="*/ 5238682 w 5737264"/>
              <a:gd name="connsiteY221" fmla="*/ 54455 h 1240971"/>
              <a:gd name="connsiteX222" fmla="*/ 5108892 w 5737264"/>
              <a:gd name="connsiteY222" fmla="*/ 37524 h 1240971"/>
              <a:gd name="connsiteX223" fmla="*/ 5020026 w 5737264"/>
              <a:gd name="connsiteY223" fmla="*/ 39120 h 1240971"/>
              <a:gd name="connsiteX224" fmla="*/ 4946233 w 5737264"/>
              <a:gd name="connsiteY224" fmla="*/ 41240 h 1240971"/>
              <a:gd name="connsiteX225" fmla="*/ 4823272 w 5737264"/>
              <a:gd name="connsiteY225" fmla="*/ 50242 h 1240971"/>
              <a:gd name="connsiteX226" fmla="*/ 4727577 w 5737264"/>
              <a:gd name="connsiteY226" fmla="*/ 29073 h 1240971"/>
              <a:gd name="connsiteX227" fmla="*/ 4628376 w 5737264"/>
              <a:gd name="connsiteY227" fmla="*/ 41240 h 1240971"/>
              <a:gd name="connsiteX228" fmla="*/ 4565180 w 5737264"/>
              <a:gd name="connsiteY228" fmla="*/ 46264 h 1240971"/>
              <a:gd name="connsiteX229" fmla="*/ 4417596 w 5737264"/>
              <a:gd name="connsiteY229" fmla="*/ 44406 h 1240971"/>
              <a:gd name="connsiteX230" fmla="*/ 4139984 w 5737264"/>
              <a:gd name="connsiteY230" fmla="*/ 60290 h 1240971"/>
              <a:gd name="connsiteX231" fmla="*/ 3918920 w 5737264"/>
              <a:gd name="connsiteY231" fmla="*/ 50242 h 1240971"/>
              <a:gd name="connsiteX232" fmla="*/ 3873703 w 5737264"/>
              <a:gd name="connsiteY232" fmla="*/ 45217 h 1240971"/>
              <a:gd name="connsiteX233" fmla="*/ 3687808 w 5737264"/>
              <a:gd name="connsiteY233" fmla="*/ 40193 h 1240971"/>
              <a:gd name="connsiteX234" fmla="*/ 3662687 w 5737264"/>
              <a:gd name="connsiteY234" fmla="*/ 35169 h 1240971"/>
              <a:gd name="connsiteX235" fmla="*/ 3627518 w 5737264"/>
              <a:gd name="connsiteY235" fmla="*/ 25121 h 1240971"/>
              <a:gd name="connsiteX236" fmla="*/ 3547131 w 5737264"/>
              <a:gd name="connsiteY236" fmla="*/ 20097 h 1240971"/>
              <a:gd name="connsiteX237" fmla="*/ 3310995 w 5737264"/>
              <a:gd name="connsiteY237" fmla="*/ 25121 h 1240971"/>
              <a:gd name="connsiteX238" fmla="*/ 3265777 w 5737264"/>
              <a:gd name="connsiteY238" fmla="*/ 30145 h 1240971"/>
              <a:gd name="connsiteX239" fmla="*/ 3175342 w 5737264"/>
              <a:gd name="connsiteY239" fmla="*/ 35169 h 1240971"/>
              <a:gd name="connsiteX240" fmla="*/ 2582489 w 5737264"/>
              <a:gd name="connsiteY240" fmla="*/ 45217 h 1240971"/>
              <a:gd name="connsiteX241" fmla="*/ 2255918 w 5737264"/>
              <a:gd name="connsiteY241" fmla="*/ 40193 h 1240971"/>
              <a:gd name="connsiteX242" fmla="*/ 1974564 w 5737264"/>
              <a:gd name="connsiteY242" fmla="*/ 30145 h 1240971"/>
              <a:gd name="connsiteX243" fmla="*/ 1944419 w 5737264"/>
              <a:gd name="connsiteY243" fmla="*/ 25121 h 1240971"/>
              <a:gd name="connsiteX244" fmla="*/ 1848960 w 5737264"/>
              <a:gd name="connsiteY244" fmla="*/ 20097 h 1240971"/>
              <a:gd name="connsiteX245" fmla="*/ 1768573 w 5737264"/>
              <a:gd name="connsiteY245" fmla="*/ 10048 h 1240971"/>
              <a:gd name="connsiteX246" fmla="*/ 1502292 w 5737264"/>
              <a:gd name="connsiteY246" fmla="*/ 20097 h 1240971"/>
              <a:gd name="connsiteX247" fmla="*/ 1467122 w 5737264"/>
              <a:gd name="connsiteY247" fmla="*/ 25121 h 1240971"/>
              <a:gd name="connsiteX248" fmla="*/ 1426929 w 5737264"/>
              <a:gd name="connsiteY248" fmla="*/ 30145 h 1240971"/>
              <a:gd name="connsiteX249" fmla="*/ 1341518 w 5737264"/>
              <a:gd name="connsiteY249" fmla="*/ 45217 h 1240971"/>
              <a:gd name="connsiteX250" fmla="*/ 1095333 w 5737264"/>
              <a:gd name="connsiteY250" fmla="*/ 35169 h 1240971"/>
              <a:gd name="connsiteX251" fmla="*/ 979777 w 5737264"/>
              <a:gd name="connsiteY251" fmla="*/ 20097 h 1240971"/>
              <a:gd name="connsiteX252" fmla="*/ 939584 w 5737264"/>
              <a:gd name="connsiteY252" fmla="*/ 10048 h 1240971"/>
              <a:gd name="connsiteX253" fmla="*/ 813980 w 5737264"/>
              <a:gd name="connsiteY253" fmla="*/ 0 h 1240971"/>
              <a:gd name="connsiteX254" fmla="*/ 743641 w 5737264"/>
              <a:gd name="connsiteY254" fmla="*/ 5024 h 1240971"/>
              <a:gd name="connsiteX255" fmla="*/ 582867 w 5737264"/>
              <a:gd name="connsiteY255" fmla="*/ 15072 h 1240971"/>
              <a:gd name="connsiteX256" fmla="*/ 432142 w 5737264"/>
              <a:gd name="connsiteY256" fmla="*/ 5024 h 1240971"/>
              <a:gd name="connsiteX257" fmla="*/ 412046 w 5737264"/>
              <a:gd name="connsiteY257" fmla="*/ 0 h 1240971"/>
              <a:gd name="connsiteX258" fmla="*/ 281417 w 5737264"/>
              <a:gd name="connsiteY258" fmla="*/ 10048 h 1240971"/>
              <a:gd name="connsiteX259" fmla="*/ 261320 w 5737264"/>
              <a:gd name="connsiteY259" fmla="*/ 15072 h 1240971"/>
              <a:gd name="connsiteX260" fmla="*/ 100547 w 5737264"/>
              <a:gd name="connsiteY260" fmla="*/ 20097 h 1240971"/>
              <a:gd name="connsiteX261" fmla="*/ 5087 w 5737264"/>
              <a:gd name="connsiteY261"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58630 w 5737264"/>
              <a:gd name="connsiteY148" fmla="*/ 1009859 h 1240971"/>
              <a:gd name="connsiteX149" fmla="*/ 3873703 w 5737264"/>
              <a:gd name="connsiteY149" fmla="*/ 1004835 h 1240971"/>
              <a:gd name="connsiteX150" fmla="*/ 3923944 w 5737264"/>
              <a:gd name="connsiteY150" fmla="*/ 1014883 h 1240971"/>
              <a:gd name="connsiteX151" fmla="*/ 3933993 w 5737264"/>
              <a:gd name="connsiteY151" fmla="*/ 1029956 h 1240971"/>
              <a:gd name="connsiteX152" fmla="*/ 3964138 w 5737264"/>
              <a:gd name="connsiteY152" fmla="*/ 1075173 h 1240971"/>
              <a:gd name="connsiteX153" fmla="*/ 3969162 w 5737264"/>
              <a:gd name="connsiteY153" fmla="*/ 1100294 h 1240971"/>
              <a:gd name="connsiteX154" fmla="*/ 3979210 w 5737264"/>
              <a:gd name="connsiteY154" fmla="*/ 1110343 h 1240971"/>
              <a:gd name="connsiteX155" fmla="*/ 3984235 w 5737264"/>
              <a:gd name="connsiteY155" fmla="*/ 1130439 h 1240971"/>
              <a:gd name="connsiteX156" fmla="*/ 4019404 w 5737264"/>
              <a:gd name="connsiteY156" fmla="*/ 1165609 h 1240971"/>
              <a:gd name="connsiteX157" fmla="*/ 4064621 w 5737264"/>
              <a:gd name="connsiteY157" fmla="*/ 1150536 h 1240971"/>
              <a:gd name="connsiteX158" fmla="*/ 4079694 w 5737264"/>
              <a:gd name="connsiteY158" fmla="*/ 1125415 h 1240971"/>
              <a:gd name="connsiteX159" fmla="*/ 4099791 w 5737264"/>
              <a:gd name="connsiteY159" fmla="*/ 1105319 h 1240971"/>
              <a:gd name="connsiteX160" fmla="*/ 4129936 w 5737264"/>
              <a:gd name="connsiteY160" fmla="*/ 1075173 h 1240971"/>
              <a:gd name="connsiteX161" fmla="*/ 4150032 w 5737264"/>
              <a:gd name="connsiteY161" fmla="*/ 1040004 h 1240971"/>
              <a:gd name="connsiteX162" fmla="*/ 4160081 w 5737264"/>
              <a:gd name="connsiteY162" fmla="*/ 1019908 h 1240971"/>
              <a:gd name="connsiteX163" fmla="*/ 4165105 w 5737264"/>
              <a:gd name="connsiteY163" fmla="*/ 1004835 h 1240971"/>
              <a:gd name="connsiteX164" fmla="*/ 4185202 w 5737264"/>
              <a:gd name="connsiteY164" fmla="*/ 984738 h 1240971"/>
              <a:gd name="connsiteX165" fmla="*/ 4200274 w 5737264"/>
              <a:gd name="connsiteY165" fmla="*/ 979714 h 1240971"/>
              <a:gd name="connsiteX166" fmla="*/ 4235443 w 5737264"/>
              <a:gd name="connsiteY166" fmla="*/ 954593 h 1240971"/>
              <a:gd name="connsiteX167" fmla="*/ 4275637 w 5737264"/>
              <a:gd name="connsiteY167" fmla="*/ 934497 h 1240971"/>
              <a:gd name="connsiteX168" fmla="*/ 4310806 w 5737264"/>
              <a:gd name="connsiteY168" fmla="*/ 914400 h 1240971"/>
              <a:gd name="connsiteX169" fmla="*/ 4325878 w 5737264"/>
              <a:gd name="connsiteY169" fmla="*/ 904352 h 1240971"/>
              <a:gd name="connsiteX170" fmla="*/ 4381144 w 5737264"/>
              <a:gd name="connsiteY170" fmla="*/ 904352 h 1240971"/>
              <a:gd name="connsiteX171" fmla="*/ 4417099 w 5737264"/>
              <a:gd name="connsiteY171" fmla="*/ 946141 h 1240971"/>
              <a:gd name="connsiteX172" fmla="*/ 4462316 w 5737264"/>
              <a:gd name="connsiteY172" fmla="*/ 1006955 h 1240971"/>
              <a:gd name="connsiteX173" fmla="*/ 4531320 w 5737264"/>
              <a:gd name="connsiteY173" fmla="*/ 1037650 h 1240971"/>
              <a:gd name="connsiteX174" fmla="*/ 4597184 w 5737264"/>
              <a:gd name="connsiteY174" fmla="*/ 969666 h 1240971"/>
              <a:gd name="connsiteX175" fmla="*/ 4617281 w 5737264"/>
              <a:gd name="connsiteY175" fmla="*/ 959617 h 1240971"/>
              <a:gd name="connsiteX176" fmla="*/ 4632353 w 5737264"/>
              <a:gd name="connsiteY176" fmla="*/ 944545 h 1240971"/>
              <a:gd name="connsiteX177" fmla="*/ 4652450 w 5737264"/>
              <a:gd name="connsiteY177" fmla="*/ 934497 h 1240971"/>
              <a:gd name="connsiteX178" fmla="*/ 4672547 w 5737264"/>
              <a:gd name="connsiteY178" fmla="*/ 919424 h 1240971"/>
              <a:gd name="connsiteX179" fmla="*/ 4737861 w 5737264"/>
              <a:gd name="connsiteY179" fmla="*/ 884255 h 1240971"/>
              <a:gd name="connsiteX180" fmla="*/ 4762982 w 5737264"/>
              <a:gd name="connsiteY180" fmla="*/ 879231 h 1240971"/>
              <a:gd name="connsiteX181" fmla="*/ 4778054 w 5737264"/>
              <a:gd name="connsiteY181" fmla="*/ 874206 h 1240971"/>
              <a:gd name="connsiteX182" fmla="*/ 4819294 w 5737264"/>
              <a:gd name="connsiteY182" fmla="*/ 873944 h 1240971"/>
              <a:gd name="connsiteX183" fmla="*/ 4877465 w 5737264"/>
              <a:gd name="connsiteY183" fmla="*/ 895638 h 1240971"/>
              <a:gd name="connsiteX184" fmla="*/ 4935347 w 5737264"/>
              <a:gd name="connsiteY184" fmla="*/ 934523 h 1240971"/>
              <a:gd name="connsiteX185" fmla="*/ 4995402 w 5737264"/>
              <a:gd name="connsiteY185" fmla="*/ 1006746 h 1240971"/>
              <a:gd name="connsiteX186" fmla="*/ 5024762 w 5737264"/>
              <a:gd name="connsiteY186" fmla="*/ 1051963 h 1240971"/>
              <a:gd name="connsiteX187" fmla="*/ 5092223 w 5737264"/>
              <a:gd name="connsiteY187" fmla="*/ 1016506 h 1240971"/>
              <a:gd name="connsiteX188" fmla="*/ 5144322 w 5737264"/>
              <a:gd name="connsiteY188" fmla="*/ 948261 h 1240971"/>
              <a:gd name="connsiteX189" fmla="*/ 5189252 w 5737264"/>
              <a:gd name="connsiteY189" fmla="*/ 886112 h 1240971"/>
              <a:gd name="connsiteX190" fmla="*/ 5226279 w 5737264"/>
              <a:gd name="connsiteY190" fmla="*/ 856230 h 1240971"/>
              <a:gd name="connsiteX191" fmla="*/ 5260637 w 5737264"/>
              <a:gd name="connsiteY191" fmla="*/ 822918 h 1240971"/>
              <a:gd name="connsiteX192" fmla="*/ 5295282 w 5737264"/>
              <a:gd name="connsiteY192" fmla="*/ 800440 h 1240971"/>
              <a:gd name="connsiteX193" fmla="*/ 5334430 w 5737264"/>
              <a:gd name="connsiteY193" fmla="*/ 794893 h 1240971"/>
              <a:gd name="connsiteX194" fmla="*/ 5412174 w 5737264"/>
              <a:gd name="connsiteY194" fmla="*/ 824252 h 1240971"/>
              <a:gd name="connsiteX195" fmla="*/ 5431197 w 5737264"/>
              <a:gd name="connsiteY195" fmla="*/ 768699 h 1240971"/>
              <a:gd name="connsiteX196" fmla="*/ 5441246 w 5737264"/>
              <a:gd name="connsiteY196" fmla="*/ 753626 h 1240971"/>
              <a:gd name="connsiteX197" fmla="*/ 5456318 w 5737264"/>
              <a:gd name="connsiteY197" fmla="*/ 708409 h 1240971"/>
              <a:gd name="connsiteX198" fmla="*/ 5466366 w 5737264"/>
              <a:gd name="connsiteY198" fmla="*/ 683288 h 1240971"/>
              <a:gd name="connsiteX199" fmla="*/ 5476415 w 5737264"/>
              <a:gd name="connsiteY199" fmla="*/ 643094 h 1240971"/>
              <a:gd name="connsiteX200" fmla="*/ 5491487 w 5737264"/>
              <a:gd name="connsiteY200" fmla="*/ 617973 h 1240971"/>
              <a:gd name="connsiteX201" fmla="*/ 5506560 w 5737264"/>
              <a:gd name="connsiteY201" fmla="*/ 572756 h 1240971"/>
              <a:gd name="connsiteX202" fmla="*/ 5526656 w 5737264"/>
              <a:gd name="connsiteY202" fmla="*/ 522514 h 1240971"/>
              <a:gd name="connsiteX203" fmla="*/ 5546753 w 5737264"/>
              <a:gd name="connsiteY203" fmla="*/ 467248 h 1240971"/>
              <a:gd name="connsiteX204" fmla="*/ 5556802 w 5737264"/>
              <a:gd name="connsiteY204" fmla="*/ 411982 h 1240971"/>
              <a:gd name="connsiteX205" fmla="*/ 5566850 w 5737264"/>
              <a:gd name="connsiteY205" fmla="*/ 381837 h 1240971"/>
              <a:gd name="connsiteX206" fmla="*/ 5576898 w 5737264"/>
              <a:gd name="connsiteY206" fmla="*/ 356716 h 1240971"/>
              <a:gd name="connsiteX207" fmla="*/ 5596995 w 5737264"/>
              <a:gd name="connsiteY207" fmla="*/ 316523 h 1240971"/>
              <a:gd name="connsiteX208" fmla="*/ 5617092 w 5737264"/>
              <a:gd name="connsiteY208" fmla="*/ 246184 h 1240971"/>
              <a:gd name="connsiteX209" fmla="*/ 5622116 w 5737264"/>
              <a:gd name="connsiteY209" fmla="*/ 226088 h 1240971"/>
              <a:gd name="connsiteX210" fmla="*/ 5632164 w 5737264"/>
              <a:gd name="connsiteY210" fmla="*/ 216039 h 1240971"/>
              <a:gd name="connsiteX211" fmla="*/ 5637188 w 5737264"/>
              <a:gd name="connsiteY211" fmla="*/ 200967 h 1240971"/>
              <a:gd name="connsiteX212" fmla="*/ 5651738 w 5737264"/>
              <a:gd name="connsiteY212" fmla="*/ 190395 h 1240971"/>
              <a:gd name="connsiteX213" fmla="*/ 5673692 w 5737264"/>
              <a:gd name="connsiteY213" fmla="*/ 153892 h 1240971"/>
              <a:gd name="connsiteX214" fmla="*/ 5726602 w 5737264"/>
              <a:gd name="connsiteY214" fmla="*/ 89362 h 1240971"/>
              <a:gd name="connsiteX215" fmla="*/ 5728722 w 5737264"/>
              <a:gd name="connsiteY215" fmla="*/ 42287 h 1240971"/>
              <a:gd name="connsiteX216" fmla="*/ 5634284 w 5737264"/>
              <a:gd name="connsiteY216" fmla="*/ 25357 h 1240971"/>
              <a:gd name="connsiteX217" fmla="*/ 5536940 w 5737264"/>
              <a:gd name="connsiteY217" fmla="*/ 27214 h 1240971"/>
              <a:gd name="connsiteX218" fmla="*/ 5470369 w 5737264"/>
              <a:gd name="connsiteY218" fmla="*/ 39381 h 1240971"/>
              <a:gd name="connsiteX219" fmla="*/ 5379124 w 5737264"/>
              <a:gd name="connsiteY219" fmla="*/ 39644 h 1240971"/>
              <a:gd name="connsiteX220" fmla="*/ 5309282 w 5737264"/>
              <a:gd name="connsiteY220" fmla="*/ 42287 h 1240971"/>
              <a:gd name="connsiteX221" fmla="*/ 5238682 w 5737264"/>
              <a:gd name="connsiteY221" fmla="*/ 54455 h 1240971"/>
              <a:gd name="connsiteX222" fmla="*/ 5108892 w 5737264"/>
              <a:gd name="connsiteY222" fmla="*/ 37524 h 1240971"/>
              <a:gd name="connsiteX223" fmla="*/ 5020026 w 5737264"/>
              <a:gd name="connsiteY223" fmla="*/ 39120 h 1240971"/>
              <a:gd name="connsiteX224" fmla="*/ 4946233 w 5737264"/>
              <a:gd name="connsiteY224" fmla="*/ 41240 h 1240971"/>
              <a:gd name="connsiteX225" fmla="*/ 4823272 w 5737264"/>
              <a:gd name="connsiteY225" fmla="*/ 50242 h 1240971"/>
              <a:gd name="connsiteX226" fmla="*/ 4727577 w 5737264"/>
              <a:gd name="connsiteY226" fmla="*/ 29073 h 1240971"/>
              <a:gd name="connsiteX227" fmla="*/ 4628376 w 5737264"/>
              <a:gd name="connsiteY227" fmla="*/ 41240 h 1240971"/>
              <a:gd name="connsiteX228" fmla="*/ 4565180 w 5737264"/>
              <a:gd name="connsiteY228" fmla="*/ 46264 h 1240971"/>
              <a:gd name="connsiteX229" fmla="*/ 4417596 w 5737264"/>
              <a:gd name="connsiteY229" fmla="*/ 44406 h 1240971"/>
              <a:gd name="connsiteX230" fmla="*/ 4139984 w 5737264"/>
              <a:gd name="connsiteY230" fmla="*/ 60290 h 1240971"/>
              <a:gd name="connsiteX231" fmla="*/ 3918920 w 5737264"/>
              <a:gd name="connsiteY231" fmla="*/ 50242 h 1240971"/>
              <a:gd name="connsiteX232" fmla="*/ 3873703 w 5737264"/>
              <a:gd name="connsiteY232" fmla="*/ 45217 h 1240971"/>
              <a:gd name="connsiteX233" fmla="*/ 3687808 w 5737264"/>
              <a:gd name="connsiteY233" fmla="*/ 40193 h 1240971"/>
              <a:gd name="connsiteX234" fmla="*/ 3662687 w 5737264"/>
              <a:gd name="connsiteY234" fmla="*/ 35169 h 1240971"/>
              <a:gd name="connsiteX235" fmla="*/ 3627518 w 5737264"/>
              <a:gd name="connsiteY235" fmla="*/ 25121 h 1240971"/>
              <a:gd name="connsiteX236" fmla="*/ 3547131 w 5737264"/>
              <a:gd name="connsiteY236" fmla="*/ 20097 h 1240971"/>
              <a:gd name="connsiteX237" fmla="*/ 3310995 w 5737264"/>
              <a:gd name="connsiteY237" fmla="*/ 25121 h 1240971"/>
              <a:gd name="connsiteX238" fmla="*/ 3265777 w 5737264"/>
              <a:gd name="connsiteY238" fmla="*/ 30145 h 1240971"/>
              <a:gd name="connsiteX239" fmla="*/ 3175342 w 5737264"/>
              <a:gd name="connsiteY239" fmla="*/ 35169 h 1240971"/>
              <a:gd name="connsiteX240" fmla="*/ 2582489 w 5737264"/>
              <a:gd name="connsiteY240" fmla="*/ 45217 h 1240971"/>
              <a:gd name="connsiteX241" fmla="*/ 2255918 w 5737264"/>
              <a:gd name="connsiteY241" fmla="*/ 40193 h 1240971"/>
              <a:gd name="connsiteX242" fmla="*/ 1974564 w 5737264"/>
              <a:gd name="connsiteY242" fmla="*/ 30145 h 1240971"/>
              <a:gd name="connsiteX243" fmla="*/ 1944419 w 5737264"/>
              <a:gd name="connsiteY243" fmla="*/ 25121 h 1240971"/>
              <a:gd name="connsiteX244" fmla="*/ 1848960 w 5737264"/>
              <a:gd name="connsiteY244" fmla="*/ 20097 h 1240971"/>
              <a:gd name="connsiteX245" fmla="*/ 1768573 w 5737264"/>
              <a:gd name="connsiteY245" fmla="*/ 10048 h 1240971"/>
              <a:gd name="connsiteX246" fmla="*/ 1502292 w 5737264"/>
              <a:gd name="connsiteY246" fmla="*/ 20097 h 1240971"/>
              <a:gd name="connsiteX247" fmla="*/ 1467122 w 5737264"/>
              <a:gd name="connsiteY247" fmla="*/ 25121 h 1240971"/>
              <a:gd name="connsiteX248" fmla="*/ 1426929 w 5737264"/>
              <a:gd name="connsiteY248" fmla="*/ 30145 h 1240971"/>
              <a:gd name="connsiteX249" fmla="*/ 1341518 w 5737264"/>
              <a:gd name="connsiteY249" fmla="*/ 45217 h 1240971"/>
              <a:gd name="connsiteX250" fmla="*/ 1095333 w 5737264"/>
              <a:gd name="connsiteY250" fmla="*/ 35169 h 1240971"/>
              <a:gd name="connsiteX251" fmla="*/ 979777 w 5737264"/>
              <a:gd name="connsiteY251" fmla="*/ 20097 h 1240971"/>
              <a:gd name="connsiteX252" fmla="*/ 939584 w 5737264"/>
              <a:gd name="connsiteY252" fmla="*/ 10048 h 1240971"/>
              <a:gd name="connsiteX253" fmla="*/ 813980 w 5737264"/>
              <a:gd name="connsiteY253" fmla="*/ 0 h 1240971"/>
              <a:gd name="connsiteX254" fmla="*/ 743641 w 5737264"/>
              <a:gd name="connsiteY254" fmla="*/ 5024 h 1240971"/>
              <a:gd name="connsiteX255" fmla="*/ 582867 w 5737264"/>
              <a:gd name="connsiteY255" fmla="*/ 15072 h 1240971"/>
              <a:gd name="connsiteX256" fmla="*/ 432142 w 5737264"/>
              <a:gd name="connsiteY256" fmla="*/ 5024 h 1240971"/>
              <a:gd name="connsiteX257" fmla="*/ 412046 w 5737264"/>
              <a:gd name="connsiteY257" fmla="*/ 0 h 1240971"/>
              <a:gd name="connsiteX258" fmla="*/ 281417 w 5737264"/>
              <a:gd name="connsiteY258" fmla="*/ 10048 h 1240971"/>
              <a:gd name="connsiteX259" fmla="*/ 261320 w 5737264"/>
              <a:gd name="connsiteY259" fmla="*/ 15072 h 1240971"/>
              <a:gd name="connsiteX260" fmla="*/ 100547 w 5737264"/>
              <a:gd name="connsiteY260" fmla="*/ 20097 h 1240971"/>
              <a:gd name="connsiteX261" fmla="*/ 5087 w 5737264"/>
              <a:gd name="connsiteY261"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58630 w 5737264"/>
              <a:gd name="connsiteY148" fmla="*/ 1009859 h 1240971"/>
              <a:gd name="connsiteX149" fmla="*/ 3873703 w 5737264"/>
              <a:gd name="connsiteY149" fmla="*/ 1004835 h 1240971"/>
              <a:gd name="connsiteX150" fmla="*/ 3923944 w 5737264"/>
              <a:gd name="connsiteY150" fmla="*/ 1014883 h 1240971"/>
              <a:gd name="connsiteX151" fmla="*/ 3933993 w 5737264"/>
              <a:gd name="connsiteY151" fmla="*/ 1029956 h 1240971"/>
              <a:gd name="connsiteX152" fmla="*/ 3964138 w 5737264"/>
              <a:gd name="connsiteY152" fmla="*/ 1075173 h 1240971"/>
              <a:gd name="connsiteX153" fmla="*/ 3969162 w 5737264"/>
              <a:gd name="connsiteY153" fmla="*/ 1100294 h 1240971"/>
              <a:gd name="connsiteX154" fmla="*/ 3979210 w 5737264"/>
              <a:gd name="connsiteY154" fmla="*/ 1110343 h 1240971"/>
              <a:gd name="connsiteX155" fmla="*/ 3984235 w 5737264"/>
              <a:gd name="connsiteY155" fmla="*/ 1130439 h 1240971"/>
              <a:gd name="connsiteX156" fmla="*/ 4019404 w 5737264"/>
              <a:gd name="connsiteY156" fmla="*/ 1165609 h 1240971"/>
              <a:gd name="connsiteX157" fmla="*/ 4064621 w 5737264"/>
              <a:gd name="connsiteY157" fmla="*/ 1150536 h 1240971"/>
              <a:gd name="connsiteX158" fmla="*/ 4079694 w 5737264"/>
              <a:gd name="connsiteY158" fmla="*/ 1125415 h 1240971"/>
              <a:gd name="connsiteX159" fmla="*/ 4099791 w 5737264"/>
              <a:gd name="connsiteY159" fmla="*/ 1105319 h 1240971"/>
              <a:gd name="connsiteX160" fmla="*/ 4129936 w 5737264"/>
              <a:gd name="connsiteY160" fmla="*/ 1075173 h 1240971"/>
              <a:gd name="connsiteX161" fmla="*/ 4150032 w 5737264"/>
              <a:gd name="connsiteY161" fmla="*/ 1040004 h 1240971"/>
              <a:gd name="connsiteX162" fmla="*/ 4160081 w 5737264"/>
              <a:gd name="connsiteY162" fmla="*/ 1019908 h 1240971"/>
              <a:gd name="connsiteX163" fmla="*/ 4165105 w 5737264"/>
              <a:gd name="connsiteY163" fmla="*/ 1004835 h 1240971"/>
              <a:gd name="connsiteX164" fmla="*/ 4185202 w 5737264"/>
              <a:gd name="connsiteY164" fmla="*/ 984738 h 1240971"/>
              <a:gd name="connsiteX165" fmla="*/ 4200274 w 5737264"/>
              <a:gd name="connsiteY165" fmla="*/ 979714 h 1240971"/>
              <a:gd name="connsiteX166" fmla="*/ 4235443 w 5737264"/>
              <a:gd name="connsiteY166" fmla="*/ 954593 h 1240971"/>
              <a:gd name="connsiteX167" fmla="*/ 4275637 w 5737264"/>
              <a:gd name="connsiteY167" fmla="*/ 934497 h 1240971"/>
              <a:gd name="connsiteX168" fmla="*/ 4310806 w 5737264"/>
              <a:gd name="connsiteY168" fmla="*/ 914400 h 1240971"/>
              <a:gd name="connsiteX169" fmla="*/ 4325878 w 5737264"/>
              <a:gd name="connsiteY169" fmla="*/ 904352 h 1240971"/>
              <a:gd name="connsiteX170" fmla="*/ 4362094 w 5737264"/>
              <a:gd name="connsiteY170" fmla="*/ 909114 h 1240971"/>
              <a:gd name="connsiteX171" fmla="*/ 4417099 w 5737264"/>
              <a:gd name="connsiteY171" fmla="*/ 946141 h 1240971"/>
              <a:gd name="connsiteX172" fmla="*/ 4462316 w 5737264"/>
              <a:gd name="connsiteY172" fmla="*/ 1006955 h 1240971"/>
              <a:gd name="connsiteX173" fmla="*/ 4531320 w 5737264"/>
              <a:gd name="connsiteY173" fmla="*/ 1037650 h 1240971"/>
              <a:gd name="connsiteX174" fmla="*/ 4597184 w 5737264"/>
              <a:gd name="connsiteY174" fmla="*/ 969666 h 1240971"/>
              <a:gd name="connsiteX175" fmla="*/ 4617281 w 5737264"/>
              <a:gd name="connsiteY175" fmla="*/ 959617 h 1240971"/>
              <a:gd name="connsiteX176" fmla="*/ 4632353 w 5737264"/>
              <a:gd name="connsiteY176" fmla="*/ 944545 h 1240971"/>
              <a:gd name="connsiteX177" fmla="*/ 4652450 w 5737264"/>
              <a:gd name="connsiteY177" fmla="*/ 934497 h 1240971"/>
              <a:gd name="connsiteX178" fmla="*/ 4672547 w 5737264"/>
              <a:gd name="connsiteY178" fmla="*/ 919424 h 1240971"/>
              <a:gd name="connsiteX179" fmla="*/ 4737861 w 5737264"/>
              <a:gd name="connsiteY179" fmla="*/ 884255 h 1240971"/>
              <a:gd name="connsiteX180" fmla="*/ 4762982 w 5737264"/>
              <a:gd name="connsiteY180" fmla="*/ 879231 h 1240971"/>
              <a:gd name="connsiteX181" fmla="*/ 4778054 w 5737264"/>
              <a:gd name="connsiteY181" fmla="*/ 874206 h 1240971"/>
              <a:gd name="connsiteX182" fmla="*/ 4819294 w 5737264"/>
              <a:gd name="connsiteY182" fmla="*/ 873944 h 1240971"/>
              <a:gd name="connsiteX183" fmla="*/ 4877465 w 5737264"/>
              <a:gd name="connsiteY183" fmla="*/ 895638 h 1240971"/>
              <a:gd name="connsiteX184" fmla="*/ 4935347 w 5737264"/>
              <a:gd name="connsiteY184" fmla="*/ 934523 h 1240971"/>
              <a:gd name="connsiteX185" fmla="*/ 4995402 w 5737264"/>
              <a:gd name="connsiteY185" fmla="*/ 1006746 h 1240971"/>
              <a:gd name="connsiteX186" fmla="*/ 5024762 w 5737264"/>
              <a:gd name="connsiteY186" fmla="*/ 1051963 h 1240971"/>
              <a:gd name="connsiteX187" fmla="*/ 5092223 w 5737264"/>
              <a:gd name="connsiteY187" fmla="*/ 1016506 h 1240971"/>
              <a:gd name="connsiteX188" fmla="*/ 5144322 w 5737264"/>
              <a:gd name="connsiteY188" fmla="*/ 948261 h 1240971"/>
              <a:gd name="connsiteX189" fmla="*/ 5189252 w 5737264"/>
              <a:gd name="connsiteY189" fmla="*/ 886112 h 1240971"/>
              <a:gd name="connsiteX190" fmla="*/ 5226279 w 5737264"/>
              <a:gd name="connsiteY190" fmla="*/ 856230 h 1240971"/>
              <a:gd name="connsiteX191" fmla="*/ 5260637 w 5737264"/>
              <a:gd name="connsiteY191" fmla="*/ 822918 h 1240971"/>
              <a:gd name="connsiteX192" fmla="*/ 5295282 w 5737264"/>
              <a:gd name="connsiteY192" fmla="*/ 800440 h 1240971"/>
              <a:gd name="connsiteX193" fmla="*/ 5334430 w 5737264"/>
              <a:gd name="connsiteY193" fmla="*/ 794893 h 1240971"/>
              <a:gd name="connsiteX194" fmla="*/ 5412174 w 5737264"/>
              <a:gd name="connsiteY194" fmla="*/ 824252 h 1240971"/>
              <a:gd name="connsiteX195" fmla="*/ 5431197 w 5737264"/>
              <a:gd name="connsiteY195" fmla="*/ 768699 h 1240971"/>
              <a:gd name="connsiteX196" fmla="*/ 5441246 w 5737264"/>
              <a:gd name="connsiteY196" fmla="*/ 753626 h 1240971"/>
              <a:gd name="connsiteX197" fmla="*/ 5456318 w 5737264"/>
              <a:gd name="connsiteY197" fmla="*/ 708409 h 1240971"/>
              <a:gd name="connsiteX198" fmla="*/ 5466366 w 5737264"/>
              <a:gd name="connsiteY198" fmla="*/ 683288 h 1240971"/>
              <a:gd name="connsiteX199" fmla="*/ 5476415 w 5737264"/>
              <a:gd name="connsiteY199" fmla="*/ 643094 h 1240971"/>
              <a:gd name="connsiteX200" fmla="*/ 5491487 w 5737264"/>
              <a:gd name="connsiteY200" fmla="*/ 617973 h 1240971"/>
              <a:gd name="connsiteX201" fmla="*/ 5506560 w 5737264"/>
              <a:gd name="connsiteY201" fmla="*/ 572756 h 1240971"/>
              <a:gd name="connsiteX202" fmla="*/ 5526656 w 5737264"/>
              <a:gd name="connsiteY202" fmla="*/ 522514 h 1240971"/>
              <a:gd name="connsiteX203" fmla="*/ 5546753 w 5737264"/>
              <a:gd name="connsiteY203" fmla="*/ 467248 h 1240971"/>
              <a:gd name="connsiteX204" fmla="*/ 5556802 w 5737264"/>
              <a:gd name="connsiteY204" fmla="*/ 411982 h 1240971"/>
              <a:gd name="connsiteX205" fmla="*/ 5566850 w 5737264"/>
              <a:gd name="connsiteY205" fmla="*/ 381837 h 1240971"/>
              <a:gd name="connsiteX206" fmla="*/ 5576898 w 5737264"/>
              <a:gd name="connsiteY206" fmla="*/ 356716 h 1240971"/>
              <a:gd name="connsiteX207" fmla="*/ 5596995 w 5737264"/>
              <a:gd name="connsiteY207" fmla="*/ 316523 h 1240971"/>
              <a:gd name="connsiteX208" fmla="*/ 5617092 w 5737264"/>
              <a:gd name="connsiteY208" fmla="*/ 246184 h 1240971"/>
              <a:gd name="connsiteX209" fmla="*/ 5622116 w 5737264"/>
              <a:gd name="connsiteY209" fmla="*/ 226088 h 1240971"/>
              <a:gd name="connsiteX210" fmla="*/ 5632164 w 5737264"/>
              <a:gd name="connsiteY210" fmla="*/ 216039 h 1240971"/>
              <a:gd name="connsiteX211" fmla="*/ 5637188 w 5737264"/>
              <a:gd name="connsiteY211" fmla="*/ 200967 h 1240971"/>
              <a:gd name="connsiteX212" fmla="*/ 5651738 w 5737264"/>
              <a:gd name="connsiteY212" fmla="*/ 190395 h 1240971"/>
              <a:gd name="connsiteX213" fmla="*/ 5673692 w 5737264"/>
              <a:gd name="connsiteY213" fmla="*/ 153892 h 1240971"/>
              <a:gd name="connsiteX214" fmla="*/ 5726602 w 5737264"/>
              <a:gd name="connsiteY214" fmla="*/ 89362 h 1240971"/>
              <a:gd name="connsiteX215" fmla="*/ 5728722 w 5737264"/>
              <a:gd name="connsiteY215" fmla="*/ 42287 h 1240971"/>
              <a:gd name="connsiteX216" fmla="*/ 5634284 w 5737264"/>
              <a:gd name="connsiteY216" fmla="*/ 25357 h 1240971"/>
              <a:gd name="connsiteX217" fmla="*/ 5536940 w 5737264"/>
              <a:gd name="connsiteY217" fmla="*/ 27214 h 1240971"/>
              <a:gd name="connsiteX218" fmla="*/ 5470369 w 5737264"/>
              <a:gd name="connsiteY218" fmla="*/ 39381 h 1240971"/>
              <a:gd name="connsiteX219" fmla="*/ 5379124 w 5737264"/>
              <a:gd name="connsiteY219" fmla="*/ 39644 h 1240971"/>
              <a:gd name="connsiteX220" fmla="*/ 5309282 w 5737264"/>
              <a:gd name="connsiteY220" fmla="*/ 42287 h 1240971"/>
              <a:gd name="connsiteX221" fmla="*/ 5238682 w 5737264"/>
              <a:gd name="connsiteY221" fmla="*/ 54455 h 1240971"/>
              <a:gd name="connsiteX222" fmla="*/ 5108892 w 5737264"/>
              <a:gd name="connsiteY222" fmla="*/ 37524 h 1240971"/>
              <a:gd name="connsiteX223" fmla="*/ 5020026 w 5737264"/>
              <a:gd name="connsiteY223" fmla="*/ 39120 h 1240971"/>
              <a:gd name="connsiteX224" fmla="*/ 4946233 w 5737264"/>
              <a:gd name="connsiteY224" fmla="*/ 41240 h 1240971"/>
              <a:gd name="connsiteX225" fmla="*/ 4823272 w 5737264"/>
              <a:gd name="connsiteY225" fmla="*/ 50242 h 1240971"/>
              <a:gd name="connsiteX226" fmla="*/ 4727577 w 5737264"/>
              <a:gd name="connsiteY226" fmla="*/ 29073 h 1240971"/>
              <a:gd name="connsiteX227" fmla="*/ 4628376 w 5737264"/>
              <a:gd name="connsiteY227" fmla="*/ 41240 h 1240971"/>
              <a:gd name="connsiteX228" fmla="*/ 4565180 w 5737264"/>
              <a:gd name="connsiteY228" fmla="*/ 46264 h 1240971"/>
              <a:gd name="connsiteX229" fmla="*/ 4417596 w 5737264"/>
              <a:gd name="connsiteY229" fmla="*/ 44406 h 1240971"/>
              <a:gd name="connsiteX230" fmla="*/ 4139984 w 5737264"/>
              <a:gd name="connsiteY230" fmla="*/ 60290 h 1240971"/>
              <a:gd name="connsiteX231" fmla="*/ 3918920 w 5737264"/>
              <a:gd name="connsiteY231" fmla="*/ 50242 h 1240971"/>
              <a:gd name="connsiteX232" fmla="*/ 3873703 w 5737264"/>
              <a:gd name="connsiteY232" fmla="*/ 45217 h 1240971"/>
              <a:gd name="connsiteX233" fmla="*/ 3687808 w 5737264"/>
              <a:gd name="connsiteY233" fmla="*/ 40193 h 1240971"/>
              <a:gd name="connsiteX234" fmla="*/ 3662687 w 5737264"/>
              <a:gd name="connsiteY234" fmla="*/ 35169 h 1240971"/>
              <a:gd name="connsiteX235" fmla="*/ 3627518 w 5737264"/>
              <a:gd name="connsiteY235" fmla="*/ 25121 h 1240971"/>
              <a:gd name="connsiteX236" fmla="*/ 3547131 w 5737264"/>
              <a:gd name="connsiteY236" fmla="*/ 20097 h 1240971"/>
              <a:gd name="connsiteX237" fmla="*/ 3310995 w 5737264"/>
              <a:gd name="connsiteY237" fmla="*/ 25121 h 1240971"/>
              <a:gd name="connsiteX238" fmla="*/ 3265777 w 5737264"/>
              <a:gd name="connsiteY238" fmla="*/ 30145 h 1240971"/>
              <a:gd name="connsiteX239" fmla="*/ 3175342 w 5737264"/>
              <a:gd name="connsiteY239" fmla="*/ 35169 h 1240971"/>
              <a:gd name="connsiteX240" fmla="*/ 2582489 w 5737264"/>
              <a:gd name="connsiteY240" fmla="*/ 45217 h 1240971"/>
              <a:gd name="connsiteX241" fmla="*/ 2255918 w 5737264"/>
              <a:gd name="connsiteY241" fmla="*/ 40193 h 1240971"/>
              <a:gd name="connsiteX242" fmla="*/ 1974564 w 5737264"/>
              <a:gd name="connsiteY242" fmla="*/ 30145 h 1240971"/>
              <a:gd name="connsiteX243" fmla="*/ 1944419 w 5737264"/>
              <a:gd name="connsiteY243" fmla="*/ 25121 h 1240971"/>
              <a:gd name="connsiteX244" fmla="*/ 1848960 w 5737264"/>
              <a:gd name="connsiteY244" fmla="*/ 20097 h 1240971"/>
              <a:gd name="connsiteX245" fmla="*/ 1768573 w 5737264"/>
              <a:gd name="connsiteY245" fmla="*/ 10048 h 1240971"/>
              <a:gd name="connsiteX246" fmla="*/ 1502292 w 5737264"/>
              <a:gd name="connsiteY246" fmla="*/ 20097 h 1240971"/>
              <a:gd name="connsiteX247" fmla="*/ 1467122 w 5737264"/>
              <a:gd name="connsiteY247" fmla="*/ 25121 h 1240971"/>
              <a:gd name="connsiteX248" fmla="*/ 1426929 w 5737264"/>
              <a:gd name="connsiteY248" fmla="*/ 30145 h 1240971"/>
              <a:gd name="connsiteX249" fmla="*/ 1341518 w 5737264"/>
              <a:gd name="connsiteY249" fmla="*/ 45217 h 1240971"/>
              <a:gd name="connsiteX250" fmla="*/ 1095333 w 5737264"/>
              <a:gd name="connsiteY250" fmla="*/ 35169 h 1240971"/>
              <a:gd name="connsiteX251" fmla="*/ 979777 w 5737264"/>
              <a:gd name="connsiteY251" fmla="*/ 20097 h 1240971"/>
              <a:gd name="connsiteX252" fmla="*/ 939584 w 5737264"/>
              <a:gd name="connsiteY252" fmla="*/ 10048 h 1240971"/>
              <a:gd name="connsiteX253" fmla="*/ 813980 w 5737264"/>
              <a:gd name="connsiteY253" fmla="*/ 0 h 1240971"/>
              <a:gd name="connsiteX254" fmla="*/ 743641 w 5737264"/>
              <a:gd name="connsiteY254" fmla="*/ 5024 h 1240971"/>
              <a:gd name="connsiteX255" fmla="*/ 582867 w 5737264"/>
              <a:gd name="connsiteY255" fmla="*/ 15072 h 1240971"/>
              <a:gd name="connsiteX256" fmla="*/ 432142 w 5737264"/>
              <a:gd name="connsiteY256" fmla="*/ 5024 h 1240971"/>
              <a:gd name="connsiteX257" fmla="*/ 412046 w 5737264"/>
              <a:gd name="connsiteY257" fmla="*/ 0 h 1240971"/>
              <a:gd name="connsiteX258" fmla="*/ 281417 w 5737264"/>
              <a:gd name="connsiteY258" fmla="*/ 10048 h 1240971"/>
              <a:gd name="connsiteX259" fmla="*/ 261320 w 5737264"/>
              <a:gd name="connsiteY259" fmla="*/ 15072 h 1240971"/>
              <a:gd name="connsiteX260" fmla="*/ 100547 w 5737264"/>
              <a:gd name="connsiteY260" fmla="*/ 20097 h 1240971"/>
              <a:gd name="connsiteX261" fmla="*/ 5087 w 5737264"/>
              <a:gd name="connsiteY261"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58630 w 5737264"/>
              <a:gd name="connsiteY148" fmla="*/ 1009859 h 1240971"/>
              <a:gd name="connsiteX149" fmla="*/ 3923944 w 5737264"/>
              <a:gd name="connsiteY149" fmla="*/ 1014883 h 1240971"/>
              <a:gd name="connsiteX150" fmla="*/ 3933993 w 5737264"/>
              <a:gd name="connsiteY150" fmla="*/ 1029956 h 1240971"/>
              <a:gd name="connsiteX151" fmla="*/ 3964138 w 5737264"/>
              <a:gd name="connsiteY151" fmla="*/ 1075173 h 1240971"/>
              <a:gd name="connsiteX152" fmla="*/ 3969162 w 5737264"/>
              <a:gd name="connsiteY152" fmla="*/ 1100294 h 1240971"/>
              <a:gd name="connsiteX153" fmla="*/ 3979210 w 5737264"/>
              <a:gd name="connsiteY153" fmla="*/ 1110343 h 1240971"/>
              <a:gd name="connsiteX154" fmla="*/ 3984235 w 5737264"/>
              <a:gd name="connsiteY154" fmla="*/ 1130439 h 1240971"/>
              <a:gd name="connsiteX155" fmla="*/ 4019404 w 5737264"/>
              <a:gd name="connsiteY155" fmla="*/ 1165609 h 1240971"/>
              <a:gd name="connsiteX156" fmla="*/ 4064621 w 5737264"/>
              <a:gd name="connsiteY156" fmla="*/ 1150536 h 1240971"/>
              <a:gd name="connsiteX157" fmla="*/ 4079694 w 5737264"/>
              <a:gd name="connsiteY157" fmla="*/ 1125415 h 1240971"/>
              <a:gd name="connsiteX158" fmla="*/ 4099791 w 5737264"/>
              <a:gd name="connsiteY158" fmla="*/ 1105319 h 1240971"/>
              <a:gd name="connsiteX159" fmla="*/ 4129936 w 5737264"/>
              <a:gd name="connsiteY159" fmla="*/ 1075173 h 1240971"/>
              <a:gd name="connsiteX160" fmla="*/ 4150032 w 5737264"/>
              <a:gd name="connsiteY160" fmla="*/ 1040004 h 1240971"/>
              <a:gd name="connsiteX161" fmla="*/ 4160081 w 5737264"/>
              <a:gd name="connsiteY161" fmla="*/ 1019908 h 1240971"/>
              <a:gd name="connsiteX162" fmla="*/ 4165105 w 5737264"/>
              <a:gd name="connsiteY162" fmla="*/ 1004835 h 1240971"/>
              <a:gd name="connsiteX163" fmla="*/ 4185202 w 5737264"/>
              <a:gd name="connsiteY163" fmla="*/ 984738 h 1240971"/>
              <a:gd name="connsiteX164" fmla="*/ 4200274 w 5737264"/>
              <a:gd name="connsiteY164" fmla="*/ 979714 h 1240971"/>
              <a:gd name="connsiteX165" fmla="*/ 4235443 w 5737264"/>
              <a:gd name="connsiteY165" fmla="*/ 954593 h 1240971"/>
              <a:gd name="connsiteX166" fmla="*/ 4275637 w 5737264"/>
              <a:gd name="connsiteY166" fmla="*/ 934497 h 1240971"/>
              <a:gd name="connsiteX167" fmla="*/ 4310806 w 5737264"/>
              <a:gd name="connsiteY167" fmla="*/ 914400 h 1240971"/>
              <a:gd name="connsiteX168" fmla="*/ 4325878 w 5737264"/>
              <a:gd name="connsiteY168" fmla="*/ 904352 h 1240971"/>
              <a:gd name="connsiteX169" fmla="*/ 4362094 w 5737264"/>
              <a:gd name="connsiteY169" fmla="*/ 909114 h 1240971"/>
              <a:gd name="connsiteX170" fmla="*/ 4417099 w 5737264"/>
              <a:gd name="connsiteY170" fmla="*/ 946141 h 1240971"/>
              <a:gd name="connsiteX171" fmla="*/ 4462316 w 5737264"/>
              <a:gd name="connsiteY171" fmla="*/ 1006955 h 1240971"/>
              <a:gd name="connsiteX172" fmla="*/ 4531320 w 5737264"/>
              <a:gd name="connsiteY172" fmla="*/ 1037650 h 1240971"/>
              <a:gd name="connsiteX173" fmla="*/ 4597184 w 5737264"/>
              <a:gd name="connsiteY173" fmla="*/ 969666 h 1240971"/>
              <a:gd name="connsiteX174" fmla="*/ 4617281 w 5737264"/>
              <a:gd name="connsiteY174" fmla="*/ 959617 h 1240971"/>
              <a:gd name="connsiteX175" fmla="*/ 4632353 w 5737264"/>
              <a:gd name="connsiteY175" fmla="*/ 944545 h 1240971"/>
              <a:gd name="connsiteX176" fmla="*/ 4652450 w 5737264"/>
              <a:gd name="connsiteY176" fmla="*/ 934497 h 1240971"/>
              <a:gd name="connsiteX177" fmla="*/ 4672547 w 5737264"/>
              <a:gd name="connsiteY177" fmla="*/ 919424 h 1240971"/>
              <a:gd name="connsiteX178" fmla="*/ 4737861 w 5737264"/>
              <a:gd name="connsiteY178" fmla="*/ 884255 h 1240971"/>
              <a:gd name="connsiteX179" fmla="*/ 4762982 w 5737264"/>
              <a:gd name="connsiteY179" fmla="*/ 879231 h 1240971"/>
              <a:gd name="connsiteX180" fmla="*/ 4778054 w 5737264"/>
              <a:gd name="connsiteY180" fmla="*/ 874206 h 1240971"/>
              <a:gd name="connsiteX181" fmla="*/ 4819294 w 5737264"/>
              <a:gd name="connsiteY181" fmla="*/ 873944 h 1240971"/>
              <a:gd name="connsiteX182" fmla="*/ 4877465 w 5737264"/>
              <a:gd name="connsiteY182" fmla="*/ 895638 h 1240971"/>
              <a:gd name="connsiteX183" fmla="*/ 4935347 w 5737264"/>
              <a:gd name="connsiteY183" fmla="*/ 934523 h 1240971"/>
              <a:gd name="connsiteX184" fmla="*/ 4995402 w 5737264"/>
              <a:gd name="connsiteY184" fmla="*/ 1006746 h 1240971"/>
              <a:gd name="connsiteX185" fmla="*/ 5024762 w 5737264"/>
              <a:gd name="connsiteY185" fmla="*/ 1051963 h 1240971"/>
              <a:gd name="connsiteX186" fmla="*/ 5092223 w 5737264"/>
              <a:gd name="connsiteY186" fmla="*/ 1016506 h 1240971"/>
              <a:gd name="connsiteX187" fmla="*/ 5144322 w 5737264"/>
              <a:gd name="connsiteY187" fmla="*/ 948261 h 1240971"/>
              <a:gd name="connsiteX188" fmla="*/ 5189252 w 5737264"/>
              <a:gd name="connsiteY188" fmla="*/ 886112 h 1240971"/>
              <a:gd name="connsiteX189" fmla="*/ 5226279 w 5737264"/>
              <a:gd name="connsiteY189" fmla="*/ 856230 h 1240971"/>
              <a:gd name="connsiteX190" fmla="*/ 5260637 w 5737264"/>
              <a:gd name="connsiteY190" fmla="*/ 822918 h 1240971"/>
              <a:gd name="connsiteX191" fmla="*/ 5295282 w 5737264"/>
              <a:gd name="connsiteY191" fmla="*/ 800440 h 1240971"/>
              <a:gd name="connsiteX192" fmla="*/ 5334430 w 5737264"/>
              <a:gd name="connsiteY192" fmla="*/ 794893 h 1240971"/>
              <a:gd name="connsiteX193" fmla="*/ 5412174 w 5737264"/>
              <a:gd name="connsiteY193" fmla="*/ 824252 h 1240971"/>
              <a:gd name="connsiteX194" fmla="*/ 5431197 w 5737264"/>
              <a:gd name="connsiteY194" fmla="*/ 768699 h 1240971"/>
              <a:gd name="connsiteX195" fmla="*/ 5441246 w 5737264"/>
              <a:gd name="connsiteY195" fmla="*/ 753626 h 1240971"/>
              <a:gd name="connsiteX196" fmla="*/ 5456318 w 5737264"/>
              <a:gd name="connsiteY196" fmla="*/ 708409 h 1240971"/>
              <a:gd name="connsiteX197" fmla="*/ 5466366 w 5737264"/>
              <a:gd name="connsiteY197" fmla="*/ 683288 h 1240971"/>
              <a:gd name="connsiteX198" fmla="*/ 5476415 w 5737264"/>
              <a:gd name="connsiteY198" fmla="*/ 643094 h 1240971"/>
              <a:gd name="connsiteX199" fmla="*/ 5491487 w 5737264"/>
              <a:gd name="connsiteY199" fmla="*/ 617973 h 1240971"/>
              <a:gd name="connsiteX200" fmla="*/ 5506560 w 5737264"/>
              <a:gd name="connsiteY200" fmla="*/ 572756 h 1240971"/>
              <a:gd name="connsiteX201" fmla="*/ 5526656 w 5737264"/>
              <a:gd name="connsiteY201" fmla="*/ 522514 h 1240971"/>
              <a:gd name="connsiteX202" fmla="*/ 5546753 w 5737264"/>
              <a:gd name="connsiteY202" fmla="*/ 467248 h 1240971"/>
              <a:gd name="connsiteX203" fmla="*/ 5556802 w 5737264"/>
              <a:gd name="connsiteY203" fmla="*/ 411982 h 1240971"/>
              <a:gd name="connsiteX204" fmla="*/ 5566850 w 5737264"/>
              <a:gd name="connsiteY204" fmla="*/ 381837 h 1240971"/>
              <a:gd name="connsiteX205" fmla="*/ 5576898 w 5737264"/>
              <a:gd name="connsiteY205" fmla="*/ 356716 h 1240971"/>
              <a:gd name="connsiteX206" fmla="*/ 5596995 w 5737264"/>
              <a:gd name="connsiteY206" fmla="*/ 316523 h 1240971"/>
              <a:gd name="connsiteX207" fmla="*/ 5617092 w 5737264"/>
              <a:gd name="connsiteY207" fmla="*/ 246184 h 1240971"/>
              <a:gd name="connsiteX208" fmla="*/ 5622116 w 5737264"/>
              <a:gd name="connsiteY208" fmla="*/ 226088 h 1240971"/>
              <a:gd name="connsiteX209" fmla="*/ 5632164 w 5737264"/>
              <a:gd name="connsiteY209" fmla="*/ 216039 h 1240971"/>
              <a:gd name="connsiteX210" fmla="*/ 5637188 w 5737264"/>
              <a:gd name="connsiteY210" fmla="*/ 200967 h 1240971"/>
              <a:gd name="connsiteX211" fmla="*/ 5651738 w 5737264"/>
              <a:gd name="connsiteY211" fmla="*/ 190395 h 1240971"/>
              <a:gd name="connsiteX212" fmla="*/ 5673692 w 5737264"/>
              <a:gd name="connsiteY212" fmla="*/ 153892 h 1240971"/>
              <a:gd name="connsiteX213" fmla="*/ 5726602 w 5737264"/>
              <a:gd name="connsiteY213" fmla="*/ 89362 h 1240971"/>
              <a:gd name="connsiteX214" fmla="*/ 5728722 w 5737264"/>
              <a:gd name="connsiteY214" fmla="*/ 42287 h 1240971"/>
              <a:gd name="connsiteX215" fmla="*/ 5634284 w 5737264"/>
              <a:gd name="connsiteY215" fmla="*/ 25357 h 1240971"/>
              <a:gd name="connsiteX216" fmla="*/ 5536940 w 5737264"/>
              <a:gd name="connsiteY216" fmla="*/ 27214 h 1240971"/>
              <a:gd name="connsiteX217" fmla="*/ 5470369 w 5737264"/>
              <a:gd name="connsiteY217" fmla="*/ 39381 h 1240971"/>
              <a:gd name="connsiteX218" fmla="*/ 5379124 w 5737264"/>
              <a:gd name="connsiteY218" fmla="*/ 39644 h 1240971"/>
              <a:gd name="connsiteX219" fmla="*/ 5309282 w 5737264"/>
              <a:gd name="connsiteY219" fmla="*/ 42287 h 1240971"/>
              <a:gd name="connsiteX220" fmla="*/ 5238682 w 5737264"/>
              <a:gd name="connsiteY220" fmla="*/ 54455 h 1240971"/>
              <a:gd name="connsiteX221" fmla="*/ 5108892 w 5737264"/>
              <a:gd name="connsiteY221" fmla="*/ 37524 h 1240971"/>
              <a:gd name="connsiteX222" fmla="*/ 5020026 w 5737264"/>
              <a:gd name="connsiteY222" fmla="*/ 39120 h 1240971"/>
              <a:gd name="connsiteX223" fmla="*/ 4946233 w 5737264"/>
              <a:gd name="connsiteY223" fmla="*/ 41240 h 1240971"/>
              <a:gd name="connsiteX224" fmla="*/ 4823272 w 5737264"/>
              <a:gd name="connsiteY224" fmla="*/ 50242 h 1240971"/>
              <a:gd name="connsiteX225" fmla="*/ 4727577 w 5737264"/>
              <a:gd name="connsiteY225" fmla="*/ 29073 h 1240971"/>
              <a:gd name="connsiteX226" fmla="*/ 4628376 w 5737264"/>
              <a:gd name="connsiteY226" fmla="*/ 41240 h 1240971"/>
              <a:gd name="connsiteX227" fmla="*/ 4565180 w 5737264"/>
              <a:gd name="connsiteY227" fmla="*/ 46264 h 1240971"/>
              <a:gd name="connsiteX228" fmla="*/ 4417596 w 5737264"/>
              <a:gd name="connsiteY228" fmla="*/ 44406 h 1240971"/>
              <a:gd name="connsiteX229" fmla="*/ 4139984 w 5737264"/>
              <a:gd name="connsiteY229" fmla="*/ 60290 h 1240971"/>
              <a:gd name="connsiteX230" fmla="*/ 3918920 w 5737264"/>
              <a:gd name="connsiteY230" fmla="*/ 50242 h 1240971"/>
              <a:gd name="connsiteX231" fmla="*/ 3873703 w 5737264"/>
              <a:gd name="connsiteY231" fmla="*/ 45217 h 1240971"/>
              <a:gd name="connsiteX232" fmla="*/ 3687808 w 5737264"/>
              <a:gd name="connsiteY232" fmla="*/ 40193 h 1240971"/>
              <a:gd name="connsiteX233" fmla="*/ 3662687 w 5737264"/>
              <a:gd name="connsiteY233" fmla="*/ 35169 h 1240971"/>
              <a:gd name="connsiteX234" fmla="*/ 3627518 w 5737264"/>
              <a:gd name="connsiteY234" fmla="*/ 25121 h 1240971"/>
              <a:gd name="connsiteX235" fmla="*/ 3547131 w 5737264"/>
              <a:gd name="connsiteY235" fmla="*/ 20097 h 1240971"/>
              <a:gd name="connsiteX236" fmla="*/ 3310995 w 5737264"/>
              <a:gd name="connsiteY236" fmla="*/ 25121 h 1240971"/>
              <a:gd name="connsiteX237" fmla="*/ 3265777 w 5737264"/>
              <a:gd name="connsiteY237" fmla="*/ 30145 h 1240971"/>
              <a:gd name="connsiteX238" fmla="*/ 3175342 w 5737264"/>
              <a:gd name="connsiteY238" fmla="*/ 35169 h 1240971"/>
              <a:gd name="connsiteX239" fmla="*/ 2582489 w 5737264"/>
              <a:gd name="connsiteY239" fmla="*/ 45217 h 1240971"/>
              <a:gd name="connsiteX240" fmla="*/ 2255918 w 5737264"/>
              <a:gd name="connsiteY240" fmla="*/ 40193 h 1240971"/>
              <a:gd name="connsiteX241" fmla="*/ 1974564 w 5737264"/>
              <a:gd name="connsiteY241" fmla="*/ 30145 h 1240971"/>
              <a:gd name="connsiteX242" fmla="*/ 1944419 w 5737264"/>
              <a:gd name="connsiteY242" fmla="*/ 25121 h 1240971"/>
              <a:gd name="connsiteX243" fmla="*/ 1848960 w 5737264"/>
              <a:gd name="connsiteY243" fmla="*/ 20097 h 1240971"/>
              <a:gd name="connsiteX244" fmla="*/ 1768573 w 5737264"/>
              <a:gd name="connsiteY244" fmla="*/ 10048 h 1240971"/>
              <a:gd name="connsiteX245" fmla="*/ 1502292 w 5737264"/>
              <a:gd name="connsiteY245" fmla="*/ 20097 h 1240971"/>
              <a:gd name="connsiteX246" fmla="*/ 1467122 w 5737264"/>
              <a:gd name="connsiteY246" fmla="*/ 25121 h 1240971"/>
              <a:gd name="connsiteX247" fmla="*/ 1426929 w 5737264"/>
              <a:gd name="connsiteY247" fmla="*/ 30145 h 1240971"/>
              <a:gd name="connsiteX248" fmla="*/ 1341518 w 5737264"/>
              <a:gd name="connsiteY248" fmla="*/ 45217 h 1240971"/>
              <a:gd name="connsiteX249" fmla="*/ 1095333 w 5737264"/>
              <a:gd name="connsiteY249" fmla="*/ 35169 h 1240971"/>
              <a:gd name="connsiteX250" fmla="*/ 979777 w 5737264"/>
              <a:gd name="connsiteY250" fmla="*/ 20097 h 1240971"/>
              <a:gd name="connsiteX251" fmla="*/ 939584 w 5737264"/>
              <a:gd name="connsiteY251" fmla="*/ 10048 h 1240971"/>
              <a:gd name="connsiteX252" fmla="*/ 813980 w 5737264"/>
              <a:gd name="connsiteY252" fmla="*/ 0 h 1240971"/>
              <a:gd name="connsiteX253" fmla="*/ 743641 w 5737264"/>
              <a:gd name="connsiteY253" fmla="*/ 5024 h 1240971"/>
              <a:gd name="connsiteX254" fmla="*/ 582867 w 5737264"/>
              <a:gd name="connsiteY254" fmla="*/ 15072 h 1240971"/>
              <a:gd name="connsiteX255" fmla="*/ 432142 w 5737264"/>
              <a:gd name="connsiteY255" fmla="*/ 5024 h 1240971"/>
              <a:gd name="connsiteX256" fmla="*/ 412046 w 5737264"/>
              <a:gd name="connsiteY256" fmla="*/ 0 h 1240971"/>
              <a:gd name="connsiteX257" fmla="*/ 281417 w 5737264"/>
              <a:gd name="connsiteY257" fmla="*/ 10048 h 1240971"/>
              <a:gd name="connsiteX258" fmla="*/ 261320 w 5737264"/>
              <a:gd name="connsiteY258" fmla="*/ 15072 h 1240971"/>
              <a:gd name="connsiteX259" fmla="*/ 100547 w 5737264"/>
              <a:gd name="connsiteY259" fmla="*/ 20097 h 1240971"/>
              <a:gd name="connsiteX260" fmla="*/ 5087 w 5737264"/>
              <a:gd name="connsiteY260"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923944 w 5737264"/>
              <a:gd name="connsiteY148" fmla="*/ 1014883 h 1240971"/>
              <a:gd name="connsiteX149" fmla="*/ 3933993 w 5737264"/>
              <a:gd name="connsiteY149" fmla="*/ 1029956 h 1240971"/>
              <a:gd name="connsiteX150" fmla="*/ 3964138 w 5737264"/>
              <a:gd name="connsiteY150" fmla="*/ 1075173 h 1240971"/>
              <a:gd name="connsiteX151" fmla="*/ 3969162 w 5737264"/>
              <a:gd name="connsiteY151" fmla="*/ 1100294 h 1240971"/>
              <a:gd name="connsiteX152" fmla="*/ 3979210 w 5737264"/>
              <a:gd name="connsiteY152" fmla="*/ 1110343 h 1240971"/>
              <a:gd name="connsiteX153" fmla="*/ 3984235 w 5737264"/>
              <a:gd name="connsiteY153" fmla="*/ 1130439 h 1240971"/>
              <a:gd name="connsiteX154" fmla="*/ 4019404 w 5737264"/>
              <a:gd name="connsiteY154" fmla="*/ 1165609 h 1240971"/>
              <a:gd name="connsiteX155" fmla="*/ 4064621 w 5737264"/>
              <a:gd name="connsiteY155" fmla="*/ 1150536 h 1240971"/>
              <a:gd name="connsiteX156" fmla="*/ 4079694 w 5737264"/>
              <a:gd name="connsiteY156" fmla="*/ 1125415 h 1240971"/>
              <a:gd name="connsiteX157" fmla="*/ 4099791 w 5737264"/>
              <a:gd name="connsiteY157" fmla="*/ 1105319 h 1240971"/>
              <a:gd name="connsiteX158" fmla="*/ 4129936 w 5737264"/>
              <a:gd name="connsiteY158" fmla="*/ 1075173 h 1240971"/>
              <a:gd name="connsiteX159" fmla="*/ 4150032 w 5737264"/>
              <a:gd name="connsiteY159" fmla="*/ 1040004 h 1240971"/>
              <a:gd name="connsiteX160" fmla="*/ 4160081 w 5737264"/>
              <a:gd name="connsiteY160" fmla="*/ 1019908 h 1240971"/>
              <a:gd name="connsiteX161" fmla="*/ 4165105 w 5737264"/>
              <a:gd name="connsiteY161" fmla="*/ 1004835 h 1240971"/>
              <a:gd name="connsiteX162" fmla="*/ 4185202 w 5737264"/>
              <a:gd name="connsiteY162" fmla="*/ 984738 h 1240971"/>
              <a:gd name="connsiteX163" fmla="*/ 4200274 w 5737264"/>
              <a:gd name="connsiteY163" fmla="*/ 979714 h 1240971"/>
              <a:gd name="connsiteX164" fmla="*/ 4235443 w 5737264"/>
              <a:gd name="connsiteY164" fmla="*/ 954593 h 1240971"/>
              <a:gd name="connsiteX165" fmla="*/ 4275637 w 5737264"/>
              <a:gd name="connsiteY165" fmla="*/ 934497 h 1240971"/>
              <a:gd name="connsiteX166" fmla="*/ 4310806 w 5737264"/>
              <a:gd name="connsiteY166" fmla="*/ 914400 h 1240971"/>
              <a:gd name="connsiteX167" fmla="*/ 4325878 w 5737264"/>
              <a:gd name="connsiteY167" fmla="*/ 904352 h 1240971"/>
              <a:gd name="connsiteX168" fmla="*/ 4362094 w 5737264"/>
              <a:gd name="connsiteY168" fmla="*/ 909114 h 1240971"/>
              <a:gd name="connsiteX169" fmla="*/ 4417099 w 5737264"/>
              <a:gd name="connsiteY169" fmla="*/ 946141 h 1240971"/>
              <a:gd name="connsiteX170" fmla="*/ 4462316 w 5737264"/>
              <a:gd name="connsiteY170" fmla="*/ 1006955 h 1240971"/>
              <a:gd name="connsiteX171" fmla="*/ 4531320 w 5737264"/>
              <a:gd name="connsiteY171" fmla="*/ 1037650 h 1240971"/>
              <a:gd name="connsiteX172" fmla="*/ 4597184 w 5737264"/>
              <a:gd name="connsiteY172" fmla="*/ 969666 h 1240971"/>
              <a:gd name="connsiteX173" fmla="*/ 4617281 w 5737264"/>
              <a:gd name="connsiteY173" fmla="*/ 959617 h 1240971"/>
              <a:gd name="connsiteX174" fmla="*/ 4632353 w 5737264"/>
              <a:gd name="connsiteY174" fmla="*/ 944545 h 1240971"/>
              <a:gd name="connsiteX175" fmla="*/ 4652450 w 5737264"/>
              <a:gd name="connsiteY175" fmla="*/ 934497 h 1240971"/>
              <a:gd name="connsiteX176" fmla="*/ 4672547 w 5737264"/>
              <a:gd name="connsiteY176" fmla="*/ 919424 h 1240971"/>
              <a:gd name="connsiteX177" fmla="*/ 4737861 w 5737264"/>
              <a:gd name="connsiteY177" fmla="*/ 884255 h 1240971"/>
              <a:gd name="connsiteX178" fmla="*/ 4762982 w 5737264"/>
              <a:gd name="connsiteY178" fmla="*/ 879231 h 1240971"/>
              <a:gd name="connsiteX179" fmla="*/ 4778054 w 5737264"/>
              <a:gd name="connsiteY179" fmla="*/ 874206 h 1240971"/>
              <a:gd name="connsiteX180" fmla="*/ 4819294 w 5737264"/>
              <a:gd name="connsiteY180" fmla="*/ 873944 h 1240971"/>
              <a:gd name="connsiteX181" fmla="*/ 4877465 w 5737264"/>
              <a:gd name="connsiteY181" fmla="*/ 895638 h 1240971"/>
              <a:gd name="connsiteX182" fmla="*/ 4935347 w 5737264"/>
              <a:gd name="connsiteY182" fmla="*/ 934523 h 1240971"/>
              <a:gd name="connsiteX183" fmla="*/ 4995402 w 5737264"/>
              <a:gd name="connsiteY183" fmla="*/ 1006746 h 1240971"/>
              <a:gd name="connsiteX184" fmla="*/ 5024762 w 5737264"/>
              <a:gd name="connsiteY184" fmla="*/ 1051963 h 1240971"/>
              <a:gd name="connsiteX185" fmla="*/ 5092223 w 5737264"/>
              <a:gd name="connsiteY185" fmla="*/ 1016506 h 1240971"/>
              <a:gd name="connsiteX186" fmla="*/ 5144322 w 5737264"/>
              <a:gd name="connsiteY186" fmla="*/ 948261 h 1240971"/>
              <a:gd name="connsiteX187" fmla="*/ 5189252 w 5737264"/>
              <a:gd name="connsiteY187" fmla="*/ 886112 h 1240971"/>
              <a:gd name="connsiteX188" fmla="*/ 5226279 w 5737264"/>
              <a:gd name="connsiteY188" fmla="*/ 856230 h 1240971"/>
              <a:gd name="connsiteX189" fmla="*/ 5260637 w 5737264"/>
              <a:gd name="connsiteY189" fmla="*/ 822918 h 1240971"/>
              <a:gd name="connsiteX190" fmla="*/ 5295282 w 5737264"/>
              <a:gd name="connsiteY190" fmla="*/ 800440 h 1240971"/>
              <a:gd name="connsiteX191" fmla="*/ 5334430 w 5737264"/>
              <a:gd name="connsiteY191" fmla="*/ 794893 h 1240971"/>
              <a:gd name="connsiteX192" fmla="*/ 5412174 w 5737264"/>
              <a:gd name="connsiteY192" fmla="*/ 824252 h 1240971"/>
              <a:gd name="connsiteX193" fmla="*/ 5431197 w 5737264"/>
              <a:gd name="connsiteY193" fmla="*/ 768699 h 1240971"/>
              <a:gd name="connsiteX194" fmla="*/ 5441246 w 5737264"/>
              <a:gd name="connsiteY194" fmla="*/ 753626 h 1240971"/>
              <a:gd name="connsiteX195" fmla="*/ 5456318 w 5737264"/>
              <a:gd name="connsiteY195" fmla="*/ 708409 h 1240971"/>
              <a:gd name="connsiteX196" fmla="*/ 5466366 w 5737264"/>
              <a:gd name="connsiteY196" fmla="*/ 683288 h 1240971"/>
              <a:gd name="connsiteX197" fmla="*/ 5476415 w 5737264"/>
              <a:gd name="connsiteY197" fmla="*/ 643094 h 1240971"/>
              <a:gd name="connsiteX198" fmla="*/ 5491487 w 5737264"/>
              <a:gd name="connsiteY198" fmla="*/ 617973 h 1240971"/>
              <a:gd name="connsiteX199" fmla="*/ 5506560 w 5737264"/>
              <a:gd name="connsiteY199" fmla="*/ 572756 h 1240971"/>
              <a:gd name="connsiteX200" fmla="*/ 5526656 w 5737264"/>
              <a:gd name="connsiteY200" fmla="*/ 522514 h 1240971"/>
              <a:gd name="connsiteX201" fmla="*/ 5546753 w 5737264"/>
              <a:gd name="connsiteY201" fmla="*/ 467248 h 1240971"/>
              <a:gd name="connsiteX202" fmla="*/ 5556802 w 5737264"/>
              <a:gd name="connsiteY202" fmla="*/ 411982 h 1240971"/>
              <a:gd name="connsiteX203" fmla="*/ 5566850 w 5737264"/>
              <a:gd name="connsiteY203" fmla="*/ 381837 h 1240971"/>
              <a:gd name="connsiteX204" fmla="*/ 5576898 w 5737264"/>
              <a:gd name="connsiteY204" fmla="*/ 356716 h 1240971"/>
              <a:gd name="connsiteX205" fmla="*/ 5596995 w 5737264"/>
              <a:gd name="connsiteY205" fmla="*/ 316523 h 1240971"/>
              <a:gd name="connsiteX206" fmla="*/ 5617092 w 5737264"/>
              <a:gd name="connsiteY206" fmla="*/ 246184 h 1240971"/>
              <a:gd name="connsiteX207" fmla="*/ 5622116 w 5737264"/>
              <a:gd name="connsiteY207" fmla="*/ 226088 h 1240971"/>
              <a:gd name="connsiteX208" fmla="*/ 5632164 w 5737264"/>
              <a:gd name="connsiteY208" fmla="*/ 216039 h 1240971"/>
              <a:gd name="connsiteX209" fmla="*/ 5637188 w 5737264"/>
              <a:gd name="connsiteY209" fmla="*/ 200967 h 1240971"/>
              <a:gd name="connsiteX210" fmla="*/ 5651738 w 5737264"/>
              <a:gd name="connsiteY210" fmla="*/ 190395 h 1240971"/>
              <a:gd name="connsiteX211" fmla="*/ 5673692 w 5737264"/>
              <a:gd name="connsiteY211" fmla="*/ 153892 h 1240971"/>
              <a:gd name="connsiteX212" fmla="*/ 5726602 w 5737264"/>
              <a:gd name="connsiteY212" fmla="*/ 89362 h 1240971"/>
              <a:gd name="connsiteX213" fmla="*/ 5728722 w 5737264"/>
              <a:gd name="connsiteY213" fmla="*/ 42287 h 1240971"/>
              <a:gd name="connsiteX214" fmla="*/ 5634284 w 5737264"/>
              <a:gd name="connsiteY214" fmla="*/ 25357 h 1240971"/>
              <a:gd name="connsiteX215" fmla="*/ 5536940 w 5737264"/>
              <a:gd name="connsiteY215" fmla="*/ 27214 h 1240971"/>
              <a:gd name="connsiteX216" fmla="*/ 5470369 w 5737264"/>
              <a:gd name="connsiteY216" fmla="*/ 39381 h 1240971"/>
              <a:gd name="connsiteX217" fmla="*/ 5379124 w 5737264"/>
              <a:gd name="connsiteY217" fmla="*/ 39644 h 1240971"/>
              <a:gd name="connsiteX218" fmla="*/ 5309282 w 5737264"/>
              <a:gd name="connsiteY218" fmla="*/ 42287 h 1240971"/>
              <a:gd name="connsiteX219" fmla="*/ 5238682 w 5737264"/>
              <a:gd name="connsiteY219" fmla="*/ 54455 h 1240971"/>
              <a:gd name="connsiteX220" fmla="*/ 5108892 w 5737264"/>
              <a:gd name="connsiteY220" fmla="*/ 37524 h 1240971"/>
              <a:gd name="connsiteX221" fmla="*/ 5020026 w 5737264"/>
              <a:gd name="connsiteY221" fmla="*/ 39120 h 1240971"/>
              <a:gd name="connsiteX222" fmla="*/ 4946233 w 5737264"/>
              <a:gd name="connsiteY222" fmla="*/ 41240 h 1240971"/>
              <a:gd name="connsiteX223" fmla="*/ 4823272 w 5737264"/>
              <a:gd name="connsiteY223" fmla="*/ 50242 h 1240971"/>
              <a:gd name="connsiteX224" fmla="*/ 4727577 w 5737264"/>
              <a:gd name="connsiteY224" fmla="*/ 29073 h 1240971"/>
              <a:gd name="connsiteX225" fmla="*/ 4628376 w 5737264"/>
              <a:gd name="connsiteY225" fmla="*/ 41240 h 1240971"/>
              <a:gd name="connsiteX226" fmla="*/ 4565180 w 5737264"/>
              <a:gd name="connsiteY226" fmla="*/ 46264 h 1240971"/>
              <a:gd name="connsiteX227" fmla="*/ 4417596 w 5737264"/>
              <a:gd name="connsiteY227" fmla="*/ 44406 h 1240971"/>
              <a:gd name="connsiteX228" fmla="*/ 4139984 w 5737264"/>
              <a:gd name="connsiteY228" fmla="*/ 60290 h 1240971"/>
              <a:gd name="connsiteX229" fmla="*/ 3918920 w 5737264"/>
              <a:gd name="connsiteY229" fmla="*/ 50242 h 1240971"/>
              <a:gd name="connsiteX230" fmla="*/ 3873703 w 5737264"/>
              <a:gd name="connsiteY230" fmla="*/ 45217 h 1240971"/>
              <a:gd name="connsiteX231" fmla="*/ 3687808 w 5737264"/>
              <a:gd name="connsiteY231" fmla="*/ 40193 h 1240971"/>
              <a:gd name="connsiteX232" fmla="*/ 3662687 w 5737264"/>
              <a:gd name="connsiteY232" fmla="*/ 35169 h 1240971"/>
              <a:gd name="connsiteX233" fmla="*/ 3627518 w 5737264"/>
              <a:gd name="connsiteY233" fmla="*/ 25121 h 1240971"/>
              <a:gd name="connsiteX234" fmla="*/ 3547131 w 5737264"/>
              <a:gd name="connsiteY234" fmla="*/ 20097 h 1240971"/>
              <a:gd name="connsiteX235" fmla="*/ 3310995 w 5737264"/>
              <a:gd name="connsiteY235" fmla="*/ 25121 h 1240971"/>
              <a:gd name="connsiteX236" fmla="*/ 3265777 w 5737264"/>
              <a:gd name="connsiteY236" fmla="*/ 30145 h 1240971"/>
              <a:gd name="connsiteX237" fmla="*/ 3175342 w 5737264"/>
              <a:gd name="connsiteY237" fmla="*/ 35169 h 1240971"/>
              <a:gd name="connsiteX238" fmla="*/ 2582489 w 5737264"/>
              <a:gd name="connsiteY238" fmla="*/ 45217 h 1240971"/>
              <a:gd name="connsiteX239" fmla="*/ 2255918 w 5737264"/>
              <a:gd name="connsiteY239" fmla="*/ 40193 h 1240971"/>
              <a:gd name="connsiteX240" fmla="*/ 1974564 w 5737264"/>
              <a:gd name="connsiteY240" fmla="*/ 30145 h 1240971"/>
              <a:gd name="connsiteX241" fmla="*/ 1944419 w 5737264"/>
              <a:gd name="connsiteY241" fmla="*/ 25121 h 1240971"/>
              <a:gd name="connsiteX242" fmla="*/ 1848960 w 5737264"/>
              <a:gd name="connsiteY242" fmla="*/ 20097 h 1240971"/>
              <a:gd name="connsiteX243" fmla="*/ 1768573 w 5737264"/>
              <a:gd name="connsiteY243" fmla="*/ 10048 h 1240971"/>
              <a:gd name="connsiteX244" fmla="*/ 1502292 w 5737264"/>
              <a:gd name="connsiteY244" fmla="*/ 20097 h 1240971"/>
              <a:gd name="connsiteX245" fmla="*/ 1467122 w 5737264"/>
              <a:gd name="connsiteY245" fmla="*/ 25121 h 1240971"/>
              <a:gd name="connsiteX246" fmla="*/ 1426929 w 5737264"/>
              <a:gd name="connsiteY246" fmla="*/ 30145 h 1240971"/>
              <a:gd name="connsiteX247" fmla="*/ 1341518 w 5737264"/>
              <a:gd name="connsiteY247" fmla="*/ 45217 h 1240971"/>
              <a:gd name="connsiteX248" fmla="*/ 1095333 w 5737264"/>
              <a:gd name="connsiteY248" fmla="*/ 35169 h 1240971"/>
              <a:gd name="connsiteX249" fmla="*/ 979777 w 5737264"/>
              <a:gd name="connsiteY249" fmla="*/ 20097 h 1240971"/>
              <a:gd name="connsiteX250" fmla="*/ 939584 w 5737264"/>
              <a:gd name="connsiteY250" fmla="*/ 10048 h 1240971"/>
              <a:gd name="connsiteX251" fmla="*/ 813980 w 5737264"/>
              <a:gd name="connsiteY251" fmla="*/ 0 h 1240971"/>
              <a:gd name="connsiteX252" fmla="*/ 743641 w 5737264"/>
              <a:gd name="connsiteY252" fmla="*/ 5024 h 1240971"/>
              <a:gd name="connsiteX253" fmla="*/ 582867 w 5737264"/>
              <a:gd name="connsiteY253" fmla="*/ 15072 h 1240971"/>
              <a:gd name="connsiteX254" fmla="*/ 432142 w 5737264"/>
              <a:gd name="connsiteY254" fmla="*/ 5024 h 1240971"/>
              <a:gd name="connsiteX255" fmla="*/ 412046 w 5737264"/>
              <a:gd name="connsiteY255" fmla="*/ 0 h 1240971"/>
              <a:gd name="connsiteX256" fmla="*/ 281417 w 5737264"/>
              <a:gd name="connsiteY256" fmla="*/ 10048 h 1240971"/>
              <a:gd name="connsiteX257" fmla="*/ 261320 w 5737264"/>
              <a:gd name="connsiteY257" fmla="*/ 15072 h 1240971"/>
              <a:gd name="connsiteX258" fmla="*/ 100547 w 5737264"/>
              <a:gd name="connsiteY258" fmla="*/ 20097 h 1240971"/>
              <a:gd name="connsiteX259" fmla="*/ 5087 w 5737264"/>
              <a:gd name="connsiteY259"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923944 w 5737264"/>
              <a:gd name="connsiteY148" fmla="*/ 1014883 h 1240971"/>
              <a:gd name="connsiteX149" fmla="*/ 3964138 w 5737264"/>
              <a:gd name="connsiteY149" fmla="*/ 1075173 h 1240971"/>
              <a:gd name="connsiteX150" fmla="*/ 3969162 w 5737264"/>
              <a:gd name="connsiteY150" fmla="*/ 1100294 h 1240971"/>
              <a:gd name="connsiteX151" fmla="*/ 3979210 w 5737264"/>
              <a:gd name="connsiteY151" fmla="*/ 1110343 h 1240971"/>
              <a:gd name="connsiteX152" fmla="*/ 3984235 w 5737264"/>
              <a:gd name="connsiteY152" fmla="*/ 1130439 h 1240971"/>
              <a:gd name="connsiteX153" fmla="*/ 4019404 w 5737264"/>
              <a:gd name="connsiteY153" fmla="*/ 1165609 h 1240971"/>
              <a:gd name="connsiteX154" fmla="*/ 4064621 w 5737264"/>
              <a:gd name="connsiteY154" fmla="*/ 1150536 h 1240971"/>
              <a:gd name="connsiteX155" fmla="*/ 4079694 w 5737264"/>
              <a:gd name="connsiteY155" fmla="*/ 1125415 h 1240971"/>
              <a:gd name="connsiteX156" fmla="*/ 4099791 w 5737264"/>
              <a:gd name="connsiteY156" fmla="*/ 1105319 h 1240971"/>
              <a:gd name="connsiteX157" fmla="*/ 4129936 w 5737264"/>
              <a:gd name="connsiteY157" fmla="*/ 1075173 h 1240971"/>
              <a:gd name="connsiteX158" fmla="*/ 4150032 w 5737264"/>
              <a:gd name="connsiteY158" fmla="*/ 1040004 h 1240971"/>
              <a:gd name="connsiteX159" fmla="*/ 4160081 w 5737264"/>
              <a:gd name="connsiteY159" fmla="*/ 1019908 h 1240971"/>
              <a:gd name="connsiteX160" fmla="*/ 4165105 w 5737264"/>
              <a:gd name="connsiteY160" fmla="*/ 1004835 h 1240971"/>
              <a:gd name="connsiteX161" fmla="*/ 4185202 w 5737264"/>
              <a:gd name="connsiteY161" fmla="*/ 984738 h 1240971"/>
              <a:gd name="connsiteX162" fmla="*/ 4200274 w 5737264"/>
              <a:gd name="connsiteY162" fmla="*/ 979714 h 1240971"/>
              <a:gd name="connsiteX163" fmla="*/ 4235443 w 5737264"/>
              <a:gd name="connsiteY163" fmla="*/ 954593 h 1240971"/>
              <a:gd name="connsiteX164" fmla="*/ 4275637 w 5737264"/>
              <a:gd name="connsiteY164" fmla="*/ 934497 h 1240971"/>
              <a:gd name="connsiteX165" fmla="*/ 4310806 w 5737264"/>
              <a:gd name="connsiteY165" fmla="*/ 914400 h 1240971"/>
              <a:gd name="connsiteX166" fmla="*/ 4325878 w 5737264"/>
              <a:gd name="connsiteY166" fmla="*/ 904352 h 1240971"/>
              <a:gd name="connsiteX167" fmla="*/ 4362094 w 5737264"/>
              <a:gd name="connsiteY167" fmla="*/ 909114 h 1240971"/>
              <a:gd name="connsiteX168" fmla="*/ 4417099 w 5737264"/>
              <a:gd name="connsiteY168" fmla="*/ 946141 h 1240971"/>
              <a:gd name="connsiteX169" fmla="*/ 4462316 w 5737264"/>
              <a:gd name="connsiteY169" fmla="*/ 1006955 h 1240971"/>
              <a:gd name="connsiteX170" fmla="*/ 4531320 w 5737264"/>
              <a:gd name="connsiteY170" fmla="*/ 1037650 h 1240971"/>
              <a:gd name="connsiteX171" fmla="*/ 4597184 w 5737264"/>
              <a:gd name="connsiteY171" fmla="*/ 969666 h 1240971"/>
              <a:gd name="connsiteX172" fmla="*/ 4617281 w 5737264"/>
              <a:gd name="connsiteY172" fmla="*/ 959617 h 1240971"/>
              <a:gd name="connsiteX173" fmla="*/ 4632353 w 5737264"/>
              <a:gd name="connsiteY173" fmla="*/ 944545 h 1240971"/>
              <a:gd name="connsiteX174" fmla="*/ 4652450 w 5737264"/>
              <a:gd name="connsiteY174" fmla="*/ 934497 h 1240971"/>
              <a:gd name="connsiteX175" fmla="*/ 4672547 w 5737264"/>
              <a:gd name="connsiteY175" fmla="*/ 919424 h 1240971"/>
              <a:gd name="connsiteX176" fmla="*/ 4737861 w 5737264"/>
              <a:gd name="connsiteY176" fmla="*/ 884255 h 1240971"/>
              <a:gd name="connsiteX177" fmla="*/ 4762982 w 5737264"/>
              <a:gd name="connsiteY177" fmla="*/ 879231 h 1240971"/>
              <a:gd name="connsiteX178" fmla="*/ 4778054 w 5737264"/>
              <a:gd name="connsiteY178" fmla="*/ 874206 h 1240971"/>
              <a:gd name="connsiteX179" fmla="*/ 4819294 w 5737264"/>
              <a:gd name="connsiteY179" fmla="*/ 873944 h 1240971"/>
              <a:gd name="connsiteX180" fmla="*/ 4877465 w 5737264"/>
              <a:gd name="connsiteY180" fmla="*/ 895638 h 1240971"/>
              <a:gd name="connsiteX181" fmla="*/ 4935347 w 5737264"/>
              <a:gd name="connsiteY181" fmla="*/ 934523 h 1240971"/>
              <a:gd name="connsiteX182" fmla="*/ 4995402 w 5737264"/>
              <a:gd name="connsiteY182" fmla="*/ 1006746 h 1240971"/>
              <a:gd name="connsiteX183" fmla="*/ 5024762 w 5737264"/>
              <a:gd name="connsiteY183" fmla="*/ 1051963 h 1240971"/>
              <a:gd name="connsiteX184" fmla="*/ 5092223 w 5737264"/>
              <a:gd name="connsiteY184" fmla="*/ 1016506 h 1240971"/>
              <a:gd name="connsiteX185" fmla="*/ 5144322 w 5737264"/>
              <a:gd name="connsiteY185" fmla="*/ 948261 h 1240971"/>
              <a:gd name="connsiteX186" fmla="*/ 5189252 w 5737264"/>
              <a:gd name="connsiteY186" fmla="*/ 886112 h 1240971"/>
              <a:gd name="connsiteX187" fmla="*/ 5226279 w 5737264"/>
              <a:gd name="connsiteY187" fmla="*/ 856230 h 1240971"/>
              <a:gd name="connsiteX188" fmla="*/ 5260637 w 5737264"/>
              <a:gd name="connsiteY188" fmla="*/ 822918 h 1240971"/>
              <a:gd name="connsiteX189" fmla="*/ 5295282 w 5737264"/>
              <a:gd name="connsiteY189" fmla="*/ 800440 h 1240971"/>
              <a:gd name="connsiteX190" fmla="*/ 5334430 w 5737264"/>
              <a:gd name="connsiteY190" fmla="*/ 794893 h 1240971"/>
              <a:gd name="connsiteX191" fmla="*/ 5412174 w 5737264"/>
              <a:gd name="connsiteY191" fmla="*/ 824252 h 1240971"/>
              <a:gd name="connsiteX192" fmla="*/ 5431197 w 5737264"/>
              <a:gd name="connsiteY192" fmla="*/ 768699 h 1240971"/>
              <a:gd name="connsiteX193" fmla="*/ 5441246 w 5737264"/>
              <a:gd name="connsiteY193" fmla="*/ 753626 h 1240971"/>
              <a:gd name="connsiteX194" fmla="*/ 5456318 w 5737264"/>
              <a:gd name="connsiteY194" fmla="*/ 708409 h 1240971"/>
              <a:gd name="connsiteX195" fmla="*/ 5466366 w 5737264"/>
              <a:gd name="connsiteY195" fmla="*/ 683288 h 1240971"/>
              <a:gd name="connsiteX196" fmla="*/ 5476415 w 5737264"/>
              <a:gd name="connsiteY196" fmla="*/ 643094 h 1240971"/>
              <a:gd name="connsiteX197" fmla="*/ 5491487 w 5737264"/>
              <a:gd name="connsiteY197" fmla="*/ 617973 h 1240971"/>
              <a:gd name="connsiteX198" fmla="*/ 5506560 w 5737264"/>
              <a:gd name="connsiteY198" fmla="*/ 572756 h 1240971"/>
              <a:gd name="connsiteX199" fmla="*/ 5526656 w 5737264"/>
              <a:gd name="connsiteY199" fmla="*/ 522514 h 1240971"/>
              <a:gd name="connsiteX200" fmla="*/ 5546753 w 5737264"/>
              <a:gd name="connsiteY200" fmla="*/ 467248 h 1240971"/>
              <a:gd name="connsiteX201" fmla="*/ 5556802 w 5737264"/>
              <a:gd name="connsiteY201" fmla="*/ 411982 h 1240971"/>
              <a:gd name="connsiteX202" fmla="*/ 5566850 w 5737264"/>
              <a:gd name="connsiteY202" fmla="*/ 381837 h 1240971"/>
              <a:gd name="connsiteX203" fmla="*/ 5576898 w 5737264"/>
              <a:gd name="connsiteY203" fmla="*/ 356716 h 1240971"/>
              <a:gd name="connsiteX204" fmla="*/ 5596995 w 5737264"/>
              <a:gd name="connsiteY204" fmla="*/ 316523 h 1240971"/>
              <a:gd name="connsiteX205" fmla="*/ 5617092 w 5737264"/>
              <a:gd name="connsiteY205" fmla="*/ 246184 h 1240971"/>
              <a:gd name="connsiteX206" fmla="*/ 5622116 w 5737264"/>
              <a:gd name="connsiteY206" fmla="*/ 226088 h 1240971"/>
              <a:gd name="connsiteX207" fmla="*/ 5632164 w 5737264"/>
              <a:gd name="connsiteY207" fmla="*/ 216039 h 1240971"/>
              <a:gd name="connsiteX208" fmla="*/ 5637188 w 5737264"/>
              <a:gd name="connsiteY208" fmla="*/ 200967 h 1240971"/>
              <a:gd name="connsiteX209" fmla="*/ 5651738 w 5737264"/>
              <a:gd name="connsiteY209" fmla="*/ 190395 h 1240971"/>
              <a:gd name="connsiteX210" fmla="*/ 5673692 w 5737264"/>
              <a:gd name="connsiteY210" fmla="*/ 153892 h 1240971"/>
              <a:gd name="connsiteX211" fmla="*/ 5726602 w 5737264"/>
              <a:gd name="connsiteY211" fmla="*/ 89362 h 1240971"/>
              <a:gd name="connsiteX212" fmla="*/ 5728722 w 5737264"/>
              <a:gd name="connsiteY212" fmla="*/ 42287 h 1240971"/>
              <a:gd name="connsiteX213" fmla="*/ 5634284 w 5737264"/>
              <a:gd name="connsiteY213" fmla="*/ 25357 h 1240971"/>
              <a:gd name="connsiteX214" fmla="*/ 5536940 w 5737264"/>
              <a:gd name="connsiteY214" fmla="*/ 27214 h 1240971"/>
              <a:gd name="connsiteX215" fmla="*/ 5470369 w 5737264"/>
              <a:gd name="connsiteY215" fmla="*/ 39381 h 1240971"/>
              <a:gd name="connsiteX216" fmla="*/ 5379124 w 5737264"/>
              <a:gd name="connsiteY216" fmla="*/ 39644 h 1240971"/>
              <a:gd name="connsiteX217" fmla="*/ 5309282 w 5737264"/>
              <a:gd name="connsiteY217" fmla="*/ 42287 h 1240971"/>
              <a:gd name="connsiteX218" fmla="*/ 5238682 w 5737264"/>
              <a:gd name="connsiteY218" fmla="*/ 54455 h 1240971"/>
              <a:gd name="connsiteX219" fmla="*/ 5108892 w 5737264"/>
              <a:gd name="connsiteY219" fmla="*/ 37524 h 1240971"/>
              <a:gd name="connsiteX220" fmla="*/ 5020026 w 5737264"/>
              <a:gd name="connsiteY220" fmla="*/ 39120 h 1240971"/>
              <a:gd name="connsiteX221" fmla="*/ 4946233 w 5737264"/>
              <a:gd name="connsiteY221" fmla="*/ 41240 h 1240971"/>
              <a:gd name="connsiteX222" fmla="*/ 4823272 w 5737264"/>
              <a:gd name="connsiteY222" fmla="*/ 50242 h 1240971"/>
              <a:gd name="connsiteX223" fmla="*/ 4727577 w 5737264"/>
              <a:gd name="connsiteY223" fmla="*/ 29073 h 1240971"/>
              <a:gd name="connsiteX224" fmla="*/ 4628376 w 5737264"/>
              <a:gd name="connsiteY224" fmla="*/ 41240 h 1240971"/>
              <a:gd name="connsiteX225" fmla="*/ 4565180 w 5737264"/>
              <a:gd name="connsiteY225" fmla="*/ 46264 h 1240971"/>
              <a:gd name="connsiteX226" fmla="*/ 4417596 w 5737264"/>
              <a:gd name="connsiteY226" fmla="*/ 44406 h 1240971"/>
              <a:gd name="connsiteX227" fmla="*/ 4139984 w 5737264"/>
              <a:gd name="connsiteY227" fmla="*/ 60290 h 1240971"/>
              <a:gd name="connsiteX228" fmla="*/ 3918920 w 5737264"/>
              <a:gd name="connsiteY228" fmla="*/ 50242 h 1240971"/>
              <a:gd name="connsiteX229" fmla="*/ 3873703 w 5737264"/>
              <a:gd name="connsiteY229" fmla="*/ 45217 h 1240971"/>
              <a:gd name="connsiteX230" fmla="*/ 3687808 w 5737264"/>
              <a:gd name="connsiteY230" fmla="*/ 40193 h 1240971"/>
              <a:gd name="connsiteX231" fmla="*/ 3662687 w 5737264"/>
              <a:gd name="connsiteY231" fmla="*/ 35169 h 1240971"/>
              <a:gd name="connsiteX232" fmla="*/ 3627518 w 5737264"/>
              <a:gd name="connsiteY232" fmla="*/ 25121 h 1240971"/>
              <a:gd name="connsiteX233" fmla="*/ 3547131 w 5737264"/>
              <a:gd name="connsiteY233" fmla="*/ 20097 h 1240971"/>
              <a:gd name="connsiteX234" fmla="*/ 3310995 w 5737264"/>
              <a:gd name="connsiteY234" fmla="*/ 25121 h 1240971"/>
              <a:gd name="connsiteX235" fmla="*/ 3265777 w 5737264"/>
              <a:gd name="connsiteY235" fmla="*/ 30145 h 1240971"/>
              <a:gd name="connsiteX236" fmla="*/ 3175342 w 5737264"/>
              <a:gd name="connsiteY236" fmla="*/ 35169 h 1240971"/>
              <a:gd name="connsiteX237" fmla="*/ 2582489 w 5737264"/>
              <a:gd name="connsiteY237" fmla="*/ 45217 h 1240971"/>
              <a:gd name="connsiteX238" fmla="*/ 2255918 w 5737264"/>
              <a:gd name="connsiteY238" fmla="*/ 40193 h 1240971"/>
              <a:gd name="connsiteX239" fmla="*/ 1974564 w 5737264"/>
              <a:gd name="connsiteY239" fmla="*/ 30145 h 1240971"/>
              <a:gd name="connsiteX240" fmla="*/ 1944419 w 5737264"/>
              <a:gd name="connsiteY240" fmla="*/ 25121 h 1240971"/>
              <a:gd name="connsiteX241" fmla="*/ 1848960 w 5737264"/>
              <a:gd name="connsiteY241" fmla="*/ 20097 h 1240971"/>
              <a:gd name="connsiteX242" fmla="*/ 1768573 w 5737264"/>
              <a:gd name="connsiteY242" fmla="*/ 10048 h 1240971"/>
              <a:gd name="connsiteX243" fmla="*/ 1502292 w 5737264"/>
              <a:gd name="connsiteY243" fmla="*/ 20097 h 1240971"/>
              <a:gd name="connsiteX244" fmla="*/ 1467122 w 5737264"/>
              <a:gd name="connsiteY244" fmla="*/ 25121 h 1240971"/>
              <a:gd name="connsiteX245" fmla="*/ 1426929 w 5737264"/>
              <a:gd name="connsiteY245" fmla="*/ 30145 h 1240971"/>
              <a:gd name="connsiteX246" fmla="*/ 1341518 w 5737264"/>
              <a:gd name="connsiteY246" fmla="*/ 45217 h 1240971"/>
              <a:gd name="connsiteX247" fmla="*/ 1095333 w 5737264"/>
              <a:gd name="connsiteY247" fmla="*/ 35169 h 1240971"/>
              <a:gd name="connsiteX248" fmla="*/ 979777 w 5737264"/>
              <a:gd name="connsiteY248" fmla="*/ 20097 h 1240971"/>
              <a:gd name="connsiteX249" fmla="*/ 939584 w 5737264"/>
              <a:gd name="connsiteY249" fmla="*/ 10048 h 1240971"/>
              <a:gd name="connsiteX250" fmla="*/ 813980 w 5737264"/>
              <a:gd name="connsiteY250" fmla="*/ 0 h 1240971"/>
              <a:gd name="connsiteX251" fmla="*/ 743641 w 5737264"/>
              <a:gd name="connsiteY251" fmla="*/ 5024 h 1240971"/>
              <a:gd name="connsiteX252" fmla="*/ 582867 w 5737264"/>
              <a:gd name="connsiteY252" fmla="*/ 15072 h 1240971"/>
              <a:gd name="connsiteX253" fmla="*/ 432142 w 5737264"/>
              <a:gd name="connsiteY253" fmla="*/ 5024 h 1240971"/>
              <a:gd name="connsiteX254" fmla="*/ 412046 w 5737264"/>
              <a:gd name="connsiteY254" fmla="*/ 0 h 1240971"/>
              <a:gd name="connsiteX255" fmla="*/ 281417 w 5737264"/>
              <a:gd name="connsiteY255" fmla="*/ 10048 h 1240971"/>
              <a:gd name="connsiteX256" fmla="*/ 261320 w 5737264"/>
              <a:gd name="connsiteY256" fmla="*/ 15072 h 1240971"/>
              <a:gd name="connsiteX257" fmla="*/ 100547 w 5737264"/>
              <a:gd name="connsiteY257" fmla="*/ 20097 h 1240971"/>
              <a:gd name="connsiteX258" fmla="*/ 5087 w 5737264"/>
              <a:gd name="connsiteY258"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78701 w 5737264"/>
              <a:gd name="connsiteY148" fmla="*/ 1060127 h 1240971"/>
              <a:gd name="connsiteX149" fmla="*/ 3964138 w 5737264"/>
              <a:gd name="connsiteY149" fmla="*/ 1075173 h 1240971"/>
              <a:gd name="connsiteX150" fmla="*/ 3969162 w 5737264"/>
              <a:gd name="connsiteY150" fmla="*/ 1100294 h 1240971"/>
              <a:gd name="connsiteX151" fmla="*/ 3979210 w 5737264"/>
              <a:gd name="connsiteY151" fmla="*/ 1110343 h 1240971"/>
              <a:gd name="connsiteX152" fmla="*/ 3984235 w 5737264"/>
              <a:gd name="connsiteY152" fmla="*/ 1130439 h 1240971"/>
              <a:gd name="connsiteX153" fmla="*/ 4019404 w 5737264"/>
              <a:gd name="connsiteY153" fmla="*/ 1165609 h 1240971"/>
              <a:gd name="connsiteX154" fmla="*/ 4064621 w 5737264"/>
              <a:gd name="connsiteY154" fmla="*/ 1150536 h 1240971"/>
              <a:gd name="connsiteX155" fmla="*/ 4079694 w 5737264"/>
              <a:gd name="connsiteY155" fmla="*/ 1125415 h 1240971"/>
              <a:gd name="connsiteX156" fmla="*/ 4099791 w 5737264"/>
              <a:gd name="connsiteY156" fmla="*/ 1105319 h 1240971"/>
              <a:gd name="connsiteX157" fmla="*/ 4129936 w 5737264"/>
              <a:gd name="connsiteY157" fmla="*/ 1075173 h 1240971"/>
              <a:gd name="connsiteX158" fmla="*/ 4150032 w 5737264"/>
              <a:gd name="connsiteY158" fmla="*/ 1040004 h 1240971"/>
              <a:gd name="connsiteX159" fmla="*/ 4160081 w 5737264"/>
              <a:gd name="connsiteY159" fmla="*/ 1019908 h 1240971"/>
              <a:gd name="connsiteX160" fmla="*/ 4165105 w 5737264"/>
              <a:gd name="connsiteY160" fmla="*/ 1004835 h 1240971"/>
              <a:gd name="connsiteX161" fmla="*/ 4185202 w 5737264"/>
              <a:gd name="connsiteY161" fmla="*/ 984738 h 1240971"/>
              <a:gd name="connsiteX162" fmla="*/ 4200274 w 5737264"/>
              <a:gd name="connsiteY162" fmla="*/ 979714 h 1240971"/>
              <a:gd name="connsiteX163" fmla="*/ 4235443 w 5737264"/>
              <a:gd name="connsiteY163" fmla="*/ 954593 h 1240971"/>
              <a:gd name="connsiteX164" fmla="*/ 4275637 w 5737264"/>
              <a:gd name="connsiteY164" fmla="*/ 934497 h 1240971"/>
              <a:gd name="connsiteX165" fmla="*/ 4310806 w 5737264"/>
              <a:gd name="connsiteY165" fmla="*/ 914400 h 1240971"/>
              <a:gd name="connsiteX166" fmla="*/ 4325878 w 5737264"/>
              <a:gd name="connsiteY166" fmla="*/ 904352 h 1240971"/>
              <a:gd name="connsiteX167" fmla="*/ 4362094 w 5737264"/>
              <a:gd name="connsiteY167" fmla="*/ 909114 h 1240971"/>
              <a:gd name="connsiteX168" fmla="*/ 4417099 w 5737264"/>
              <a:gd name="connsiteY168" fmla="*/ 946141 h 1240971"/>
              <a:gd name="connsiteX169" fmla="*/ 4462316 w 5737264"/>
              <a:gd name="connsiteY169" fmla="*/ 1006955 h 1240971"/>
              <a:gd name="connsiteX170" fmla="*/ 4531320 w 5737264"/>
              <a:gd name="connsiteY170" fmla="*/ 1037650 h 1240971"/>
              <a:gd name="connsiteX171" fmla="*/ 4597184 w 5737264"/>
              <a:gd name="connsiteY171" fmla="*/ 969666 h 1240971"/>
              <a:gd name="connsiteX172" fmla="*/ 4617281 w 5737264"/>
              <a:gd name="connsiteY172" fmla="*/ 959617 h 1240971"/>
              <a:gd name="connsiteX173" fmla="*/ 4632353 w 5737264"/>
              <a:gd name="connsiteY173" fmla="*/ 944545 h 1240971"/>
              <a:gd name="connsiteX174" fmla="*/ 4652450 w 5737264"/>
              <a:gd name="connsiteY174" fmla="*/ 934497 h 1240971"/>
              <a:gd name="connsiteX175" fmla="*/ 4672547 w 5737264"/>
              <a:gd name="connsiteY175" fmla="*/ 919424 h 1240971"/>
              <a:gd name="connsiteX176" fmla="*/ 4737861 w 5737264"/>
              <a:gd name="connsiteY176" fmla="*/ 884255 h 1240971"/>
              <a:gd name="connsiteX177" fmla="*/ 4762982 w 5737264"/>
              <a:gd name="connsiteY177" fmla="*/ 879231 h 1240971"/>
              <a:gd name="connsiteX178" fmla="*/ 4778054 w 5737264"/>
              <a:gd name="connsiteY178" fmla="*/ 874206 h 1240971"/>
              <a:gd name="connsiteX179" fmla="*/ 4819294 w 5737264"/>
              <a:gd name="connsiteY179" fmla="*/ 873944 h 1240971"/>
              <a:gd name="connsiteX180" fmla="*/ 4877465 w 5737264"/>
              <a:gd name="connsiteY180" fmla="*/ 895638 h 1240971"/>
              <a:gd name="connsiteX181" fmla="*/ 4935347 w 5737264"/>
              <a:gd name="connsiteY181" fmla="*/ 934523 h 1240971"/>
              <a:gd name="connsiteX182" fmla="*/ 4995402 w 5737264"/>
              <a:gd name="connsiteY182" fmla="*/ 1006746 h 1240971"/>
              <a:gd name="connsiteX183" fmla="*/ 5024762 w 5737264"/>
              <a:gd name="connsiteY183" fmla="*/ 1051963 h 1240971"/>
              <a:gd name="connsiteX184" fmla="*/ 5092223 w 5737264"/>
              <a:gd name="connsiteY184" fmla="*/ 1016506 h 1240971"/>
              <a:gd name="connsiteX185" fmla="*/ 5144322 w 5737264"/>
              <a:gd name="connsiteY185" fmla="*/ 948261 h 1240971"/>
              <a:gd name="connsiteX186" fmla="*/ 5189252 w 5737264"/>
              <a:gd name="connsiteY186" fmla="*/ 886112 h 1240971"/>
              <a:gd name="connsiteX187" fmla="*/ 5226279 w 5737264"/>
              <a:gd name="connsiteY187" fmla="*/ 856230 h 1240971"/>
              <a:gd name="connsiteX188" fmla="*/ 5260637 w 5737264"/>
              <a:gd name="connsiteY188" fmla="*/ 822918 h 1240971"/>
              <a:gd name="connsiteX189" fmla="*/ 5295282 w 5737264"/>
              <a:gd name="connsiteY189" fmla="*/ 800440 h 1240971"/>
              <a:gd name="connsiteX190" fmla="*/ 5334430 w 5737264"/>
              <a:gd name="connsiteY190" fmla="*/ 794893 h 1240971"/>
              <a:gd name="connsiteX191" fmla="*/ 5412174 w 5737264"/>
              <a:gd name="connsiteY191" fmla="*/ 824252 h 1240971"/>
              <a:gd name="connsiteX192" fmla="*/ 5431197 w 5737264"/>
              <a:gd name="connsiteY192" fmla="*/ 768699 h 1240971"/>
              <a:gd name="connsiteX193" fmla="*/ 5441246 w 5737264"/>
              <a:gd name="connsiteY193" fmla="*/ 753626 h 1240971"/>
              <a:gd name="connsiteX194" fmla="*/ 5456318 w 5737264"/>
              <a:gd name="connsiteY194" fmla="*/ 708409 h 1240971"/>
              <a:gd name="connsiteX195" fmla="*/ 5466366 w 5737264"/>
              <a:gd name="connsiteY195" fmla="*/ 683288 h 1240971"/>
              <a:gd name="connsiteX196" fmla="*/ 5476415 w 5737264"/>
              <a:gd name="connsiteY196" fmla="*/ 643094 h 1240971"/>
              <a:gd name="connsiteX197" fmla="*/ 5491487 w 5737264"/>
              <a:gd name="connsiteY197" fmla="*/ 617973 h 1240971"/>
              <a:gd name="connsiteX198" fmla="*/ 5506560 w 5737264"/>
              <a:gd name="connsiteY198" fmla="*/ 572756 h 1240971"/>
              <a:gd name="connsiteX199" fmla="*/ 5526656 w 5737264"/>
              <a:gd name="connsiteY199" fmla="*/ 522514 h 1240971"/>
              <a:gd name="connsiteX200" fmla="*/ 5546753 w 5737264"/>
              <a:gd name="connsiteY200" fmla="*/ 467248 h 1240971"/>
              <a:gd name="connsiteX201" fmla="*/ 5556802 w 5737264"/>
              <a:gd name="connsiteY201" fmla="*/ 411982 h 1240971"/>
              <a:gd name="connsiteX202" fmla="*/ 5566850 w 5737264"/>
              <a:gd name="connsiteY202" fmla="*/ 381837 h 1240971"/>
              <a:gd name="connsiteX203" fmla="*/ 5576898 w 5737264"/>
              <a:gd name="connsiteY203" fmla="*/ 356716 h 1240971"/>
              <a:gd name="connsiteX204" fmla="*/ 5596995 w 5737264"/>
              <a:gd name="connsiteY204" fmla="*/ 316523 h 1240971"/>
              <a:gd name="connsiteX205" fmla="*/ 5617092 w 5737264"/>
              <a:gd name="connsiteY205" fmla="*/ 246184 h 1240971"/>
              <a:gd name="connsiteX206" fmla="*/ 5622116 w 5737264"/>
              <a:gd name="connsiteY206" fmla="*/ 226088 h 1240971"/>
              <a:gd name="connsiteX207" fmla="*/ 5632164 w 5737264"/>
              <a:gd name="connsiteY207" fmla="*/ 216039 h 1240971"/>
              <a:gd name="connsiteX208" fmla="*/ 5637188 w 5737264"/>
              <a:gd name="connsiteY208" fmla="*/ 200967 h 1240971"/>
              <a:gd name="connsiteX209" fmla="*/ 5651738 w 5737264"/>
              <a:gd name="connsiteY209" fmla="*/ 190395 h 1240971"/>
              <a:gd name="connsiteX210" fmla="*/ 5673692 w 5737264"/>
              <a:gd name="connsiteY210" fmla="*/ 153892 h 1240971"/>
              <a:gd name="connsiteX211" fmla="*/ 5726602 w 5737264"/>
              <a:gd name="connsiteY211" fmla="*/ 89362 h 1240971"/>
              <a:gd name="connsiteX212" fmla="*/ 5728722 w 5737264"/>
              <a:gd name="connsiteY212" fmla="*/ 42287 h 1240971"/>
              <a:gd name="connsiteX213" fmla="*/ 5634284 w 5737264"/>
              <a:gd name="connsiteY213" fmla="*/ 25357 h 1240971"/>
              <a:gd name="connsiteX214" fmla="*/ 5536940 w 5737264"/>
              <a:gd name="connsiteY214" fmla="*/ 27214 h 1240971"/>
              <a:gd name="connsiteX215" fmla="*/ 5470369 w 5737264"/>
              <a:gd name="connsiteY215" fmla="*/ 39381 h 1240971"/>
              <a:gd name="connsiteX216" fmla="*/ 5379124 w 5737264"/>
              <a:gd name="connsiteY216" fmla="*/ 39644 h 1240971"/>
              <a:gd name="connsiteX217" fmla="*/ 5309282 w 5737264"/>
              <a:gd name="connsiteY217" fmla="*/ 42287 h 1240971"/>
              <a:gd name="connsiteX218" fmla="*/ 5238682 w 5737264"/>
              <a:gd name="connsiteY218" fmla="*/ 54455 h 1240971"/>
              <a:gd name="connsiteX219" fmla="*/ 5108892 w 5737264"/>
              <a:gd name="connsiteY219" fmla="*/ 37524 h 1240971"/>
              <a:gd name="connsiteX220" fmla="*/ 5020026 w 5737264"/>
              <a:gd name="connsiteY220" fmla="*/ 39120 h 1240971"/>
              <a:gd name="connsiteX221" fmla="*/ 4946233 w 5737264"/>
              <a:gd name="connsiteY221" fmla="*/ 41240 h 1240971"/>
              <a:gd name="connsiteX222" fmla="*/ 4823272 w 5737264"/>
              <a:gd name="connsiteY222" fmla="*/ 50242 h 1240971"/>
              <a:gd name="connsiteX223" fmla="*/ 4727577 w 5737264"/>
              <a:gd name="connsiteY223" fmla="*/ 29073 h 1240971"/>
              <a:gd name="connsiteX224" fmla="*/ 4628376 w 5737264"/>
              <a:gd name="connsiteY224" fmla="*/ 41240 h 1240971"/>
              <a:gd name="connsiteX225" fmla="*/ 4565180 w 5737264"/>
              <a:gd name="connsiteY225" fmla="*/ 46264 h 1240971"/>
              <a:gd name="connsiteX226" fmla="*/ 4417596 w 5737264"/>
              <a:gd name="connsiteY226" fmla="*/ 44406 h 1240971"/>
              <a:gd name="connsiteX227" fmla="*/ 4139984 w 5737264"/>
              <a:gd name="connsiteY227" fmla="*/ 60290 h 1240971"/>
              <a:gd name="connsiteX228" fmla="*/ 3918920 w 5737264"/>
              <a:gd name="connsiteY228" fmla="*/ 50242 h 1240971"/>
              <a:gd name="connsiteX229" fmla="*/ 3873703 w 5737264"/>
              <a:gd name="connsiteY229" fmla="*/ 45217 h 1240971"/>
              <a:gd name="connsiteX230" fmla="*/ 3687808 w 5737264"/>
              <a:gd name="connsiteY230" fmla="*/ 40193 h 1240971"/>
              <a:gd name="connsiteX231" fmla="*/ 3662687 w 5737264"/>
              <a:gd name="connsiteY231" fmla="*/ 35169 h 1240971"/>
              <a:gd name="connsiteX232" fmla="*/ 3627518 w 5737264"/>
              <a:gd name="connsiteY232" fmla="*/ 25121 h 1240971"/>
              <a:gd name="connsiteX233" fmla="*/ 3547131 w 5737264"/>
              <a:gd name="connsiteY233" fmla="*/ 20097 h 1240971"/>
              <a:gd name="connsiteX234" fmla="*/ 3310995 w 5737264"/>
              <a:gd name="connsiteY234" fmla="*/ 25121 h 1240971"/>
              <a:gd name="connsiteX235" fmla="*/ 3265777 w 5737264"/>
              <a:gd name="connsiteY235" fmla="*/ 30145 h 1240971"/>
              <a:gd name="connsiteX236" fmla="*/ 3175342 w 5737264"/>
              <a:gd name="connsiteY236" fmla="*/ 35169 h 1240971"/>
              <a:gd name="connsiteX237" fmla="*/ 2582489 w 5737264"/>
              <a:gd name="connsiteY237" fmla="*/ 45217 h 1240971"/>
              <a:gd name="connsiteX238" fmla="*/ 2255918 w 5737264"/>
              <a:gd name="connsiteY238" fmla="*/ 40193 h 1240971"/>
              <a:gd name="connsiteX239" fmla="*/ 1974564 w 5737264"/>
              <a:gd name="connsiteY239" fmla="*/ 30145 h 1240971"/>
              <a:gd name="connsiteX240" fmla="*/ 1944419 w 5737264"/>
              <a:gd name="connsiteY240" fmla="*/ 25121 h 1240971"/>
              <a:gd name="connsiteX241" fmla="*/ 1848960 w 5737264"/>
              <a:gd name="connsiteY241" fmla="*/ 20097 h 1240971"/>
              <a:gd name="connsiteX242" fmla="*/ 1768573 w 5737264"/>
              <a:gd name="connsiteY242" fmla="*/ 10048 h 1240971"/>
              <a:gd name="connsiteX243" fmla="*/ 1502292 w 5737264"/>
              <a:gd name="connsiteY243" fmla="*/ 20097 h 1240971"/>
              <a:gd name="connsiteX244" fmla="*/ 1467122 w 5737264"/>
              <a:gd name="connsiteY244" fmla="*/ 25121 h 1240971"/>
              <a:gd name="connsiteX245" fmla="*/ 1426929 w 5737264"/>
              <a:gd name="connsiteY245" fmla="*/ 30145 h 1240971"/>
              <a:gd name="connsiteX246" fmla="*/ 1341518 w 5737264"/>
              <a:gd name="connsiteY246" fmla="*/ 45217 h 1240971"/>
              <a:gd name="connsiteX247" fmla="*/ 1095333 w 5737264"/>
              <a:gd name="connsiteY247" fmla="*/ 35169 h 1240971"/>
              <a:gd name="connsiteX248" fmla="*/ 979777 w 5737264"/>
              <a:gd name="connsiteY248" fmla="*/ 20097 h 1240971"/>
              <a:gd name="connsiteX249" fmla="*/ 939584 w 5737264"/>
              <a:gd name="connsiteY249" fmla="*/ 10048 h 1240971"/>
              <a:gd name="connsiteX250" fmla="*/ 813980 w 5737264"/>
              <a:gd name="connsiteY250" fmla="*/ 0 h 1240971"/>
              <a:gd name="connsiteX251" fmla="*/ 743641 w 5737264"/>
              <a:gd name="connsiteY251" fmla="*/ 5024 h 1240971"/>
              <a:gd name="connsiteX252" fmla="*/ 582867 w 5737264"/>
              <a:gd name="connsiteY252" fmla="*/ 15072 h 1240971"/>
              <a:gd name="connsiteX253" fmla="*/ 432142 w 5737264"/>
              <a:gd name="connsiteY253" fmla="*/ 5024 h 1240971"/>
              <a:gd name="connsiteX254" fmla="*/ 412046 w 5737264"/>
              <a:gd name="connsiteY254" fmla="*/ 0 h 1240971"/>
              <a:gd name="connsiteX255" fmla="*/ 281417 w 5737264"/>
              <a:gd name="connsiteY255" fmla="*/ 10048 h 1240971"/>
              <a:gd name="connsiteX256" fmla="*/ 261320 w 5737264"/>
              <a:gd name="connsiteY256" fmla="*/ 15072 h 1240971"/>
              <a:gd name="connsiteX257" fmla="*/ 100547 w 5737264"/>
              <a:gd name="connsiteY257" fmla="*/ 20097 h 1240971"/>
              <a:gd name="connsiteX258" fmla="*/ 5087 w 5737264"/>
              <a:gd name="connsiteY258"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78701 w 5737264"/>
              <a:gd name="connsiteY148" fmla="*/ 1060127 h 1240971"/>
              <a:gd name="connsiteX149" fmla="*/ 3935563 w 5737264"/>
              <a:gd name="connsiteY149" fmla="*/ 1094223 h 1240971"/>
              <a:gd name="connsiteX150" fmla="*/ 3969162 w 5737264"/>
              <a:gd name="connsiteY150" fmla="*/ 1100294 h 1240971"/>
              <a:gd name="connsiteX151" fmla="*/ 3979210 w 5737264"/>
              <a:gd name="connsiteY151" fmla="*/ 1110343 h 1240971"/>
              <a:gd name="connsiteX152" fmla="*/ 3984235 w 5737264"/>
              <a:gd name="connsiteY152" fmla="*/ 1130439 h 1240971"/>
              <a:gd name="connsiteX153" fmla="*/ 4019404 w 5737264"/>
              <a:gd name="connsiteY153" fmla="*/ 1165609 h 1240971"/>
              <a:gd name="connsiteX154" fmla="*/ 4064621 w 5737264"/>
              <a:gd name="connsiteY154" fmla="*/ 1150536 h 1240971"/>
              <a:gd name="connsiteX155" fmla="*/ 4079694 w 5737264"/>
              <a:gd name="connsiteY155" fmla="*/ 1125415 h 1240971"/>
              <a:gd name="connsiteX156" fmla="*/ 4099791 w 5737264"/>
              <a:gd name="connsiteY156" fmla="*/ 1105319 h 1240971"/>
              <a:gd name="connsiteX157" fmla="*/ 4129936 w 5737264"/>
              <a:gd name="connsiteY157" fmla="*/ 1075173 h 1240971"/>
              <a:gd name="connsiteX158" fmla="*/ 4150032 w 5737264"/>
              <a:gd name="connsiteY158" fmla="*/ 1040004 h 1240971"/>
              <a:gd name="connsiteX159" fmla="*/ 4160081 w 5737264"/>
              <a:gd name="connsiteY159" fmla="*/ 1019908 h 1240971"/>
              <a:gd name="connsiteX160" fmla="*/ 4165105 w 5737264"/>
              <a:gd name="connsiteY160" fmla="*/ 1004835 h 1240971"/>
              <a:gd name="connsiteX161" fmla="*/ 4185202 w 5737264"/>
              <a:gd name="connsiteY161" fmla="*/ 984738 h 1240971"/>
              <a:gd name="connsiteX162" fmla="*/ 4200274 w 5737264"/>
              <a:gd name="connsiteY162" fmla="*/ 979714 h 1240971"/>
              <a:gd name="connsiteX163" fmla="*/ 4235443 w 5737264"/>
              <a:gd name="connsiteY163" fmla="*/ 954593 h 1240971"/>
              <a:gd name="connsiteX164" fmla="*/ 4275637 w 5737264"/>
              <a:gd name="connsiteY164" fmla="*/ 934497 h 1240971"/>
              <a:gd name="connsiteX165" fmla="*/ 4310806 w 5737264"/>
              <a:gd name="connsiteY165" fmla="*/ 914400 h 1240971"/>
              <a:gd name="connsiteX166" fmla="*/ 4325878 w 5737264"/>
              <a:gd name="connsiteY166" fmla="*/ 904352 h 1240971"/>
              <a:gd name="connsiteX167" fmla="*/ 4362094 w 5737264"/>
              <a:gd name="connsiteY167" fmla="*/ 909114 h 1240971"/>
              <a:gd name="connsiteX168" fmla="*/ 4417099 w 5737264"/>
              <a:gd name="connsiteY168" fmla="*/ 946141 h 1240971"/>
              <a:gd name="connsiteX169" fmla="*/ 4462316 w 5737264"/>
              <a:gd name="connsiteY169" fmla="*/ 1006955 h 1240971"/>
              <a:gd name="connsiteX170" fmla="*/ 4531320 w 5737264"/>
              <a:gd name="connsiteY170" fmla="*/ 1037650 h 1240971"/>
              <a:gd name="connsiteX171" fmla="*/ 4597184 w 5737264"/>
              <a:gd name="connsiteY171" fmla="*/ 969666 h 1240971"/>
              <a:gd name="connsiteX172" fmla="*/ 4617281 w 5737264"/>
              <a:gd name="connsiteY172" fmla="*/ 959617 h 1240971"/>
              <a:gd name="connsiteX173" fmla="*/ 4632353 w 5737264"/>
              <a:gd name="connsiteY173" fmla="*/ 944545 h 1240971"/>
              <a:gd name="connsiteX174" fmla="*/ 4652450 w 5737264"/>
              <a:gd name="connsiteY174" fmla="*/ 934497 h 1240971"/>
              <a:gd name="connsiteX175" fmla="*/ 4672547 w 5737264"/>
              <a:gd name="connsiteY175" fmla="*/ 919424 h 1240971"/>
              <a:gd name="connsiteX176" fmla="*/ 4737861 w 5737264"/>
              <a:gd name="connsiteY176" fmla="*/ 884255 h 1240971"/>
              <a:gd name="connsiteX177" fmla="*/ 4762982 w 5737264"/>
              <a:gd name="connsiteY177" fmla="*/ 879231 h 1240971"/>
              <a:gd name="connsiteX178" fmla="*/ 4778054 w 5737264"/>
              <a:gd name="connsiteY178" fmla="*/ 874206 h 1240971"/>
              <a:gd name="connsiteX179" fmla="*/ 4819294 w 5737264"/>
              <a:gd name="connsiteY179" fmla="*/ 873944 h 1240971"/>
              <a:gd name="connsiteX180" fmla="*/ 4877465 w 5737264"/>
              <a:gd name="connsiteY180" fmla="*/ 895638 h 1240971"/>
              <a:gd name="connsiteX181" fmla="*/ 4935347 w 5737264"/>
              <a:gd name="connsiteY181" fmla="*/ 934523 h 1240971"/>
              <a:gd name="connsiteX182" fmla="*/ 4995402 w 5737264"/>
              <a:gd name="connsiteY182" fmla="*/ 1006746 h 1240971"/>
              <a:gd name="connsiteX183" fmla="*/ 5024762 w 5737264"/>
              <a:gd name="connsiteY183" fmla="*/ 1051963 h 1240971"/>
              <a:gd name="connsiteX184" fmla="*/ 5092223 w 5737264"/>
              <a:gd name="connsiteY184" fmla="*/ 1016506 h 1240971"/>
              <a:gd name="connsiteX185" fmla="*/ 5144322 w 5737264"/>
              <a:gd name="connsiteY185" fmla="*/ 948261 h 1240971"/>
              <a:gd name="connsiteX186" fmla="*/ 5189252 w 5737264"/>
              <a:gd name="connsiteY186" fmla="*/ 886112 h 1240971"/>
              <a:gd name="connsiteX187" fmla="*/ 5226279 w 5737264"/>
              <a:gd name="connsiteY187" fmla="*/ 856230 h 1240971"/>
              <a:gd name="connsiteX188" fmla="*/ 5260637 w 5737264"/>
              <a:gd name="connsiteY188" fmla="*/ 822918 h 1240971"/>
              <a:gd name="connsiteX189" fmla="*/ 5295282 w 5737264"/>
              <a:gd name="connsiteY189" fmla="*/ 800440 h 1240971"/>
              <a:gd name="connsiteX190" fmla="*/ 5334430 w 5737264"/>
              <a:gd name="connsiteY190" fmla="*/ 794893 h 1240971"/>
              <a:gd name="connsiteX191" fmla="*/ 5412174 w 5737264"/>
              <a:gd name="connsiteY191" fmla="*/ 824252 h 1240971"/>
              <a:gd name="connsiteX192" fmla="*/ 5431197 w 5737264"/>
              <a:gd name="connsiteY192" fmla="*/ 768699 h 1240971"/>
              <a:gd name="connsiteX193" fmla="*/ 5441246 w 5737264"/>
              <a:gd name="connsiteY193" fmla="*/ 753626 h 1240971"/>
              <a:gd name="connsiteX194" fmla="*/ 5456318 w 5737264"/>
              <a:gd name="connsiteY194" fmla="*/ 708409 h 1240971"/>
              <a:gd name="connsiteX195" fmla="*/ 5466366 w 5737264"/>
              <a:gd name="connsiteY195" fmla="*/ 683288 h 1240971"/>
              <a:gd name="connsiteX196" fmla="*/ 5476415 w 5737264"/>
              <a:gd name="connsiteY196" fmla="*/ 643094 h 1240971"/>
              <a:gd name="connsiteX197" fmla="*/ 5491487 w 5737264"/>
              <a:gd name="connsiteY197" fmla="*/ 617973 h 1240971"/>
              <a:gd name="connsiteX198" fmla="*/ 5506560 w 5737264"/>
              <a:gd name="connsiteY198" fmla="*/ 572756 h 1240971"/>
              <a:gd name="connsiteX199" fmla="*/ 5526656 w 5737264"/>
              <a:gd name="connsiteY199" fmla="*/ 522514 h 1240971"/>
              <a:gd name="connsiteX200" fmla="*/ 5546753 w 5737264"/>
              <a:gd name="connsiteY200" fmla="*/ 467248 h 1240971"/>
              <a:gd name="connsiteX201" fmla="*/ 5556802 w 5737264"/>
              <a:gd name="connsiteY201" fmla="*/ 411982 h 1240971"/>
              <a:gd name="connsiteX202" fmla="*/ 5566850 w 5737264"/>
              <a:gd name="connsiteY202" fmla="*/ 381837 h 1240971"/>
              <a:gd name="connsiteX203" fmla="*/ 5576898 w 5737264"/>
              <a:gd name="connsiteY203" fmla="*/ 356716 h 1240971"/>
              <a:gd name="connsiteX204" fmla="*/ 5596995 w 5737264"/>
              <a:gd name="connsiteY204" fmla="*/ 316523 h 1240971"/>
              <a:gd name="connsiteX205" fmla="*/ 5617092 w 5737264"/>
              <a:gd name="connsiteY205" fmla="*/ 246184 h 1240971"/>
              <a:gd name="connsiteX206" fmla="*/ 5622116 w 5737264"/>
              <a:gd name="connsiteY206" fmla="*/ 226088 h 1240971"/>
              <a:gd name="connsiteX207" fmla="*/ 5632164 w 5737264"/>
              <a:gd name="connsiteY207" fmla="*/ 216039 h 1240971"/>
              <a:gd name="connsiteX208" fmla="*/ 5637188 w 5737264"/>
              <a:gd name="connsiteY208" fmla="*/ 200967 h 1240971"/>
              <a:gd name="connsiteX209" fmla="*/ 5651738 w 5737264"/>
              <a:gd name="connsiteY209" fmla="*/ 190395 h 1240971"/>
              <a:gd name="connsiteX210" fmla="*/ 5673692 w 5737264"/>
              <a:gd name="connsiteY210" fmla="*/ 153892 h 1240971"/>
              <a:gd name="connsiteX211" fmla="*/ 5726602 w 5737264"/>
              <a:gd name="connsiteY211" fmla="*/ 89362 h 1240971"/>
              <a:gd name="connsiteX212" fmla="*/ 5728722 w 5737264"/>
              <a:gd name="connsiteY212" fmla="*/ 42287 h 1240971"/>
              <a:gd name="connsiteX213" fmla="*/ 5634284 w 5737264"/>
              <a:gd name="connsiteY213" fmla="*/ 25357 h 1240971"/>
              <a:gd name="connsiteX214" fmla="*/ 5536940 w 5737264"/>
              <a:gd name="connsiteY214" fmla="*/ 27214 h 1240971"/>
              <a:gd name="connsiteX215" fmla="*/ 5470369 w 5737264"/>
              <a:gd name="connsiteY215" fmla="*/ 39381 h 1240971"/>
              <a:gd name="connsiteX216" fmla="*/ 5379124 w 5737264"/>
              <a:gd name="connsiteY216" fmla="*/ 39644 h 1240971"/>
              <a:gd name="connsiteX217" fmla="*/ 5309282 w 5737264"/>
              <a:gd name="connsiteY217" fmla="*/ 42287 h 1240971"/>
              <a:gd name="connsiteX218" fmla="*/ 5238682 w 5737264"/>
              <a:gd name="connsiteY218" fmla="*/ 54455 h 1240971"/>
              <a:gd name="connsiteX219" fmla="*/ 5108892 w 5737264"/>
              <a:gd name="connsiteY219" fmla="*/ 37524 h 1240971"/>
              <a:gd name="connsiteX220" fmla="*/ 5020026 w 5737264"/>
              <a:gd name="connsiteY220" fmla="*/ 39120 h 1240971"/>
              <a:gd name="connsiteX221" fmla="*/ 4946233 w 5737264"/>
              <a:gd name="connsiteY221" fmla="*/ 41240 h 1240971"/>
              <a:gd name="connsiteX222" fmla="*/ 4823272 w 5737264"/>
              <a:gd name="connsiteY222" fmla="*/ 50242 h 1240971"/>
              <a:gd name="connsiteX223" fmla="*/ 4727577 w 5737264"/>
              <a:gd name="connsiteY223" fmla="*/ 29073 h 1240971"/>
              <a:gd name="connsiteX224" fmla="*/ 4628376 w 5737264"/>
              <a:gd name="connsiteY224" fmla="*/ 41240 h 1240971"/>
              <a:gd name="connsiteX225" fmla="*/ 4565180 w 5737264"/>
              <a:gd name="connsiteY225" fmla="*/ 46264 h 1240971"/>
              <a:gd name="connsiteX226" fmla="*/ 4417596 w 5737264"/>
              <a:gd name="connsiteY226" fmla="*/ 44406 h 1240971"/>
              <a:gd name="connsiteX227" fmla="*/ 4139984 w 5737264"/>
              <a:gd name="connsiteY227" fmla="*/ 60290 h 1240971"/>
              <a:gd name="connsiteX228" fmla="*/ 3918920 w 5737264"/>
              <a:gd name="connsiteY228" fmla="*/ 50242 h 1240971"/>
              <a:gd name="connsiteX229" fmla="*/ 3873703 w 5737264"/>
              <a:gd name="connsiteY229" fmla="*/ 45217 h 1240971"/>
              <a:gd name="connsiteX230" fmla="*/ 3687808 w 5737264"/>
              <a:gd name="connsiteY230" fmla="*/ 40193 h 1240971"/>
              <a:gd name="connsiteX231" fmla="*/ 3662687 w 5737264"/>
              <a:gd name="connsiteY231" fmla="*/ 35169 h 1240971"/>
              <a:gd name="connsiteX232" fmla="*/ 3627518 w 5737264"/>
              <a:gd name="connsiteY232" fmla="*/ 25121 h 1240971"/>
              <a:gd name="connsiteX233" fmla="*/ 3547131 w 5737264"/>
              <a:gd name="connsiteY233" fmla="*/ 20097 h 1240971"/>
              <a:gd name="connsiteX234" fmla="*/ 3310995 w 5737264"/>
              <a:gd name="connsiteY234" fmla="*/ 25121 h 1240971"/>
              <a:gd name="connsiteX235" fmla="*/ 3265777 w 5737264"/>
              <a:gd name="connsiteY235" fmla="*/ 30145 h 1240971"/>
              <a:gd name="connsiteX236" fmla="*/ 3175342 w 5737264"/>
              <a:gd name="connsiteY236" fmla="*/ 35169 h 1240971"/>
              <a:gd name="connsiteX237" fmla="*/ 2582489 w 5737264"/>
              <a:gd name="connsiteY237" fmla="*/ 45217 h 1240971"/>
              <a:gd name="connsiteX238" fmla="*/ 2255918 w 5737264"/>
              <a:gd name="connsiteY238" fmla="*/ 40193 h 1240971"/>
              <a:gd name="connsiteX239" fmla="*/ 1974564 w 5737264"/>
              <a:gd name="connsiteY239" fmla="*/ 30145 h 1240971"/>
              <a:gd name="connsiteX240" fmla="*/ 1944419 w 5737264"/>
              <a:gd name="connsiteY240" fmla="*/ 25121 h 1240971"/>
              <a:gd name="connsiteX241" fmla="*/ 1848960 w 5737264"/>
              <a:gd name="connsiteY241" fmla="*/ 20097 h 1240971"/>
              <a:gd name="connsiteX242" fmla="*/ 1768573 w 5737264"/>
              <a:gd name="connsiteY242" fmla="*/ 10048 h 1240971"/>
              <a:gd name="connsiteX243" fmla="*/ 1502292 w 5737264"/>
              <a:gd name="connsiteY243" fmla="*/ 20097 h 1240971"/>
              <a:gd name="connsiteX244" fmla="*/ 1467122 w 5737264"/>
              <a:gd name="connsiteY244" fmla="*/ 25121 h 1240971"/>
              <a:gd name="connsiteX245" fmla="*/ 1426929 w 5737264"/>
              <a:gd name="connsiteY245" fmla="*/ 30145 h 1240971"/>
              <a:gd name="connsiteX246" fmla="*/ 1341518 w 5737264"/>
              <a:gd name="connsiteY246" fmla="*/ 45217 h 1240971"/>
              <a:gd name="connsiteX247" fmla="*/ 1095333 w 5737264"/>
              <a:gd name="connsiteY247" fmla="*/ 35169 h 1240971"/>
              <a:gd name="connsiteX248" fmla="*/ 979777 w 5737264"/>
              <a:gd name="connsiteY248" fmla="*/ 20097 h 1240971"/>
              <a:gd name="connsiteX249" fmla="*/ 939584 w 5737264"/>
              <a:gd name="connsiteY249" fmla="*/ 10048 h 1240971"/>
              <a:gd name="connsiteX250" fmla="*/ 813980 w 5737264"/>
              <a:gd name="connsiteY250" fmla="*/ 0 h 1240971"/>
              <a:gd name="connsiteX251" fmla="*/ 743641 w 5737264"/>
              <a:gd name="connsiteY251" fmla="*/ 5024 h 1240971"/>
              <a:gd name="connsiteX252" fmla="*/ 582867 w 5737264"/>
              <a:gd name="connsiteY252" fmla="*/ 15072 h 1240971"/>
              <a:gd name="connsiteX253" fmla="*/ 432142 w 5737264"/>
              <a:gd name="connsiteY253" fmla="*/ 5024 h 1240971"/>
              <a:gd name="connsiteX254" fmla="*/ 412046 w 5737264"/>
              <a:gd name="connsiteY254" fmla="*/ 0 h 1240971"/>
              <a:gd name="connsiteX255" fmla="*/ 281417 w 5737264"/>
              <a:gd name="connsiteY255" fmla="*/ 10048 h 1240971"/>
              <a:gd name="connsiteX256" fmla="*/ 261320 w 5737264"/>
              <a:gd name="connsiteY256" fmla="*/ 15072 h 1240971"/>
              <a:gd name="connsiteX257" fmla="*/ 100547 w 5737264"/>
              <a:gd name="connsiteY257" fmla="*/ 20097 h 1240971"/>
              <a:gd name="connsiteX258" fmla="*/ 5087 w 5737264"/>
              <a:gd name="connsiteY258"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78701 w 5737264"/>
              <a:gd name="connsiteY148" fmla="*/ 1060127 h 1240971"/>
              <a:gd name="connsiteX149" fmla="*/ 3935563 w 5737264"/>
              <a:gd name="connsiteY149" fmla="*/ 1094223 h 1240971"/>
              <a:gd name="connsiteX150" fmla="*/ 3969162 w 5737264"/>
              <a:gd name="connsiteY150" fmla="*/ 1100294 h 1240971"/>
              <a:gd name="connsiteX151" fmla="*/ 3984235 w 5737264"/>
              <a:gd name="connsiteY151" fmla="*/ 1130439 h 1240971"/>
              <a:gd name="connsiteX152" fmla="*/ 4019404 w 5737264"/>
              <a:gd name="connsiteY152" fmla="*/ 1165609 h 1240971"/>
              <a:gd name="connsiteX153" fmla="*/ 4064621 w 5737264"/>
              <a:gd name="connsiteY153" fmla="*/ 1150536 h 1240971"/>
              <a:gd name="connsiteX154" fmla="*/ 4079694 w 5737264"/>
              <a:gd name="connsiteY154" fmla="*/ 1125415 h 1240971"/>
              <a:gd name="connsiteX155" fmla="*/ 4099791 w 5737264"/>
              <a:gd name="connsiteY155" fmla="*/ 1105319 h 1240971"/>
              <a:gd name="connsiteX156" fmla="*/ 4129936 w 5737264"/>
              <a:gd name="connsiteY156" fmla="*/ 1075173 h 1240971"/>
              <a:gd name="connsiteX157" fmla="*/ 4150032 w 5737264"/>
              <a:gd name="connsiteY157" fmla="*/ 1040004 h 1240971"/>
              <a:gd name="connsiteX158" fmla="*/ 4160081 w 5737264"/>
              <a:gd name="connsiteY158" fmla="*/ 1019908 h 1240971"/>
              <a:gd name="connsiteX159" fmla="*/ 4165105 w 5737264"/>
              <a:gd name="connsiteY159" fmla="*/ 1004835 h 1240971"/>
              <a:gd name="connsiteX160" fmla="*/ 4185202 w 5737264"/>
              <a:gd name="connsiteY160" fmla="*/ 984738 h 1240971"/>
              <a:gd name="connsiteX161" fmla="*/ 4200274 w 5737264"/>
              <a:gd name="connsiteY161" fmla="*/ 979714 h 1240971"/>
              <a:gd name="connsiteX162" fmla="*/ 4235443 w 5737264"/>
              <a:gd name="connsiteY162" fmla="*/ 954593 h 1240971"/>
              <a:gd name="connsiteX163" fmla="*/ 4275637 w 5737264"/>
              <a:gd name="connsiteY163" fmla="*/ 934497 h 1240971"/>
              <a:gd name="connsiteX164" fmla="*/ 4310806 w 5737264"/>
              <a:gd name="connsiteY164" fmla="*/ 914400 h 1240971"/>
              <a:gd name="connsiteX165" fmla="*/ 4325878 w 5737264"/>
              <a:gd name="connsiteY165" fmla="*/ 904352 h 1240971"/>
              <a:gd name="connsiteX166" fmla="*/ 4362094 w 5737264"/>
              <a:gd name="connsiteY166" fmla="*/ 909114 h 1240971"/>
              <a:gd name="connsiteX167" fmla="*/ 4417099 w 5737264"/>
              <a:gd name="connsiteY167" fmla="*/ 946141 h 1240971"/>
              <a:gd name="connsiteX168" fmla="*/ 4462316 w 5737264"/>
              <a:gd name="connsiteY168" fmla="*/ 1006955 h 1240971"/>
              <a:gd name="connsiteX169" fmla="*/ 4531320 w 5737264"/>
              <a:gd name="connsiteY169" fmla="*/ 1037650 h 1240971"/>
              <a:gd name="connsiteX170" fmla="*/ 4597184 w 5737264"/>
              <a:gd name="connsiteY170" fmla="*/ 969666 h 1240971"/>
              <a:gd name="connsiteX171" fmla="*/ 4617281 w 5737264"/>
              <a:gd name="connsiteY171" fmla="*/ 959617 h 1240971"/>
              <a:gd name="connsiteX172" fmla="*/ 4632353 w 5737264"/>
              <a:gd name="connsiteY172" fmla="*/ 944545 h 1240971"/>
              <a:gd name="connsiteX173" fmla="*/ 4652450 w 5737264"/>
              <a:gd name="connsiteY173" fmla="*/ 934497 h 1240971"/>
              <a:gd name="connsiteX174" fmla="*/ 4672547 w 5737264"/>
              <a:gd name="connsiteY174" fmla="*/ 919424 h 1240971"/>
              <a:gd name="connsiteX175" fmla="*/ 4737861 w 5737264"/>
              <a:gd name="connsiteY175" fmla="*/ 884255 h 1240971"/>
              <a:gd name="connsiteX176" fmla="*/ 4762982 w 5737264"/>
              <a:gd name="connsiteY176" fmla="*/ 879231 h 1240971"/>
              <a:gd name="connsiteX177" fmla="*/ 4778054 w 5737264"/>
              <a:gd name="connsiteY177" fmla="*/ 874206 h 1240971"/>
              <a:gd name="connsiteX178" fmla="*/ 4819294 w 5737264"/>
              <a:gd name="connsiteY178" fmla="*/ 873944 h 1240971"/>
              <a:gd name="connsiteX179" fmla="*/ 4877465 w 5737264"/>
              <a:gd name="connsiteY179" fmla="*/ 895638 h 1240971"/>
              <a:gd name="connsiteX180" fmla="*/ 4935347 w 5737264"/>
              <a:gd name="connsiteY180" fmla="*/ 934523 h 1240971"/>
              <a:gd name="connsiteX181" fmla="*/ 4995402 w 5737264"/>
              <a:gd name="connsiteY181" fmla="*/ 1006746 h 1240971"/>
              <a:gd name="connsiteX182" fmla="*/ 5024762 w 5737264"/>
              <a:gd name="connsiteY182" fmla="*/ 1051963 h 1240971"/>
              <a:gd name="connsiteX183" fmla="*/ 5092223 w 5737264"/>
              <a:gd name="connsiteY183" fmla="*/ 1016506 h 1240971"/>
              <a:gd name="connsiteX184" fmla="*/ 5144322 w 5737264"/>
              <a:gd name="connsiteY184" fmla="*/ 948261 h 1240971"/>
              <a:gd name="connsiteX185" fmla="*/ 5189252 w 5737264"/>
              <a:gd name="connsiteY185" fmla="*/ 886112 h 1240971"/>
              <a:gd name="connsiteX186" fmla="*/ 5226279 w 5737264"/>
              <a:gd name="connsiteY186" fmla="*/ 856230 h 1240971"/>
              <a:gd name="connsiteX187" fmla="*/ 5260637 w 5737264"/>
              <a:gd name="connsiteY187" fmla="*/ 822918 h 1240971"/>
              <a:gd name="connsiteX188" fmla="*/ 5295282 w 5737264"/>
              <a:gd name="connsiteY188" fmla="*/ 800440 h 1240971"/>
              <a:gd name="connsiteX189" fmla="*/ 5334430 w 5737264"/>
              <a:gd name="connsiteY189" fmla="*/ 794893 h 1240971"/>
              <a:gd name="connsiteX190" fmla="*/ 5412174 w 5737264"/>
              <a:gd name="connsiteY190" fmla="*/ 824252 h 1240971"/>
              <a:gd name="connsiteX191" fmla="*/ 5431197 w 5737264"/>
              <a:gd name="connsiteY191" fmla="*/ 768699 h 1240971"/>
              <a:gd name="connsiteX192" fmla="*/ 5441246 w 5737264"/>
              <a:gd name="connsiteY192" fmla="*/ 753626 h 1240971"/>
              <a:gd name="connsiteX193" fmla="*/ 5456318 w 5737264"/>
              <a:gd name="connsiteY193" fmla="*/ 708409 h 1240971"/>
              <a:gd name="connsiteX194" fmla="*/ 5466366 w 5737264"/>
              <a:gd name="connsiteY194" fmla="*/ 683288 h 1240971"/>
              <a:gd name="connsiteX195" fmla="*/ 5476415 w 5737264"/>
              <a:gd name="connsiteY195" fmla="*/ 643094 h 1240971"/>
              <a:gd name="connsiteX196" fmla="*/ 5491487 w 5737264"/>
              <a:gd name="connsiteY196" fmla="*/ 617973 h 1240971"/>
              <a:gd name="connsiteX197" fmla="*/ 5506560 w 5737264"/>
              <a:gd name="connsiteY197" fmla="*/ 572756 h 1240971"/>
              <a:gd name="connsiteX198" fmla="*/ 5526656 w 5737264"/>
              <a:gd name="connsiteY198" fmla="*/ 522514 h 1240971"/>
              <a:gd name="connsiteX199" fmla="*/ 5546753 w 5737264"/>
              <a:gd name="connsiteY199" fmla="*/ 467248 h 1240971"/>
              <a:gd name="connsiteX200" fmla="*/ 5556802 w 5737264"/>
              <a:gd name="connsiteY200" fmla="*/ 411982 h 1240971"/>
              <a:gd name="connsiteX201" fmla="*/ 5566850 w 5737264"/>
              <a:gd name="connsiteY201" fmla="*/ 381837 h 1240971"/>
              <a:gd name="connsiteX202" fmla="*/ 5576898 w 5737264"/>
              <a:gd name="connsiteY202" fmla="*/ 356716 h 1240971"/>
              <a:gd name="connsiteX203" fmla="*/ 5596995 w 5737264"/>
              <a:gd name="connsiteY203" fmla="*/ 316523 h 1240971"/>
              <a:gd name="connsiteX204" fmla="*/ 5617092 w 5737264"/>
              <a:gd name="connsiteY204" fmla="*/ 246184 h 1240971"/>
              <a:gd name="connsiteX205" fmla="*/ 5622116 w 5737264"/>
              <a:gd name="connsiteY205" fmla="*/ 226088 h 1240971"/>
              <a:gd name="connsiteX206" fmla="*/ 5632164 w 5737264"/>
              <a:gd name="connsiteY206" fmla="*/ 216039 h 1240971"/>
              <a:gd name="connsiteX207" fmla="*/ 5637188 w 5737264"/>
              <a:gd name="connsiteY207" fmla="*/ 200967 h 1240971"/>
              <a:gd name="connsiteX208" fmla="*/ 5651738 w 5737264"/>
              <a:gd name="connsiteY208" fmla="*/ 190395 h 1240971"/>
              <a:gd name="connsiteX209" fmla="*/ 5673692 w 5737264"/>
              <a:gd name="connsiteY209" fmla="*/ 153892 h 1240971"/>
              <a:gd name="connsiteX210" fmla="*/ 5726602 w 5737264"/>
              <a:gd name="connsiteY210" fmla="*/ 89362 h 1240971"/>
              <a:gd name="connsiteX211" fmla="*/ 5728722 w 5737264"/>
              <a:gd name="connsiteY211" fmla="*/ 42287 h 1240971"/>
              <a:gd name="connsiteX212" fmla="*/ 5634284 w 5737264"/>
              <a:gd name="connsiteY212" fmla="*/ 25357 h 1240971"/>
              <a:gd name="connsiteX213" fmla="*/ 5536940 w 5737264"/>
              <a:gd name="connsiteY213" fmla="*/ 27214 h 1240971"/>
              <a:gd name="connsiteX214" fmla="*/ 5470369 w 5737264"/>
              <a:gd name="connsiteY214" fmla="*/ 39381 h 1240971"/>
              <a:gd name="connsiteX215" fmla="*/ 5379124 w 5737264"/>
              <a:gd name="connsiteY215" fmla="*/ 39644 h 1240971"/>
              <a:gd name="connsiteX216" fmla="*/ 5309282 w 5737264"/>
              <a:gd name="connsiteY216" fmla="*/ 42287 h 1240971"/>
              <a:gd name="connsiteX217" fmla="*/ 5238682 w 5737264"/>
              <a:gd name="connsiteY217" fmla="*/ 54455 h 1240971"/>
              <a:gd name="connsiteX218" fmla="*/ 5108892 w 5737264"/>
              <a:gd name="connsiteY218" fmla="*/ 37524 h 1240971"/>
              <a:gd name="connsiteX219" fmla="*/ 5020026 w 5737264"/>
              <a:gd name="connsiteY219" fmla="*/ 39120 h 1240971"/>
              <a:gd name="connsiteX220" fmla="*/ 4946233 w 5737264"/>
              <a:gd name="connsiteY220" fmla="*/ 41240 h 1240971"/>
              <a:gd name="connsiteX221" fmla="*/ 4823272 w 5737264"/>
              <a:gd name="connsiteY221" fmla="*/ 50242 h 1240971"/>
              <a:gd name="connsiteX222" fmla="*/ 4727577 w 5737264"/>
              <a:gd name="connsiteY222" fmla="*/ 29073 h 1240971"/>
              <a:gd name="connsiteX223" fmla="*/ 4628376 w 5737264"/>
              <a:gd name="connsiteY223" fmla="*/ 41240 h 1240971"/>
              <a:gd name="connsiteX224" fmla="*/ 4565180 w 5737264"/>
              <a:gd name="connsiteY224" fmla="*/ 46264 h 1240971"/>
              <a:gd name="connsiteX225" fmla="*/ 4417596 w 5737264"/>
              <a:gd name="connsiteY225" fmla="*/ 44406 h 1240971"/>
              <a:gd name="connsiteX226" fmla="*/ 4139984 w 5737264"/>
              <a:gd name="connsiteY226" fmla="*/ 60290 h 1240971"/>
              <a:gd name="connsiteX227" fmla="*/ 3918920 w 5737264"/>
              <a:gd name="connsiteY227" fmla="*/ 50242 h 1240971"/>
              <a:gd name="connsiteX228" fmla="*/ 3873703 w 5737264"/>
              <a:gd name="connsiteY228" fmla="*/ 45217 h 1240971"/>
              <a:gd name="connsiteX229" fmla="*/ 3687808 w 5737264"/>
              <a:gd name="connsiteY229" fmla="*/ 40193 h 1240971"/>
              <a:gd name="connsiteX230" fmla="*/ 3662687 w 5737264"/>
              <a:gd name="connsiteY230" fmla="*/ 35169 h 1240971"/>
              <a:gd name="connsiteX231" fmla="*/ 3627518 w 5737264"/>
              <a:gd name="connsiteY231" fmla="*/ 25121 h 1240971"/>
              <a:gd name="connsiteX232" fmla="*/ 3547131 w 5737264"/>
              <a:gd name="connsiteY232" fmla="*/ 20097 h 1240971"/>
              <a:gd name="connsiteX233" fmla="*/ 3310995 w 5737264"/>
              <a:gd name="connsiteY233" fmla="*/ 25121 h 1240971"/>
              <a:gd name="connsiteX234" fmla="*/ 3265777 w 5737264"/>
              <a:gd name="connsiteY234" fmla="*/ 30145 h 1240971"/>
              <a:gd name="connsiteX235" fmla="*/ 3175342 w 5737264"/>
              <a:gd name="connsiteY235" fmla="*/ 35169 h 1240971"/>
              <a:gd name="connsiteX236" fmla="*/ 2582489 w 5737264"/>
              <a:gd name="connsiteY236" fmla="*/ 45217 h 1240971"/>
              <a:gd name="connsiteX237" fmla="*/ 2255918 w 5737264"/>
              <a:gd name="connsiteY237" fmla="*/ 40193 h 1240971"/>
              <a:gd name="connsiteX238" fmla="*/ 1974564 w 5737264"/>
              <a:gd name="connsiteY238" fmla="*/ 30145 h 1240971"/>
              <a:gd name="connsiteX239" fmla="*/ 1944419 w 5737264"/>
              <a:gd name="connsiteY239" fmla="*/ 25121 h 1240971"/>
              <a:gd name="connsiteX240" fmla="*/ 1848960 w 5737264"/>
              <a:gd name="connsiteY240" fmla="*/ 20097 h 1240971"/>
              <a:gd name="connsiteX241" fmla="*/ 1768573 w 5737264"/>
              <a:gd name="connsiteY241" fmla="*/ 10048 h 1240971"/>
              <a:gd name="connsiteX242" fmla="*/ 1502292 w 5737264"/>
              <a:gd name="connsiteY242" fmla="*/ 20097 h 1240971"/>
              <a:gd name="connsiteX243" fmla="*/ 1467122 w 5737264"/>
              <a:gd name="connsiteY243" fmla="*/ 25121 h 1240971"/>
              <a:gd name="connsiteX244" fmla="*/ 1426929 w 5737264"/>
              <a:gd name="connsiteY244" fmla="*/ 30145 h 1240971"/>
              <a:gd name="connsiteX245" fmla="*/ 1341518 w 5737264"/>
              <a:gd name="connsiteY245" fmla="*/ 45217 h 1240971"/>
              <a:gd name="connsiteX246" fmla="*/ 1095333 w 5737264"/>
              <a:gd name="connsiteY246" fmla="*/ 35169 h 1240971"/>
              <a:gd name="connsiteX247" fmla="*/ 979777 w 5737264"/>
              <a:gd name="connsiteY247" fmla="*/ 20097 h 1240971"/>
              <a:gd name="connsiteX248" fmla="*/ 939584 w 5737264"/>
              <a:gd name="connsiteY248" fmla="*/ 10048 h 1240971"/>
              <a:gd name="connsiteX249" fmla="*/ 813980 w 5737264"/>
              <a:gd name="connsiteY249" fmla="*/ 0 h 1240971"/>
              <a:gd name="connsiteX250" fmla="*/ 743641 w 5737264"/>
              <a:gd name="connsiteY250" fmla="*/ 5024 h 1240971"/>
              <a:gd name="connsiteX251" fmla="*/ 582867 w 5737264"/>
              <a:gd name="connsiteY251" fmla="*/ 15072 h 1240971"/>
              <a:gd name="connsiteX252" fmla="*/ 432142 w 5737264"/>
              <a:gd name="connsiteY252" fmla="*/ 5024 h 1240971"/>
              <a:gd name="connsiteX253" fmla="*/ 412046 w 5737264"/>
              <a:gd name="connsiteY253" fmla="*/ 0 h 1240971"/>
              <a:gd name="connsiteX254" fmla="*/ 281417 w 5737264"/>
              <a:gd name="connsiteY254" fmla="*/ 10048 h 1240971"/>
              <a:gd name="connsiteX255" fmla="*/ 261320 w 5737264"/>
              <a:gd name="connsiteY255" fmla="*/ 15072 h 1240971"/>
              <a:gd name="connsiteX256" fmla="*/ 100547 w 5737264"/>
              <a:gd name="connsiteY256" fmla="*/ 20097 h 1240971"/>
              <a:gd name="connsiteX257" fmla="*/ 5087 w 5737264"/>
              <a:gd name="connsiteY257"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78701 w 5737264"/>
              <a:gd name="connsiteY148" fmla="*/ 1060127 h 1240971"/>
              <a:gd name="connsiteX149" fmla="*/ 3935563 w 5737264"/>
              <a:gd name="connsiteY149" fmla="*/ 1094223 h 1240971"/>
              <a:gd name="connsiteX150" fmla="*/ 3984235 w 5737264"/>
              <a:gd name="connsiteY150" fmla="*/ 1130439 h 1240971"/>
              <a:gd name="connsiteX151" fmla="*/ 4019404 w 5737264"/>
              <a:gd name="connsiteY151" fmla="*/ 1165609 h 1240971"/>
              <a:gd name="connsiteX152" fmla="*/ 4064621 w 5737264"/>
              <a:gd name="connsiteY152" fmla="*/ 1150536 h 1240971"/>
              <a:gd name="connsiteX153" fmla="*/ 4079694 w 5737264"/>
              <a:gd name="connsiteY153" fmla="*/ 1125415 h 1240971"/>
              <a:gd name="connsiteX154" fmla="*/ 4099791 w 5737264"/>
              <a:gd name="connsiteY154" fmla="*/ 1105319 h 1240971"/>
              <a:gd name="connsiteX155" fmla="*/ 4129936 w 5737264"/>
              <a:gd name="connsiteY155" fmla="*/ 1075173 h 1240971"/>
              <a:gd name="connsiteX156" fmla="*/ 4150032 w 5737264"/>
              <a:gd name="connsiteY156" fmla="*/ 1040004 h 1240971"/>
              <a:gd name="connsiteX157" fmla="*/ 4160081 w 5737264"/>
              <a:gd name="connsiteY157" fmla="*/ 1019908 h 1240971"/>
              <a:gd name="connsiteX158" fmla="*/ 4165105 w 5737264"/>
              <a:gd name="connsiteY158" fmla="*/ 1004835 h 1240971"/>
              <a:gd name="connsiteX159" fmla="*/ 4185202 w 5737264"/>
              <a:gd name="connsiteY159" fmla="*/ 984738 h 1240971"/>
              <a:gd name="connsiteX160" fmla="*/ 4200274 w 5737264"/>
              <a:gd name="connsiteY160" fmla="*/ 979714 h 1240971"/>
              <a:gd name="connsiteX161" fmla="*/ 4235443 w 5737264"/>
              <a:gd name="connsiteY161" fmla="*/ 954593 h 1240971"/>
              <a:gd name="connsiteX162" fmla="*/ 4275637 w 5737264"/>
              <a:gd name="connsiteY162" fmla="*/ 934497 h 1240971"/>
              <a:gd name="connsiteX163" fmla="*/ 4310806 w 5737264"/>
              <a:gd name="connsiteY163" fmla="*/ 914400 h 1240971"/>
              <a:gd name="connsiteX164" fmla="*/ 4325878 w 5737264"/>
              <a:gd name="connsiteY164" fmla="*/ 904352 h 1240971"/>
              <a:gd name="connsiteX165" fmla="*/ 4362094 w 5737264"/>
              <a:gd name="connsiteY165" fmla="*/ 909114 h 1240971"/>
              <a:gd name="connsiteX166" fmla="*/ 4417099 w 5737264"/>
              <a:gd name="connsiteY166" fmla="*/ 946141 h 1240971"/>
              <a:gd name="connsiteX167" fmla="*/ 4462316 w 5737264"/>
              <a:gd name="connsiteY167" fmla="*/ 1006955 h 1240971"/>
              <a:gd name="connsiteX168" fmla="*/ 4531320 w 5737264"/>
              <a:gd name="connsiteY168" fmla="*/ 1037650 h 1240971"/>
              <a:gd name="connsiteX169" fmla="*/ 4597184 w 5737264"/>
              <a:gd name="connsiteY169" fmla="*/ 969666 h 1240971"/>
              <a:gd name="connsiteX170" fmla="*/ 4617281 w 5737264"/>
              <a:gd name="connsiteY170" fmla="*/ 959617 h 1240971"/>
              <a:gd name="connsiteX171" fmla="*/ 4632353 w 5737264"/>
              <a:gd name="connsiteY171" fmla="*/ 944545 h 1240971"/>
              <a:gd name="connsiteX172" fmla="*/ 4652450 w 5737264"/>
              <a:gd name="connsiteY172" fmla="*/ 934497 h 1240971"/>
              <a:gd name="connsiteX173" fmla="*/ 4672547 w 5737264"/>
              <a:gd name="connsiteY173" fmla="*/ 919424 h 1240971"/>
              <a:gd name="connsiteX174" fmla="*/ 4737861 w 5737264"/>
              <a:gd name="connsiteY174" fmla="*/ 884255 h 1240971"/>
              <a:gd name="connsiteX175" fmla="*/ 4762982 w 5737264"/>
              <a:gd name="connsiteY175" fmla="*/ 879231 h 1240971"/>
              <a:gd name="connsiteX176" fmla="*/ 4778054 w 5737264"/>
              <a:gd name="connsiteY176" fmla="*/ 874206 h 1240971"/>
              <a:gd name="connsiteX177" fmla="*/ 4819294 w 5737264"/>
              <a:gd name="connsiteY177" fmla="*/ 873944 h 1240971"/>
              <a:gd name="connsiteX178" fmla="*/ 4877465 w 5737264"/>
              <a:gd name="connsiteY178" fmla="*/ 895638 h 1240971"/>
              <a:gd name="connsiteX179" fmla="*/ 4935347 w 5737264"/>
              <a:gd name="connsiteY179" fmla="*/ 934523 h 1240971"/>
              <a:gd name="connsiteX180" fmla="*/ 4995402 w 5737264"/>
              <a:gd name="connsiteY180" fmla="*/ 1006746 h 1240971"/>
              <a:gd name="connsiteX181" fmla="*/ 5024762 w 5737264"/>
              <a:gd name="connsiteY181" fmla="*/ 1051963 h 1240971"/>
              <a:gd name="connsiteX182" fmla="*/ 5092223 w 5737264"/>
              <a:gd name="connsiteY182" fmla="*/ 1016506 h 1240971"/>
              <a:gd name="connsiteX183" fmla="*/ 5144322 w 5737264"/>
              <a:gd name="connsiteY183" fmla="*/ 948261 h 1240971"/>
              <a:gd name="connsiteX184" fmla="*/ 5189252 w 5737264"/>
              <a:gd name="connsiteY184" fmla="*/ 886112 h 1240971"/>
              <a:gd name="connsiteX185" fmla="*/ 5226279 w 5737264"/>
              <a:gd name="connsiteY185" fmla="*/ 856230 h 1240971"/>
              <a:gd name="connsiteX186" fmla="*/ 5260637 w 5737264"/>
              <a:gd name="connsiteY186" fmla="*/ 822918 h 1240971"/>
              <a:gd name="connsiteX187" fmla="*/ 5295282 w 5737264"/>
              <a:gd name="connsiteY187" fmla="*/ 800440 h 1240971"/>
              <a:gd name="connsiteX188" fmla="*/ 5334430 w 5737264"/>
              <a:gd name="connsiteY188" fmla="*/ 794893 h 1240971"/>
              <a:gd name="connsiteX189" fmla="*/ 5412174 w 5737264"/>
              <a:gd name="connsiteY189" fmla="*/ 824252 h 1240971"/>
              <a:gd name="connsiteX190" fmla="*/ 5431197 w 5737264"/>
              <a:gd name="connsiteY190" fmla="*/ 768699 h 1240971"/>
              <a:gd name="connsiteX191" fmla="*/ 5441246 w 5737264"/>
              <a:gd name="connsiteY191" fmla="*/ 753626 h 1240971"/>
              <a:gd name="connsiteX192" fmla="*/ 5456318 w 5737264"/>
              <a:gd name="connsiteY192" fmla="*/ 708409 h 1240971"/>
              <a:gd name="connsiteX193" fmla="*/ 5466366 w 5737264"/>
              <a:gd name="connsiteY193" fmla="*/ 683288 h 1240971"/>
              <a:gd name="connsiteX194" fmla="*/ 5476415 w 5737264"/>
              <a:gd name="connsiteY194" fmla="*/ 643094 h 1240971"/>
              <a:gd name="connsiteX195" fmla="*/ 5491487 w 5737264"/>
              <a:gd name="connsiteY195" fmla="*/ 617973 h 1240971"/>
              <a:gd name="connsiteX196" fmla="*/ 5506560 w 5737264"/>
              <a:gd name="connsiteY196" fmla="*/ 572756 h 1240971"/>
              <a:gd name="connsiteX197" fmla="*/ 5526656 w 5737264"/>
              <a:gd name="connsiteY197" fmla="*/ 522514 h 1240971"/>
              <a:gd name="connsiteX198" fmla="*/ 5546753 w 5737264"/>
              <a:gd name="connsiteY198" fmla="*/ 467248 h 1240971"/>
              <a:gd name="connsiteX199" fmla="*/ 5556802 w 5737264"/>
              <a:gd name="connsiteY199" fmla="*/ 411982 h 1240971"/>
              <a:gd name="connsiteX200" fmla="*/ 5566850 w 5737264"/>
              <a:gd name="connsiteY200" fmla="*/ 381837 h 1240971"/>
              <a:gd name="connsiteX201" fmla="*/ 5576898 w 5737264"/>
              <a:gd name="connsiteY201" fmla="*/ 356716 h 1240971"/>
              <a:gd name="connsiteX202" fmla="*/ 5596995 w 5737264"/>
              <a:gd name="connsiteY202" fmla="*/ 316523 h 1240971"/>
              <a:gd name="connsiteX203" fmla="*/ 5617092 w 5737264"/>
              <a:gd name="connsiteY203" fmla="*/ 246184 h 1240971"/>
              <a:gd name="connsiteX204" fmla="*/ 5622116 w 5737264"/>
              <a:gd name="connsiteY204" fmla="*/ 226088 h 1240971"/>
              <a:gd name="connsiteX205" fmla="*/ 5632164 w 5737264"/>
              <a:gd name="connsiteY205" fmla="*/ 216039 h 1240971"/>
              <a:gd name="connsiteX206" fmla="*/ 5637188 w 5737264"/>
              <a:gd name="connsiteY206" fmla="*/ 200967 h 1240971"/>
              <a:gd name="connsiteX207" fmla="*/ 5651738 w 5737264"/>
              <a:gd name="connsiteY207" fmla="*/ 190395 h 1240971"/>
              <a:gd name="connsiteX208" fmla="*/ 5673692 w 5737264"/>
              <a:gd name="connsiteY208" fmla="*/ 153892 h 1240971"/>
              <a:gd name="connsiteX209" fmla="*/ 5726602 w 5737264"/>
              <a:gd name="connsiteY209" fmla="*/ 89362 h 1240971"/>
              <a:gd name="connsiteX210" fmla="*/ 5728722 w 5737264"/>
              <a:gd name="connsiteY210" fmla="*/ 42287 h 1240971"/>
              <a:gd name="connsiteX211" fmla="*/ 5634284 w 5737264"/>
              <a:gd name="connsiteY211" fmla="*/ 25357 h 1240971"/>
              <a:gd name="connsiteX212" fmla="*/ 5536940 w 5737264"/>
              <a:gd name="connsiteY212" fmla="*/ 27214 h 1240971"/>
              <a:gd name="connsiteX213" fmla="*/ 5470369 w 5737264"/>
              <a:gd name="connsiteY213" fmla="*/ 39381 h 1240971"/>
              <a:gd name="connsiteX214" fmla="*/ 5379124 w 5737264"/>
              <a:gd name="connsiteY214" fmla="*/ 39644 h 1240971"/>
              <a:gd name="connsiteX215" fmla="*/ 5309282 w 5737264"/>
              <a:gd name="connsiteY215" fmla="*/ 42287 h 1240971"/>
              <a:gd name="connsiteX216" fmla="*/ 5238682 w 5737264"/>
              <a:gd name="connsiteY216" fmla="*/ 54455 h 1240971"/>
              <a:gd name="connsiteX217" fmla="*/ 5108892 w 5737264"/>
              <a:gd name="connsiteY217" fmla="*/ 37524 h 1240971"/>
              <a:gd name="connsiteX218" fmla="*/ 5020026 w 5737264"/>
              <a:gd name="connsiteY218" fmla="*/ 39120 h 1240971"/>
              <a:gd name="connsiteX219" fmla="*/ 4946233 w 5737264"/>
              <a:gd name="connsiteY219" fmla="*/ 41240 h 1240971"/>
              <a:gd name="connsiteX220" fmla="*/ 4823272 w 5737264"/>
              <a:gd name="connsiteY220" fmla="*/ 50242 h 1240971"/>
              <a:gd name="connsiteX221" fmla="*/ 4727577 w 5737264"/>
              <a:gd name="connsiteY221" fmla="*/ 29073 h 1240971"/>
              <a:gd name="connsiteX222" fmla="*/ 4628376 w 5737264"/>
              <a:gd name="connsiteY222" fmla="*/ 41240 h 1240971"/>
              <a:gd name="connsiteX223" fmla="*/ 4565180 w 5737264"/>
              <a:gd name="connsiteY223" fmla="*/ 46264 h 1240971"/>
              <a:gd name="connsiteX224" fmla="*/ 4417596 w 5737264"/>
              <a:gd name="connsiteY224" fmla="*/ 44406 h 1240971"/>
              <a:gd name="connsiteX225" fmla="*/ 4139984 w 5737264"/>
              <a:gd name="connsiteY225" fmla="*/ 60290 h 1240971"/>
              <a:gd name="connsiteX226" fmla="*/ 3918920 w 5737264"/>
              <a:gd name="connsiteY226" fmla="*/ 50242 h 1240971"/>
              <a:gd name="connsiteX227" fmla="*/ 3873703 w 5737264"/>
              <a:gd name="connsiteY227" fmla="*/ 45217 h 1240971"/>
              <a:gd name="connsiteX228" fmla="*/ 3687808 w 5737264"/>
              <a:gd name="connsiteY228" fmla="*/ 40193 h 1240971"/>
              <a:gd name="connsiteX229" fmla="*/ 3662687 w 5737264"/>
              <a:gd name="connsiteY229" fmla="*/ 35169 h 1240971"/>
              <a:gd name="connsiteX230" fmla="*/ 3627518 w 5737264"/>
              <a:gd name="connsiteY230" fmla="*/ 25121 h 1240971"/>
              <a:gd name="connsiteX231" fmla="*/ 3547131 w 5737264"/>
              <a:gd name="connsiteY231" fmla="*/ 20097 h 1240971"/>
              <a:gd name="connsiteX232" fmla="*/ 3310995 w 5737264"/>
              <a:gd name="connsiteY232" fmla="*/ 25121 h 1240971"/>
              <a:gd name="connsiteX233" fmla="*/ 3265777 w 5737264"/>
              <a:gd name="connsiteY233" fmla="*/ 30145 h 1240971"/>
              <a:gd name="connsiteX234" fmla="*/ 3175342 w 5737264"/>
              <a:gd name="connsiteY234" fmla="*/ 35169 h 1240971"/>
              <a:gd name="connsiteX235" fmla="*/ 2582489 w 5737264"/>
              <a:gd name="connsiteY235" fmla="*/ 45217 h 1240971"/>
              <a:gd name="connsiteX236" fmla="*/ 2255918 w 5737264"/>
              <a:gd name="connsiteY236" fmla="*/ 40193 h 1240971"/>
              <a:gd name="connsiteX237" fmla="*/ 1974564 w 5737264"/>
              <a:gd name="connsiteY237" fmla="*/ 30145 h 1240971"/>
              <a:gd name="connsiteX238" fmla="*/ 1944419 w 5737264"/>
              <a:gd name="connsiteY238" fmla="*/ 25121 h 1240971"/>
              <a:gd name="connsiteX239" fmla="*/ 1848960 w 5737264"/>
              <a:gd name="connsiteY239" fmla="*/ 20097 h 1240971"/>
              <a:gd name="connsiteX240" fmla="*/ 1768573 w 5737264"/>
              <a:gd name="connsiteY240" fmla="*/ 10048 h 1240971"/>
              <a:gd name="connsiteX241" fmla="*/ 1502292 w 5737264"/>
              <a:gd name="connsiteY241" fmla="*/ 20097 h 1240971"/>
              <a:gd name="connsiteX242" fmla="*/ 1467122 w 5737264"/>
              <a:gd name="connsiteY242" fmla="*/ 25121 h 1240971"/>
              <a:gd name="connsiteX243" fmla="*/ 1426929 w 5737264"/>
              <a:gd name="connsiteY243" fmla="*/ 30145 h 1240971"/>
              <a:gd name="connsiteX244" fmla="*/ 1341518 w 5737264"/>
              <a:gd name="connsiteY244" fmla="*/ 45217 h 1240971"/>
              <a:gd name="connsiteX245" fmla="*/ 1095333 w 5737264"/>
              <a:gd name="connsiteY245" fmla="*/ 35169 h 1240971"/>
              <a:gd name="connsiteX246" fmla="*/ 979777 w 5737264"/>
              <a:gd name="connsiteY246" fmla="*/ 20097 h 1240971"/>
              <a:gd name="connsiteX247" fmla="*/ 939584 w 5737264"/>
              <a:gd name="connsiteY247" fmla="*/ 10048 h 1240971"/>
              <a:gd name="connsiteX248" fmla="*/ 813980 w 5737264"/>
              <a:gd name="connsiteY248" fmla="*/ 0 h 1240971"/>
              <a:gd name="connsiteX249" fmla="*/ 743641 w 5737264"/>
              <a:gd name="connsiteY249" fmla="*/ 5024 h 1240971"/>
              <a:gd name="connsiteX250" fmla="*/ 582867 w 5737264"/>
              <a:gd name="connsiteY250" fmla="*/ 15072 h 1240971"/>
              <a:gd name="connsiteX251" fmla="*/ 432142 w 5737264"/>
              <a:gd name="connsiteY251" fmla="*/ 5024 h 1240971"/>
              <a:gd name="connsiteX252" fmla="*/ 412046 w 5737264"/>
              <a:gd name="connsiteY252" fmla="*/ 0 h 1240971"/>
              <a:gd name="connsiteX253" fmla="*/ 281417 w 5737264"/>
              <a:gd name="connsiteY253" fmla="*/ 10048 h 1240971"/>
              <a:gd name="connsiteX254" fmla="*/ 261320 w 5737264"/>
              <a:gd name="connsiteY254" fmla="*/ 15072 h 1240971"/>
              <a:gd name="connsiteX255" fmla="*/ 100547 w 5737264"/>
              <a:gd name="connsiteY255" fmla="*/ 20097 h 1240971"/>
              <a:gd name="connsiteX256" fmla="*/ 5087 w 5737264"/>
              <a:gd name="connsiteY256"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78701 w 5737264"/>
              <a:gd name="connsiteY148" fmla="*/ 1060127 h 1240971"/>
              <a:gd name="connsiteX149" fmla="*/ 3935563 w 5737264"/>
              <a:gd name="connsiteY149" fmla="*/ 1094223 h 1240971"/>
              <a:gd name="connsiteX150" fmla="*/ 3958041 w 5737264"/>
              <a:gd name="connsiteY150" fmla="*/ 1142346 h 1240971"/>
              <a:gd name="connsiteX151" fmla="*/ 4019404 w 5737264"/>
              <a:gd name="connsiteY151" fmla="*/ 1165609 h 1240971"/>
              <a:gd name="connsiteX152" fmla="*/ 4064621 w 5737264"/>
              <a:gd name="connsiteY152" fmla="*/ 1150536 h 1240971"/>
              <a:gd name="connsiteX153" fmla="*/ 4079694 w 5737264"/>
              <a:gd name="connsiteY153" fmla="*/ 1125415 h 1240971"/>
              <a:gd name="connsiteX154" fmla="*/ 4099791 w 5737264"/>
              <a:gd name="connsiteY154" fmla="*/ 1105319 h 1240971"/>
              <a:gd name="connsiteX155" fmla="*/ 4129936 w 5737264"/>
              <a:gd name="connsiteY155" fmla="*/ 1075173 h 1240971"/>
              <a:gd name="connsiteX156" fmla="*/ 4150032 w 5737264"/>
              <a:gd name="connsiteY156" fmla="*/ 1040004 h 1240971"/>
              <a:gd name="connsiteX157" fmla="*/ 4160081 w 5737264"/>
              <a:gd name="connsiteY157" fmla="*/ 1019908 h 1240971"/>
              <a:gd name="connsiteX158" fmla="*/ 4165105 w 5737264"/>
              <a:gd name="connsiteY158" fmla="*/ 1004835 h 1240971"/>
              <a:gd name="connsiteX159" fmla="*/ 4185202 w 5737264"/>
              <a:gd name="connsiteY159" fmla="*/ 984738 h 1240971"/>
              <a:gd name="connsiteX160" fmla="*/ 4200274 w 5737264"/>
              <a:gd name="connsiteY160" fmla="*/ 979714 h 1240971"/>
              <a:gd name="connsiteX161" fmla="*/ 4235443 w 5737264"/>
              <a:gd name="connsiteY161" fmla="*/ 954593 h 1240971"/>
              <a:gd name="connsiteX162" fmla="*/ 4275637 w 5737264"/>
              <a:gd name="connsiteY162" fmla="*/ 934497 h 1240971"/>
              <a:gd name="connsiteX163" fmla="*/ 4310806 w 5737264"/>
              <a:gd name="connsiteY163" fmla="*/ 914400 h 1240971"/>
              <a:gd name="connsiteX164" fmla="*/ 4325878 w 5737264"/>
              <a:gd name="connsiteY164" fmla="*/ 904352 h 1240971"/>
              <a:gd name="connsiteX165" fmla="*/ 4362094 w 5737264"/>
              <a:gd name="connsiteY165" fmla="*/ 909114 h 1240971"/>
              <a:gd name="connsiteX166" fmla="*/ 4417099 w 5737264"/>
              <a:gd name="connsiteY166" fmla="*/ 946141 h 1240971"/>
              <a:gd name="connsiteX167" fmla="*/ 4462316 w 5737264"/>
              <a:gd name="connsiteY167" fmla="*/ 1006955 h 1240971"/>
              <a:gd name="connsiteX168" fmla="*/ 4531320 w 5737264"/>
              <a:gd name="connsiteY168" fmla="*/ 1037650 h 1240971"/>
              <a:gd name="connsiteX169" fmla="*/ 4597184 w 5737264"/>
              <a:gd name="connsiteY169" fmla="*/ 969666 h 1240971"/>
              <a:gd name="connsiteX170" fmla="*/ 4617281 w 5737264"/>
              <a:gd name="connsiteY170" fmla="*/ 959617 h 1240971"/>
              <a:gd name="connsiteX171" fmla="*/ 4632353 w 5737264"/>
              <a:gd name="connsiteY171" fmla="*/ 944545 h 1240971"/>
              <a:gd name="connsiteX172" fmla="*/ 4652450 w 5737264"/>
              <a:gd name="connsiteY172" fmla="*/ 934497 h 1240971"/>
              <a:gd name="connsiteX173" fmla="*/ 4672547 w 5737264"/>
              <a:gd name="connsiteY173" fmla="*/ 919424 h 1240971"/>
              <a:gd name="connsiteX174" fmla="*/ 4737861 w 5737264"/>
              <a:gd name="connsiteY174" fmla="*/ 884255 h 1240971"/>
              <a:gd name="connsiteX175" fmla="*/ 4762982 w 5737264"/>
              <a:gd name="connsiteY175" fmla="*/ 879231 h 1240971"/>
              <a:gd name="connsiteX176" fmla="*/ 4778054 w 5737264"/>
              <a:gd name="connsiteY176" fmla="*/ 874206 h 1240971"/>
              <a:gd name="connsiteX177" fmla="*/ 4819294 w 5737264"/>
              <a:gd name="connsiteY177" fmla="*/ 873944 h 1240971"/>
              <a:gd name="connsiteX178" fmla="*/ 4877465 w 5737264"/>
              <a:gd name="connsiteY178" fmla="*/ 895638 h 1240971"/>
              <a:gd name="connsiteX179" fmla="*/ 4935347 w 5737264"/>
              <a:gd name="connsiteY179" fmla="*/ 934523 h 1240971"/>
              <a:gd name="connsiteX180" fmla="*/ 4995402 w 5737264"/>
              <a:gd name="connsiteY180" fmla="*/ 1006746 h 1240971"/>
              <a:gd name="connsiteX181" fmla="*/ 5024762 w 5737264"/>
              <a:gd name="connsiteY181" fmla="*/ 1051963 h 1240971"/>
              <a:gd name="connsiteX182" fmla="*/ 5092223 w 5737264"/>
              <a:gd name="connsiteY182" fmla="*/ 1016506 h 1240971"/>
              <a:gd name="connsiteX183" fmla="*/ 5144322 w 5737264"/>
              <a:gd name="connsiteY183" fmla="*/ 948261 h 1240971"/>
              <a:gd name="connsiteX184" fmla="*/ 5189252 w 5737264"/>
              <a:gd name="connsiteY184" fmla="*/ 886112 h 1240971"/>
              <a:gd name="connsiteX185" fmla="*/ 5226279 w 5737264"/>
              <a:gd name="connsiteY185" fmla="*/ 856230 h 1240971"/>
              <a:gd name="connsiteX186" fmla="*/ 5260637 w 5737264"/>
              <a:gd name="connsiteY186" fmla="*/ 822918 h 1240971"/>
              <a:gd name="connsiteX187" fmla="*/ 5295282 w 5737264"/>
              <a:gd name="connsiteY187" fmla="*/ 800440 h 1240971"/>
              <a:gd name="connsiteX188" fmla="*/ 5334430 w 5737264"/>
              <a:gd name="connsiteY188" fmla="*/ 794893 h 1240971"/>
              <a:gd name="connsiteX189" fmla="*/ 5412174 w 5737264"/>
              <a:gd name="connsiteY189" fmla="*/ 824252 h 1240971"/>
              <a:gd name="connsiteX190" fmla="*/ 5431197 w 5737264"/>
              <a:gd name="connsiteY190" fmla="*/ 768699 h 1240971"/>
              <a:gd name="connsiteX191" fmla="*/ 5441246 w 5737264"/>
              <a:gd name="connsiteY191" fmla="*/ 753626 h 1240971"/>
              <a:gd name="connsiteX192" fmla="*/ 5456318 w 5737264"/>
              <a:gd name="connsiteY192" fmla="*/ 708409 h 1240971"/>
              <a:gd name="connsiteX193" fmla="*/ 5466366 w 5737264"/>
              <a:gd name="connsiteY193" fmla="*/ 683288 h 1240971"/>
              <a:gd name="connsiteX194" fmla="*/ 5476415 w 5737264"/>
              <a:gd name="connsiteY194" fmla="*/ 643094 h 1240971"/>
              <a:gd name="connsiteX195" fmla="*/ 5491487 w 5737264"/>
              <a:gd name="connsiteY195" fmla="*/ 617973 h 1240971"/>
              <a:gd name="connsiteX196" fmla="*/ 5506560 w 5737264"/>
              <a:gd name="connsiteY196" fmla="*/ 572756 h 1240971"/>
              <a:gd name="connsiteX197" fmla="*/ 5526656 w 5737264"/>
              <a:gd name="connsiteY197" fmla="*/ 522514 h 1240971"/>
              <a:gd name="connsiteX198" fmla="*/ 5546753 w 5737264"/>
              <a:gd name="connsiteY198" fmla="*/ 467248 h 1240971"/>
              <a:gd name="connsiteX199" fmla="*/ 5556802 w 5737264"/>
              <a:gd name="connsiteY199" fmla="*/ 411982 h 1240971"/>
              <a:gd name="connsiteX200" fmla="*/ 5566850 w 5737264"/>
              <a:gd name="connsiteY200" fmla="*/ 381837 h 1240971"/>
              <a:gd name="connsiteX201" fmla="*/ 5576898 w 5737264"/>
              <a:gd name="connsiteY201" fmla="*/ 356716 h 1240971"/>
              <a:gd name="connsiteX202" fmla="*/ 5596995 w 5737264"/>
              <a:gd name="connsiteY202" fmla="*/ 316523 h 1240971"/>
              <a:gd name="connsiteX203" fmla="*/ 5617092 w 5737264"/>
              <a:gd name="connsiteY203" fmla="*/ 246184 h 1240971"/>
              <a:gd name="connsiteX204" fmla="*/ 5622116 w 5737264"/>
              <a:gd name="connsiteY204" fmla="*/ 226088 h 1240971"/>
              <a:gd name="connsiteX205" fmla="*/ 5632164 w 5737264"/>
              <a:gd name="connsiteY205" fmla="*/ 216039 h 1240971"/>
              <a:gd name="connsiteX206" fmla="*/ 5637188 w 5737264"/>
              <a:gd name="connsiteY206" fmla="*/ 200967 h 1240971"/>
              <a:gd name="connsiteX207" fmla="*/ 5651738 w 5737264"/>
              <a:gd name="connsiteY207" fmla="*/ 190395 h 1240971"/>
              <a:gd name="connsiteX208" fmla="*/ 5673692 w 5737264"/>
              <a:gd name="connsiteY208" fmla="*/ 153892 h 1240971"/>
              <a:gd name="connsiteX209" fmla="*/ 5726602 w 5737264"/>
              <a:gd name="connsiteY209" fmla="*/ 89362 h 1240971"/>
              <a:gd name="connsiteX210" fmla="*/ 5728722 w 5737264"/>
              <a:gd name="connsiteY210" fmla="*/ 42287 h 1240971"/>
              <a:gd name="connsiteX211" fmla="*/ 5634284 w 5737264"/>
              <a:gd name="connsiteY211" fmla="*/ 25357 h 1240971"/>
              <a:gd name="connsiteX212" fmla="*/ 5536940 w 5737264"/>
              <a:gd name="connsiteY212" fmla="*/ 27214 h 1240971"/>
              <a:gd name="connsiteX213" fmla="*/ 5470369 w 5737264"/>
              <a:gd name="connsiteY213" fmla="*/ 39381 h 1240971"/>
              <a:gd name="connsiteX214" fmla="*/ 5379124 w 5737264"/>
              <a:gd name="connsiteY214" fmla="*/ 39644 h 1240971"/>
              <a:gd name="connsiteX215" fmla="*/ 5309282 w 5737264"/>
              <a:gd name="connsiteY215" fmla="*/ 42287 h 1240971"/>
              <a:gd name="connsiteX216" fmla="*/ 5238682 w 5737264"/>
              <a:gd name="connsiteY216" fmla="*/ 54455 h 1240971"/>
              <a:gd name="connsiteX217" fmla="*/ 5108892 w 5737264"/>
              <a:gd name="connsiteY217" fmla="*/ 37524 h 1240971"/>
              <a:gd name="connsiteX218" fmla="*/ 5020026 w 5737264"/>
              <a:gd name="connsiteY218" fmla="*/ 39120 h 1240971"/>
              <a:gd name="connsiteX219" fmla="*/ 4946233 w 5737264"/>
              <a:gd name="connsiteY219" fmla="*/ 41240 h 1240971"/>
              <a:gd name="connsiteX220" fmla="*/ 4823272 w 5737264"/>
              <a:gd name="connsiteY220" fmla="*/ 50242 h 1240971"/>
              <a:gd name="connsiteX221" fmla="*/ 4727577 w 5737264"/>
              <a:gd name="connsiteY221" fmla="*/ 29073 h 1240971"/>
              <a:gd name="connsiteX222" fmla="*/ 4628376 w 5737264"/>
              <a:gd name="connsiteY222" fmla="*/ 41240 h 1240971"/>
              <a:gd name="connsiteX223" fmla="*/ 4565180 w 5737264"/>
              <a:gd name="connsiteY223" fmla="*/ 46264 h 1240971"/>
              <a:gd name="connsiteX224" fmla="*/ 4417596 w 5737264"/>
              <a:gd name="connsiteY224" fmla="*/ 44406 h 1240971"/>
              <a:gd name="connsiteX225" fmla="*/ 4139984 w 5737264"/>
              <a:gd name="connsiteY225" fmla="*/ 60290 h 1240971"/>
              <a:gd name="connsiteX226" fmla="*/ 3918920 w 5737264"/>
              <a:gd name="connsiteY226" fmla="*/ 50242 h 1240971"/>
              <a:gd name="connsiteX227" fmla="*/ 3873703 w 5737264"/>
              <a:gd name="connsiteY227" fmla="*/ 45217 h 1240971"/>
              <a:gd name="connsiteX228" fmla="*/ 3687808 w 5737264"/>
              <a:gd name="connsiteY228" fmla="*/ 40193 h 1240971"/>
              <a:gd name="connsiteX229" fmla="*/ 3662687 w 5737264"/>
              <a:gd name="connsiteY229" fmla="*/ 35169 h 1240971"/>
              <a:gd name="connsiteX230" fmla="*/ 3627518 w 5737264"/>
              <a:gd name="connsiteY230" fmla="*/ 25121 h 1240971"/>
              <a:gd name="connsiteX231" fmla="*/ 3547131 w 5737264"/>
              <a:gd name="connsiteY231" fmla="*/ 20097 h 1240971"/>
              <a:gd name="connsiteX232" fmla="*/ 3310995 w 5737264"/>
              <a:gd name="connsiteY232" fmla="*/ 25121 h 1240971"/>
              <a:gd name="connsiteX233" fmla="*/ 3265777 w 5737264"/>
              <a:gd name="connsiteY233" fmla="*/ 30145 h 1240971"/>
              <a:gd name="connsiteX234" fmla="*/ 3175342 w 5737264"/>
              <a:gd name="connsiteY234" fmla="*/ 35169 h 1240971"/>
              <a:gd name="connsiteX235" fmla="*/ 2582489 w 5737264"/>
              <a:gd name="connsiteY235" fmla="*/ 45217 h 1240971"/>
              <a:gd name="connsiteX236" fmla="*/ 2255918 w 5737264"/>
              <a:gd name="connsiteY236" fmla="*/ 40193 h 1240971"/>
              <a:gd name="connsiteX237" fmla="*/ 1974564 w 5737264"/>
              <a:gd name="connsiteY237" fmla="*/ 30145 h 1240971"/>
              <a:gd name="connsiteX238" fmla="*/ 1944419 w 5737264"/>
              <a:gd name="connsiteY238" fmla="*/ 25121 h 1240971"/>
              <a:gd name="connsiteX239" fmla="*/ 1848960 w 5737264"/>
              <a:gd name="connsiteY239" fmla="*/ 20097 h 1240971"/>
              <a:gd name="connsiteX240" fmla="*/ 1768573 w 5737264"/>
              <a:gd name="connsiteY240" fmla="*/ 10048 h 1240971"/>
              <a:gd name="connsiteX241" fmla="*/ 1502292 w 5737264"/>
              <a:gd name="connsiteY241" fmla="*/ 20097 h 1240971"/>
              <a:gd name="connsiteX242" fmla="*/ 1467122 w 5737264"/>
              <a:gd name="connsiteY242" fmla="*/ 25121 h 1240971"/>
              <a:gd name="connsiteX243" fmla="*/ 1426929 w 5737264"/>
              <a:gd name="connsiteY243" fmla="*/ 30145 h 1240971"/>
              <a:gd name="connsiteX244" fmla="*/ 1341518 w 5737264"/>
              <a:gd name="connsiteY244" fmla="*/ 45217 h 1240971"/>
              <a:gd name="connsiteX245" fmla="*/ 1095333 w 5737264"/>
              <a:gd name="connsiteY245" fmla="*/ 35169 h 1240971"/>
              <a:gd name="connsiteX246" fmla="*/ 979777 w 5737264"/>
              <a:gd name="connsiteY246" fmla="*/ 20097 h 1240971"/>
              <a:gd name="connsiteX247" fmla="*/ 939584 w 5737264"/>
              <a:gd name="connsiteY247" fmla="*/ 10048 h 1240971"/>
              <a:gd name="connsiteX248" fmla="*/ 813980 w 5737264"/>
              <a:gd name="connsiteY248" fmla="*/ 0 h 1240971"/>
              <a:gd name="connsiteX249" fmla="*/ 743641 w 5737264"/>
              <a:gd name="connsiteY249" fmla="*/ 5024 h 1240971"/>
              <a:gd name="connsiteX250" fmla="*/ 582867 w 5737264"/>
              <a:gd name="connsiteY250" fmla="*/ 15072 h 1240971"/>
              <a:gd name="connsiteX251" fmla="*/ 432142 w 5737264"/>
              <a:gd name="connsiteY251" fmla="*/ 5024 h 1240971"/>
              <a:gd name="connsiteX252" fmla="*/ 412046 w 5737264"/>
              <a:gd name="connsiteY252" fmla="*/ 0 h 1240971"/>
              <a:gd name="connsiteX253" fmla="*/ 281417 w 5737264"/>
              <a:gd name="connsiteY253" fmla="*/ 10048 h 1240971"/>
              <a:gd name="connsiteX254" fmla="*/ 261320 w 5737264"/>
              <a:gd name="connsiteY254" fmla="*/ 15072 h 1240971"/>
              <a:gd name="connsiteX255" fmla="*/ 100547 w 5737264"/>
              <a:gd name="connsiteY255" fmla="*/ 20097 h 1240971"/>
              <a:gd name="connsiteX256" fmla="*/ 5087 w 5737264"/>
              <a:gd name="connsiteY256"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78701 w 5737264"/>
              <a:gd name="connsiteY148" fmla="*/ 1060127 h 1240971"/>
              <a:gd name="connsiteX149" fmla="*/ 3902226 w 5737264"/>
              <a:gd name="connsiteY149" fmla="*/ 1101367 h 1240971"/>
              <a:gd name="connsiteX150" fmla="*/ 3958041 w 5737264"/>
              <a:gd name="connsiteY150" fmla="*/ 1142346 h 1240971"/>
              <a:gd name="connsiteX151" fmla="*/ 4019404 w 5737264"/>
              <a:gd name="connsiteY151" fmla="*/ 1165609 h 1240971"/>
              <a:gd name="connsiteX152" fmla="*/ 4064621 w 5737264"/>
              <a:gd name="connsiteY152" fmla="*/ 1150536 h 1240971"/>
              <a:gd name="connsiteX153" fmla="*/ 4079694 w 5737264"/>
              <a:gd name="connsiteY153" fmla="*/ 1125415 h 1240971"/>
              <a:gd name="connsiteX154" fmla="*/ 4099791 w 5737264"/>
              <a:gd name="connsiteY154" fmla="*/ 1105319 h 1240971"/>
              <a:gd name="connsiteX155" fmla="*/ 4129936 w 5737264"/>
              <a:gd name="connsiteY155" fmla="*/ 1075173 h 1240971"/>
              <a:gd name="connsiteX156" fmla="*/ 4150032 w 5737264"/>
              <a:gd name="connsiteY156" fmla="*/ 1040004 h 1240971"/>
              <a:gd name="connsiteX157" fmla="*/ 4160081 w 5737264"/>
              <a:gd name="connsiteY157" fmla="*/ 1019908 h 1240971"/>
              <a:gd name="connsiteX158" fmla="*/ 4165105 w 5737264"/>
              <a:gd name="connsiteY158" fmla="*/ 1004835 h 1240971"/>
              <a:gd name="connsiteX159" fmla="*/ 4185202 w 5737264"/>
              <a:gd name="connsiteY159" fmla="*/ 984738 h 1240971"/>
              <a:gd name="connsiteX160" fmla="*/ 4200274 w 5737264"/>
              <a:gd name="connsiteY160" fmla="*/ 979714 h 1240971"/>
              <a:gd name="connsiteX161" fmla="*/ 4235443 w 5737264"/>
              <a:gd name="connsiteY161" fmla="*/ 954593 h 1240971"/>
              <a:gd name="connsiteX162" fmla="*/ 4275637 w 5737264"/>
              <a:gd name="connsiteY162" fmla="*/ 934497 h 1240971"/>
              <a:gd name="connsiteX163" fmla="*/ 4310806 w 5737264"/>
              <a:gd name="connsiteY163" fmla="*/ 914400 h 1240971"/>
              <a:gd name="connsiteX164" fmla="*/ 4325878 w 5737264"/>
              <a:gd name="connsiteY164" fmla="*/ 904352 h 1240971"/>
              <a:gd name="connsiteX165" fmla="*/ 4362094 w 5737264"/>
              <a:gd name="connsiteY165" fmla="*/ 909114 h 1240971"/>
              <a:gd name="connsiteX166" fmla="*/ 4417099 w 5737264"/>
              <a:gd name="connsiteY166" fmla="*/ 946141 h 1240971"/>
              <a:gd name="connsiteX167" fmla="*/ 4462316 w 5737264"/>
              <a:gd name="connsiteY167" fmla="*/ 1006955 h 1240971"/>
              <a:gd name="connsiteX168" fmla="*/ 4531320 w 5737264"/>
              <a:gd name="connsiteY168" fmla="*/ 1037650 h 1240971"/>
              <a:gd name="connsiteX169" fmla="*/ 4597184 w 5737264"/>
              <a:gd name="connsiteY169" fmla="*/ 969666 h 1240971"/>
              <a:gd name="connsiteX170" fmla="*/ 4617281 w 5737264"/>
              <a:gd name="connsiteY170" fmla="*/ 959617 h 1240971"/>
              <a:gd name="connsiteX171" fmla="*/ 4632353 w 5737264"/>
              <a:gd name="connsiteY171" fmla="*/ 944545 h 1240971"/>
              <a:gd name="connsiteX172" fmla="*/ 4652450 w 5737264"/>
              <a:gd name="connsiteY172" fmla="*/ 934497 h 1240971"/>
              <a:gd name="connsiteX173" fmla="*/ 4672547 w 5737264"/>
              <a:gd name="connsiteY173" fmla="*/ 919424 h 1240971"/>
              <a:gd name="connsiteX174" fmla="*/ 4737861 w 5737264"/>
              <a:gd name="connsiteY174" fmla="*/ 884255 h 1240971"/>
              <a:gd name="connsiteX175" fmla="*/ 4762982 w 5737264"/>
              <a:gd name="connsiteY175" fmla="*/ 879231 h 1240971"/>
              <a:gd name="connsiteX176" fmla="*/ 4778054 w 5737264"/>
              <a:gd name="connsiteY176" fmla="*/ 874206 h 1240971"/>
              <a:gd name="connsiteX177" fmla="*/ 4819294 w 5737264"/>
              <a:gd name="connsiteY177" fmla="*/ 873944 h 1240971"/>
              <a:gd name="connsiteX178" fmla="*/ 4877465 w 5737264"/>
              <a:gd name="connsiteY178" fmla="*/ 895638 h 1240971"/>
              <a:gd name="connsiteX179" fmla="*/ 4935347 w 5737264"/>
              <a:gd name="connsiteY179" fmla="*/ 934523 h 1240971"/>
              <a:gd name="connsiteX180" fmla="*/ 4995402 w 5737264"/>
              <a:gd name="connsiteY180" fmla="*/ 1006746 h 1240971"/>
              <a:gd name="connsiteX181" fmla="*/ 5024762 w 5737264"/>
              <a:gd name="connsiteY181" fmla="*/ 1051963 h 1240971"/>
              <a:gd name="connsiteX182" fmla="*/ 5092223 w 5737264"/>
              <a:gd name="connsiteY182" fmla="*/ 1016506 h 1240971"/>
              <a:gd name="connsiteX183" fmla="*/ 5144322 w 5737264"/>
              <a:gd name="connsiteY183" fmla="*/ 948261 h 1240971"/>
              <a:gd name="connsiteX184" fmla="*/ 5189252 w 5737264"/>
              <a:gd name="connsiteY184" fmla="*/ 886112 h 1240971"/>
              <a:gd name="connsiteX185" fmla="*/ 5226279 w 5737264"/>
              <a:gd name="connsiteY185" fmla="*/ 856230 h 1240971"/>
              <a:gd name="connsiteX186" fmla="*/ 5260637 w 5737264"/>
              <a:gd name="connsiteY186" fmla="*/ 822918 h 1240971"/>
              <a:gd name="connsiteX187" fmla="*/ 5295282 w 5737264"/>
              <a:gd name="connsiteY187" fmla="*/ 800440 h 1240971"/>
              <a:gd name="connsiteX188" fmla="*/ 5334430 w 5737264"/>
              <a:gd name="connsiteY188" fmla="*/ 794893 h 1240971"/>
              <a:gd name="connsiteX189" fmla="*/ 5412174 w 5737264"/>
              <a:gd name="connsiteY189" fmla="*/ 824252 h 1240971"/>
              <a:gd name="connsiteX190" fmla="*/ 5431197 w 5737264"/>
              <a:gd name="connsiteY190" fmla="*/ 768699 h 1240971"/>
              <a:gd name="connsiteX191" fmla="*/ 5441246 w 5737264"/>
              <a:gd name="connsiteY191" fmla="*/ 753626 h 1240971"/>
              <a:gd name="connsiteX192" fmla="*/ 5456318 w 5737264"/>
              <a:gd name="connsiteY192" fmla="*/ 708409 h 1240971"/>
              <a:gd name="connsiteX193" fmla="*/ 5466366 w 5737264"/>
              <a:gd name="connsiteY193" fmla="*/ 683288 h 1240971"/>
              <a:gd name="connsiteX194" fmla="*/ 5476415 w 5737264"/>
              <a:gd name="connsiteY194" fmla="*/ 643094 h 1240971"/>
              <a:gd name="connsiteX195" fmla="*/ 5491487 w 5737264"/>
              <a:gd name="connsiteY195" fmla="*/ 617973 h 1240971"/>
              <a:gd name="connsiteX196" fmla="*/ 5506560 w 5737264"/>
              <a:gd name="connsiteY196" fmla="*/ 572756 h 1240971"/>
              <a:gd name="connsiteX197" fmla="*/ 5526656 w 5737264"/>
              <a:gd name="connsiteY197" fmla="*/ 522514 h 1240971"/>
              <a:gd name="connsiteX198" fmla="*/ 5546753 w 5737264"/>
              <a:gd name="connsiteY198" fmla="*/ 467248 h 1240971"/>
              <a:gd name="connsiteX199" fmla="*/ 5556802 w 5737264"/>
              <a:gd name="connsiteY199" fmla="*/ 411982 h 1240971"/>
              <a:gd name="connsiteX200" fmla="*/ 5566850 w 5737264"/>
              <a:gd name="connsiteY200" fmla="*/ 381837 h 1240971"/>
              <a:gd name="connsiteX201" fmla="*/ 5576898 w 5737264"/>
              <a:gd name="connsiteY201" fmla="*/ 356716 h 1240971"/>
              <a:gd name="connsiteX202" fmla="*/ 5596995 w 5737264"/>
              <a:gd name="connsiteY202" fmla="*/ 316523 h 1240971"/>
              <a:gd name="connsiteX203" fmla="*/ 5617092 w 5737264"/>
              <a:gd name="connsiteY203" fmla="*/ 246184 h 1240971"/>
              <a:gd name="connsiteX204" fmla="*/ 5622116 w 5737264"/>
              <a:gd name="connsiteY204" fmla="*/ 226088 h 1240971"/>
              <a:gd name="connsiteX205" fmla="*/ 5632164 w 5737264"/>
              <a:gd name="connsiteY205" fmla="*/ 216039 h 1240971"/>
              <a:gd name="connsiteX206" fmla="*/ 5637188 w 5737264"/>
              <a:gd name="connsiteY206" fmla="*/ 200967 h 1240971"/>
              <a:gd name="connsiteX207" fmla="*/ 5651738 w 5737264"/>
              <a:gd name="connsiteY207" fmla="*/ 190395 h 1240971"/>
              <a:gd name="connsiteX208" fmla="*/ 5673692 w 5737264"/>
              <a:gd name="connsiteY208" fmla="*/ 153892 h 1240971"/>
              <a:gd name="connsiteX209" fmla="*/ 5726602 w 5737264"/>
              <a:gd name="connsiteY209" fmla="*/ 89362 h 1240971"/>
              <a:gd name="connsiteX210" fmla="*/ 5728722 w 5737264"/>
              <a:gd name="connsiteY210" fmla="*/ 42287 h 1240971"/>
              <a:gd name="connsiteX211" fmla="*/ 5634284 w 5737264"/>
              <a:gd name="connsiteY211" fmla="*/ 25357 h 1240971"/>
              <a:gd name="connsiteX212" fmla="*/ 5536940 w 5737264"/>
              <a:gd name="connsiteY212" fmla="*/ 27214 h 1240971"/>
              <a:gd name="connsiteX213" fmla="*/ 5470369 w 5737264"/>
              <a:gd name="connsiteY213" fmla="*/ 39381 h 1240971"/>
              <a:gd name="connsiteX214" fmla="*/ 5379124 w 5737264"/>
              <a:gd name="connsiteY214" fmla="*/ 39644 h 1240971"/>
              <a:gd name="connsiteX215" fmla="*/ 5309282 w 5737264"/>
              <a:gd name="connsiteY215" fmla="*/ 42287 h 1240971"/>
              <a:gd name="connsiteX216" fmla="*/ 5238682 w 5737264"/>
              <a:gd name="connsiteY216" fmla="*/ 54455 h 1240971"/>
              <a:gd name="connsiteX217" fmla="*/ 5108892 w 5737264"/>
              <a:gd name="connsiteY217" fmla="*/ 37524 h 1240971"/>
              <a:gd name="connsiteX218" fmla="*/ 5020026 w 5737264"/>
              <a:gd name="connsiteY218" fmla="*/ 39120 h 1240971"/>
              <a:gd name="connsiteX219" fmla="*/ 4946233 w 5737264"/>
              <a:gd name="connsiteY219" fmla="*/ 41240 h 1240971"/>
              <a:gd name="connsiteX220" fmla="*/ 4823272 w 5737264"/>
              <a:gd name="connsiteY220" fmla="*/ 50242 h 1240971"/>
              <a:gd name="connsiteX221" fmla="*/ 4727577 w 5737264"/>
              <a:gd name="connsiteY221" fmla="*/ 29073 h 1240971"/>
              <a:gd name="connsiteX222" fmla="*/ 4628376 w 5737264"/>
              <a:gd name="connsiteY222" fmla="*/ 41240 h 1240971"/>
              <a:gd name="connsiteX223" fmla="*/ 4565180 w 5737264"/>
              <a:gd name="connsiteY223" fmla="*/ 46264 h 1240971"/>
              <a:gd name="connsiteX224" fmla="*/ 4417596 w 5737264"/>
              <a:gd name="connsiteY224" fmla="*/ 44406 h 1240971"/>
              <a:gd name="connsiteX225" fmla="*/ 4139984 w 5737264"/>
              <a:gd name="connsiteY225" fmla="*/ 60290 h 1240971"/>
              <a:gd name="connsiteX226" fmla="*/ 3918920 w 5737264"/>
              <a:gd name="connsiteY226" fmla="*/ 50242 h 1240971"/>
              <a:gd name="connsiteX227" fmla="*/ 3873703 w 5737264"/>
              <a:gd name="connsiteY227" fmla="*/ 45217 h 1240971"/>
              <a:gd name="connsiteX228" fmla="*/ 3687808 w 5737264"/>
              <a:gd name="connsiteY228" fmla="*/ 40193 h 1240971"/>
              <a:gd name="connsiteX229" fmla="*/ 3662687 w 5737264"/>
              <a:gd name="connsiteY229" fmla="*/ 35169 h 1240971"/>
              <a:gd name="connsiteX230" fmla="*/ 3627518 w 5737264"/>
              <a:gd name="connsiteY230" fmla="*/ 25121 h 1240971"/>
              <a:gd name="connsiteX231" fmla="*/ 3547131 w 5737264"/>
              <a:gd name="connsiteY231" fmla="*/ 20097 h 1240971"/>
              <a:gd name="connsiteX232" fmla="*/ 3310995 w 5737264"/>
              <a:gd name="connsiteY232" fmla="*/ 25121 h 1240971"/>
              <a:gd name="connsiteX233" fmla="*/ 3265777 w 5737264"/>
              <a:gd name="connsiteY233" fmla="*/ 30145 h 1240971"/>
              <a:gd name="connsiteX234" fmla="*/ 3175342 w 5737264"/>
              <a:gd name="connsiteY234" fmla="*/ 35169 h 1240971"/>
              <a:gd name="connsiteX235" fmla="*/ 2582489 w 5737264"/>
              <a:gd name="connsiteY235" fmla="*/ 45217 h 1240971"/>
              <a:gd name="connsiteX236" fmla="*/ 2255918 w 5737264"/>
              <a:gd name="connsiteY236" fmla="*/ 40193 h 1240971"/>
              <a:gd name="connsiteX237" fmla="*/ 1974564 w 5737264"/>
              <a:gd name="connsiteY237" fmla="*/ 30145 h 1240971"/>
              <a:gd name="connsiteX238" fmla="*/ 1944419 w 5737264"/>
              <a:gd name="connsiteY238" fmla="*/ 25121 h 1240971"/>
              <a:gd name="connsiteX239" fmla="*/ 1848960 w 5737264"/>
              <a:gd name="connsiteY239" fmla="*/ 20097 h 1240971"/>
              <a:gd name="connsiteX240" fmla="*/ 1768573 w 5737264"/>
              <a:gd name="connsiteY240" fmla="*/ 10048 h 1240971"/>
              <a:gd name="connsiteX241" fmla="*/ 1502292 w 5737264"/>
              <a:gd name="connsiteY241" fmla="*/ 20097 h 1240971"/>
              <a:gd name="connsiteX242" fmla="*/ 1467122 w 5737264"/>
              <a:gd name="connsiteY242" fmla="*/ 25121 h 1240971"/>
              <a:gd name="connsiteX243" fmla="*/ 1426929 w 5737264"/>
              <a:gd name="connsiteY243" fmla="*/ 30145 h 1240971"/>
              <a:gd name="connsiteX244" fmla="*/ 1341518 w 5737264"/>
              <a:gd name="connsiteY244" fmla="*/ 45217 h 1240971"/>
              <a:gd name="connsiteX245" fmla="*/ 1095333 w 5737264"/>
              <a:gd name="connsiteY245" fmla="*/ 35169 h 1240971"/>
              <a:gd name="connsiteX246" fmla="*/ 979777 w 5737264"/>
              <a:gd name="connsiteY246" fmla="*/ 20097 h 1240971"/>
              <a:gd name="connsiteX247" fmla="*/ 939584 w 5737264"/>
              <a:gd name="connsiteY247" fmla="*/ 10048 h 1240971"/>
              <a:gd name="connsiteX248" fmla="*/ 813980 w 5737264"/>
              <a:gd name="connsiteY248" fmla="*/ 0 h 1240971"/>
              <a:gd name="connsiteX249" fmla="*/ 743641 w 5737264"/>
              <a:gd name="connsiteY249" fmla="*/ 5024 h 1240971"/>
              <a:gd name="connsiteX250" fmla="*/ 582867 w 5737264"/>
              <a:gd name="connsiteY250" fmla="*/ 15072 h 1240971"/>
              <a:gd name="connsiteX251" fmla="*/ 432142 w 5737264"/>
              <a:gd name="connsiteY251" fmla="*/ 5024 h 1240971"/>
              <a:gd name="connsiteX252" fmla="*/ 412046 w 5737264"/>
              <a:gd name="connsiteY252" fmla="*/ 0 h 1240971"/>
              <a:gd name="connsiteX253" fmla="*/ 281417 w 5737264"/>
              <a:gd name="connsiteY253" fmla="*/ 10048 h 1240971"/>
              <a:gd name="connsiteX254" fmla="*/ 261320 w 5737264"/>
              <a:gd name="connsiteY254" fmla="*/ 15072 h 1240971"/>
              <a:gd name="connsiteX255" fmla="*/ 100547 w 5737264"/>
              <a:gd name="connsiteY255" fmla="*/ 20097 h 1240971"/>
              <a:gd name="connsiteX256" fmla="*/ 5087 w 5737264"/>
              <a:gd name="connsiteY256"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33509 w 5737264"/>
              <a:gd name="connsiteY147" fmla="*/ 1014883 h 1240971"/>
              <a:gd name="connsiteX148" fmla="*/ 3859651 w 5737264"/>
              <a:gd name="connsiteY148" fmla="*/ 1072033 h 1240971"/>
              <a:gd name="connsiteX149" fmla="*/ 3902226 w 5737264"/>
              <a:gd name="connsiteY149" fmla="*/ 1101367 h 1240971"/>
              <a:gd name="connsiteX150" fmla="*/ 3958041 w 5737264"/>
              <a:gd name="connsiteY150" fmla="*/ 1142346 h 1240971"/>
              <a:gd name="connsiteX151" fmla="*/ 4019404 w 5737264"/>
              <a:gd name="connsiteY151" fmla="*/ 1165609 h 1240971"/>
              <a:gd name="connsiteX152" fmla="*/ 4064621 w 5737264"/>
              <a:gd name="connsiteY152" fmla="*/ 1150536 h 1240971"/>
              <a:gd name="connsiteX153" fmla="*/ 4079694 w 5737264"/>
              <a:gd name="connsiteY153" fmla="*/ 1125415 h 1240971"/>
              <a:gd name="connsiteX154" fmla="*/ 4099791 w 5737264"/>
              <a:gd name="connsiteY154" fmla="*/ 1105319 h 1240971"/>
              <a:gd name="connsiteX155" fmla="*/ 4129936 w 5737264"/>
              <a:gd name="connsiteY155" fmla="*/ 1075173 h 1240971"/>
              <a:gd name="connsiteX156" fmla="*/ 4150032 w 5737264"/>
              <a:gd name="connsiteY156" fmla="*/ 1040004 h 1240971"/>
              <a:gd name="connsiteX157" fmla="*/ 4160081 w 5737264"/>
              <a:gd name="connsiteY157" fmla="*/ 1019908 h 1240971"/>
              <a:gd name="connsiteX158" fmla="*/ 4165105 w 5737264"/>
              <a:gd name="connsiteY158" fmla="*/ 1004835 h 1240971"/>
              <a:gd name="connsiteX159" fmla="*/ 4185202 w 5737264"/>
              <a:gd name="connsiteY159" fmla="*/ 984738 h 1240971"/>
              <a:gd name="connsiteX160" fmla="*/ 4200274 w 5737264"/>
              <a:gd name="connsiteY160" fmla="*/ 979714 h 1240971"/>
              <a:gd name="connsiteX161" fmla="*/ 4235443 w 5737264"/>
              <a:gd name="connsiteY161" fmla="*/ 954593 h 1240971"/>
              <a:gd name="connsiteX162" fmla="*/ 4275637 w 5737264"/>
              <a:gd name="connsiteY162" fmla="*/ 934497 h 1240971"/>
              <a:gd name="connsiteX163" fmla="*/ 4310806 w 5737264"/>
              <a:gd name="connsiteY163" fmla="*/ 914400 h 1240971"/>
              <a:gd name="connsiteX164" fmla="*/ 4325878 w 5737264"/>
              <a:gd name="connsiteY164" fmla="*/ 904352 h 1240971"/>
              <a:gd name="connsiteX165" fmla="*/ 4362094 w 5737264"/>
              <a:gd name="connsiteY165" fmla="*/ 909114 h 1240971"/>
              <a:gd name="connsiteX166" fmla="*/ 4417099 w 5737264"/>
              <a:gd name="connsiteY166" fmla="*/ 946141 h 1240971"/>
              <a:gd name="connsiteX167" fmla="*/ 4462316 w 5737264"/>
              <a:gd name="connsiteY167" fmla="*/ 1006955 h 1240971"/>
              <a:gd name="connsiteX168" fmla="*/ 4531320 w 5737264"/>
              <a:gd name="connsiteY168" fmla="*/ 1037650 h 1240971"/>
              <a:gd name="connsiteX169" fmla="*/ 4597184 w 5737264"/>
              <a:gd name="connsiteY169" fmla="*/ 969666 h 1240971"/>
              <a:gd name="connsiteX170" fmla="*/ 4617281 w 5737264"/>
              <a:gd name="connsiteY170" fmla="*/ 959617 h 1240971"/>
              <a:gd name="connsiteX171" fmla="*/ 4632353 w 5737264"/>
              <a:gd name="connsiteY171" fmla="*/ 944545 h 1240971"/>
              <a:gd name="connsiteX172" fmla="*/ 4652450 w 5737264"/>
              <a:gd name="connsiteY172" fmla="*/ 934497 h 1240971"/>
              <a:gd name="connsiteX173" fmla="*/ 4672547 w 5737264"/>
              <a:gd name="connsiteY173" fmla="*/ 919424 h 1240971"/>
              <a:gd name="connsiteX174" fmla="*/ 4737861 w 5737264"/>
              <a:gd name="connsiteY174" fmla="*/ 884255 h 1240971"/>
              <a:gd name="connsiteX175" fmla="*/ 4762982 w 5737264"/>
              <a:gd name="connsiteY175" fmla="*/ 879231 h 1240971"/>
              <a:gd name="connsiteX176" fmla="*/ 4778054 w 5737264"/>
              <a:gd name="connsiteY176" fmla="*/ 874206 h 1240971"/>
              <a:gd name="connsiteX177" fmla="*/ 4819294 w 5737264"/>
              <a:gd name="connsiteY177" fmla="*/ 873944 h 1240971"/>
              <a:gd name="connsiteX178" fmla="*/ 4877465 w 5737264"/>
              <a:gd name="connsiteY178" fmla="*/ 895638 h 1240971"/>
              <a:gd name="connsiteX179" fmla="*/ 4935347 w 5737264"/>
              <a:gd name="connsiteY179" fmla="*/ 934523 h 1240971"/>
              <a:gd name="connsiteX180" fmla="*/ 4995402 w 5737264"/>
              <a:gd name="connsiteY180" fmla="*/ 1006746 h 1240971"/>
              <a:gd name="connsiteX181" fmla="*/ 5024762 w 5737264"/>
              <a:gd name="connsiteY181" fmla="*/ 1051963 h 1240971"/>
              <a:gd name="connsiteX182" fmla="*/ 5092223 w 5737264"/>
              <a:gd name="connsiteY182" fmla="*/ 1016506 h 1240971"/>
              <a:gd name="connsiteX183" fmla="*/ 5144322 w 5737264"/>
              <a:gd name="connsiteY183" fmla="*/ 948261 h 1240971"/>
              <a:gd name="connsiteX184" fmla="*/ 5189252 w 5737264"/>
              <a:gd name="connsiteY184" fmla="*/ 886112 h 1240971"/>
              <a:gd name="connsiteX185" fmla="*/ 5226279 w 5737264"/>
              <a:gd name="connsiteY185" fmla="*/ 856230 h 1240971"/>
              <a:gd name="connsiteX186" fmla="*/ 5260637 w 5737264"/>
              <a:gd name="connsiteY186" fmla="*/ 822918 h 1240971"/>
              <a:gd name="connsiteX187" fmla="*/ 5295282 w 5737264"/>
              <a:gd name="connsiteY187" fmla="*/ 800440 h 1240971"/>
              <a:gd name="connsiteX188" fmla="*/ 5334430 w 5737264"/>
              <a:gd name="connsiteY188" fmla="*/ 794893 h 1240971"/>
              <a:gd name="connsiteX189" fmla="*/ 5412174 w 5737264"/>
              <a:gd name="connsiteY189" fmla="*/ 824252 h 1240971"/>
              <a:gd name="connsiteX190" fmla="*/ 5431197 w 5737264"/>
              <a:gd name="connsiteY190" fmla="*/ 768699 h 1240971"/>
              <a:gd name="connsiteX191" fmla="*/ 5441246 w 5737264"/>
              <a:gd name="connsiteY191" fmla="*/ 753626 h 1240971"/>
              <a:gd name="connsiteX192" fmla="*/ 5456318 w 5737264"/>
              <a:gd name="connsiteY192" fmla="*/ 708409 h 1240971"/>
              <a:gd name="connsiteX193" fmla="*/ 5466366 w 5737264"/>
              <a:gd name="connsiteY193" fmla="*/ 683288 h 1240971"/>
              <a:gd name="connsiteX194" fmla="*/ 5476415 w 5737264"/>
              <a:gd name="connsiteY194" fmla="*/ 643094 h 1240971"/>
              <a:gd name="connsiteX195" fmla="*/ 5491487 w 5737264"/>
              <a:gd name="connsiteY195" fmla="*/ 617973 h 1240971"/>
              <a:gd name="connsiteX196" fmla="*/ 5506560 w 5737264"/>
              <a:gd name="connsiteY196" fmla="*/ 572756 h 1240971"/>
              <a:gd name="connsiteX197" fmla="*/ 5526656 w 5737264"/>
              <a:gd name="connsiteY197" fmla="*/ 522514 h 1240971"/>
              <a:gd name="connsiteX198" fmla="*/ 5546753 w 5737264"/>
              <a:gd name="connsiteY198" fmla="*/ 467248 h 1240971"/>
              <a:gd name="connsiteX199" fmla="*/ 5556802 w 5737264"/>
              <a:gd name="connsiteY199" fmla="*/ 411982 h 1240971"/>
              <a:gd name="connsiteX200" fmla="*/ 5566850 w 5737264"/>
              <a:gd name="connsiteY200" fmla="*/ 381837 h 1240971"/>
              <a:gd name="connsiteX201" fmla="*/ 5576898 w 5737264"/>
              <a:gd name="connsiteY201" fmla="*/ 356716 h 1240971"/>
              <a:gd name="connsiteX202" fmla="*/ 5596995 w 5737264"/>
              <a:gd name="connsiteY202" fmla="*/ 316523 h 1240971"/>
              <a:gd name="connsiteX203" fmla="*/ 5617092 w 5737264"/>
              <a:gd name="connsiteY203" fmla="*/ 246184 h 1240971"/>
              <a:gd name="connsiteX204" fmla="*/ 5622116 w 5737264"/>
              <a:gd name="connsiteY204" fmla="*/ 226088 h 1240971"/>
              <a:gd name="connsiteX205" fmla="*/ 5632164 w 5737264"/>
              <a:gd name="connsiteY205" fmla="*/ 216039 h 1240971"/>
              <a:gd name="connsiteX206" fmla="*/ 5637188 w 5737264"/>
              <a:gd name="connsiteY206" fmla="*/ 200967 h 1240971"/>
              <a:gd name="connsiteX207" fmla="*/ 5651738 w 5737264"/>
              <a:gd name="connsiteY207" fmla="*/ 190395 h 1240971"/>
              <a:gd name="connsiteX208" fmla="*/ 5673692 w 5737264"/>
              <a:gd name="connsiteY208" fmla="*/ 153892 h 1240971"/>
              <a:gd name="connsiteX209" fmla="*/ 5726602 w 5737264"/>
              <a:gd name="connsiteY209" fmla="*/ 89362 h 1240971"/>
              <a:gd name="connsiteX210" fmla="*/ 5728722 w 5737264"/>
              <a:gd name="connsiteY210" fmla="*/ 42287 h 1240971"/>
              <a:gd name="connsiteX211" fmla="*/ 5634284 w 5737264"/>
              <a:gd name="connsiteY211" fmla="*/ 25357 h 1240971"/>
              <a:gd name="connsiteX212" fmla="*/ 5536940 w 5737264"/>
              <a:gd name="connsiteY212" fmla="*/ 27214 h 1240971"/>
              <a:gd name="connsiteX213" fmla="*/ 5470369 w 5737264"/>
              <a:gd name="connsiteY213" fmla="*/ 39381 h 1240971"/>
              <a:gd name="connsiteX214" fmla="*/ 5379124 w 5737264"/>
              <a:gd name="connsiteY214" fmla="*/ 39644 h 1240971"/>
              <a:gd name="connsiteX215" fmla="*/ 5309282 w 5737264"/>
              <a:gd name="connsiteY215" fmla="*/ 42287 h 1240971"/>
              <a:gd name="connsiteX216" fmla="*/ 5238682 w 5737264"/>
              <a:gd name="connsiteY216" fmla="*/ 54455 h 1240971"/>
              <a:gd name="connsiteX217" fmla="*/ 5108892 w 5737264"/>
              <a:gd name="connsiteY217" fmla="*/ 37524 h 1240971"/>
              <a:gd name="connsiteX218" fmla="*/ 5020026 w 5737264"/>
              <a:gd name="connsiteY218" fmla="*/ 39120 h 1240971"/>
              <a:gd name="connsiteX219" fmla="*/ 4946233 w 5737264"/>
              <a:gd name="connsiteY219" fmla="*/ 41240 h 1240971"/>
              <a:gd name="connsiteX220" fmla="*/ 4823272 w 5737264"/>
              <a:gd name="connsiteY220" fmla="*/ 50242 h 1240971"/>
              <a:gd name="connsiteX221" fmla="*/ 4727577 w 5737264"/>
              <a:gd name="connsiteY221" fmla="*/ 29073 h 1240971"/>
              <a:gd name="connsiteX222" fmla="*/ 4628376 w 5737264"/>
              <a:gd name="connsiteY222" fmla="*/ 41240 h 1240971"/>
              <a:gd name="connsiteX223" fmla="*/ 4565180 w 5737264"/>
              <a:gd name="connsiteY223" fmla="*/ 46264 h 1240971"/>
              <a:gd name="connsiteX224" fmla="*/ 4417596 w 5737264"/>
              <a:gd name="connsiteY224" fmla="*/ 44406 h 1240971"/>
              <a:gd name="connsiteX225" fmla="*/ 4139984 w 5737264"/>
              <a:gd name="connsiteY225" fmla="*/ 60290 h 1240971"/>
              <a:gd name="connsiteX226" fmla="*/ 3918920 w 5737264"/>
              <a:gd name="connsiteY226" fmla="*/ 50242 h 1240971"/>
              <a:gd name="connsiteX227" fmla="*/ 3873703 w 5737264"/>
              <a:gd name="connsiteY227" fmla="*/ 45217 h 1240971"/>
              <a:gd name="connsiteX228" fmla="*/ 3687808 w 5737264"/>
              <a:gd name="connsiteY228" fmla="*/ 40193 h 1240971"/>
              <a:gd name="connsiteX229" fmla="*/ 3662687 w 5737264"/>
              <a:gd name="connsiteY229" fmla="*/ 35169 h 1240971"/>
              <a:gd name="connsiteX230" fmla="*/ 3627518 w 5737264"/>
              <a:gd name="connsiteY230" fmla="*/ 25121 h 1240971"/>
              <a:gd name="connsiteX231" fmla="*/ 3547131 w 5737264"/>
              <a:gd name="connsiteY231" fmla="*/ 20097 h 1240971"/>
              <a:gd name="connsiteX232" fmla="*/ 3310995 w 5737264"/>
              <a:gd name="connsiteY232" fmla="*/ 25121 h 1240971"/>
              <a:gd name="connsiteX233" fmla="*/ 3265777 w 5737264"/>
              <a:gd name="connsiteY233" fmla="*/ 30145 h 1240971"/>
              <a:gd name="connsiteX234" fmla="*/ 3175342 w 5737264"/>
              <a:gd name="connsiteY234" fmla="*/ 35169 h 1240971"/>
              <a:gd name="connsiteX235" fmla="*/ 2582489 w 5737264"/>
              <a:gd name="connsiteY235" fmla="*/ 45217 h 1240971"/>
              <a:gd name="connsiteX236" fmla="*/ 2255918 w 5737264"/>
              <a:gd name="connsiteY236" fmla="*/ 40193 h 1240971"/>
              <a:gd name="connsiteX237" fmla="*/ 1974564 w 5737264"/>
              <a:gd name="connsiteY237" fmla="*/ 30145 h 1240971"/>
              <a:gd name="connsiteX238" fmla="*/ 1944419 w 5737264"/>
              <a:gd name="connsiteY238" fmla="*/ 25121 h 1240971"/>
              <a:gd name="connsiteX239" fmla="*/ 1848960 w 5737264"/>
              <a:gd name="connsiteY239" fmla="*/ 20097 h 1240971"/>
              <a:gd name="connsiteX240" fmla="*/ 1768573 w 5737264"/>
              <a:gd name="connsiteY240" fmla="*/ 10048 h 1240971"/>
              <a:gd name="connsiteX241" fmla="*/ 1502292 w 5737264"/>
              <a:gd name="connsiteY241" fmla="*/ 20097 h 1240971"/>
              <a:gd name="connsiteX242" fmla="*/ 1467122 w 5737264"/>
              <a:gd name="connsiteY242" fmla="*/ 25121 h 1240971"/>
              <a:gd name="connsiteX243" fmla="*/ 1426929 w 5737264"/>
              <a:gd name="connsiteY243" fmla="*/ 30145 h 1240971"/>
              <a:gd name="connsiteX244" fmla="*/ 1341518 w 5737264"/>
              <a:gd name="connsiteY244" fmla="*/ 45217 h 1240971"/>
              <a:gd name="connsiteX245" fmla="*/ 1095333 w 5737264"/>
              <a:gd name="connsiteY245" fmla="*/ 35169 h 1240971"/>
              <a:gd name="connsiteX246" fmla="*/ 979777 w 5737264"/>
              <a:gd name="connsiteY246" fmla="*/ 20097 h 1240971"/>
              <a:gd name="connsiteX247" fmla="*/ 939584 w 5737264"/>
              <a:gd name="connsiteY247" fmla="*/ 10048 h 1240971"/>
              <a:gd name="connsiteX248" fmla="*/ 813980 w 5737264"/>
              <a:gd name="connsiteY248" fmla="*/ 0 h 1240971"/>
              <a:gd name="connsiteX249" fmla="*/ 743641 w 5737264"/>
              <a:gd name="connsiteY249" fmla="*/ 5024 h 1240971"/>
              <a:gd name="connsiteX250" fmla="*/ 582867 w 5737264"/>
              <a:gd name="connsiteY250" fmla="*/ 15072 h 1240971"/>
              <a:gd name="connsiteX251" fmla="*/ 432142 w 5737264"/>
              <a:gd name="connsiteY251" fmla="*/ 5024 h 1240971"/>
              <a:gd name="connsiteX252" fmla="*/ 412046 w 5737264"/>
              <a:gd name="connsiteY252" fmla="*/ 0 h 1240971"/>
              <a:gd name="connsiteX253" fmla="*/ 281417 w 5737264"/>
              <a:gd name="connsiteY253" fmla="*/ 10048 h 1240971"/>
              <a:gd name="connsiteX254" fmla="*/ 261320 w 5737264"/>
              <a:gd name="connsiteY254" fmla="*/ 15072 h 1240971"/>
              <a:gd name="connsiteX255" fmla="*/ 100547 w 5737264"/>
              <a:gd name="connsiteY255" fmla="*/ 20097 h 1240971"/>
              <a:gd name="connsiteX256" fmla="*/ 5087 w 5737264"/>
              <a:gd name="connsiteY256"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813413 w 5737264"/>
              <a:gd name="connsiteY146" fmla="*/ 1024932 h 1240971"/>
              <a:gd name="connsiteX147" fmla="*/ 3859651 w 5737264"/>
              <a:gd name="connsiteY147" fmla="*/ 1072033 h 1240971"/>
              <a:gd name="connsiteX148" fmla="*/ 3902226 w 5737264"/>
              <a:gd name="connsiteY148" fmla="*/ 1101367 h 1240971"/>
              <a:gd name="connsiteX149" fmla="*/ 3958041 w 5737264"/>
              <a:gd name="connsiteY149" fmla="*/ 1142346 h 1240971"/>
              <a:gd name="connsiteX150" fmla="*/ 4019404 w 5737264"/>
              <a:gd name="connsiteY150" fmla="*/ 1165609 h 1240971"/>
              <a:gd name="connsiteX151" fmla="*/ 4064621 w 5737264"/>
              <a:gd name="connsiteY151" fmla="*/ 1150536 h 1240971"/>
              <a:gd name="connsiteX152" fmla="*/ 4079694 w 5737264"/>
              <a:gd name="connsiteY152" fmla="*/ 1125415 h 1240971"/>
              <a:gd name="connsiteX153" fmla="*/ 4099791 w 5737264"/>
              <a:gd name="connsiteY153" fmla="*/ 1105319 h 1240971"/>
              <a:gd name="connsiteX154" fmla="*/ 4129936 w 5737264"/>
              <a:gd name="connsiteY154" fmla="*/ 1075173 h 1240971"/>
              <a:gd name="connsiteX155" fmla="*/ 4150032 w 5737264"/>
              <a:gd name="connsiteY155" fmla="*/ 1040004 h 1240971"/>
              <a:gd name="connsiteX156" fmla="*/ 4160081 w 5737264"/>
              <a:gd name="connsiteY156" fmla="*/ 1019908 h 1240971"/>
              <a:gd name="connsiteX157" fmla="*/ 4165105 w 5737264"/>
              <a:gd name="connsiteY157" fmla="*/ 1004835 h 1240971"/>
              <a:gd name="connsiteX158" fmla="*/ 4185202 w 5737264"/>
              <a:gd name="connsiteY158" fmla="*/ 984738 h 1240971"/>
              <a:gd name="connsiteX159" fmla="*/ 4200274 w 5737264"/>
              <a:gd name="connsiteY159" fmla="*/ 979714 h 1240971"/>
              <a:gd name="connsiteX160" fmla="*/ 4235443 w 5737264"/>
              <a:gd name="connsiteY160" fmla="*/ 954593 h 1240971"/>
              <a:gd name="connsiteX161" fmla="*/ 4275637 w 5737264"/>
              <a:gd name="connsiteY161" fmla="*/ 934497 h 1240971"/>
              <a:gd name="connsiteX162" fmla="*/ 4310806 w 5737264"/>
              <a:gd name="connsiteY162" fmla="*/ 914400 h 1240971"/>
              <a:gd name="connsiteX163" fmla="*/ 4325878 w 5737264"/>
              <a:gd name="connsiteY163" fmla="*/ 904352 h 1240971"/>
              <a:gd name="connsiteX164" fmla="*/ 4362094 w 5737264"/>
              <a:gd name="connsiteY164" fmla="*/ 909114 h 1240971"/>
              <a:gd name="connsiteX165" fmla="*/ 4417099 w 5737264"/>
              <a:gd name="connsiteY165" fmla="*/ 946141 h 1240971"/>
              <a:gd name="connsiteX166" fmla="*/ 4462316 w 5737264"/>
              <a:gd name="connsiteY166" fmla="*/ 1006955 h 1240971"/>
              <a:gd name="connsiteX167" fmla="*/ 4531320 w 5737264"/>
              <a:gd name="connsiteY167" fmla="*/ 1037650 h 1240971"/>
              <a:gd name="connsiteX168" fmla="*/ 4597184 w 5737264"/>
              <a:gd name="connsiteY168" fmla="*/ 969666 h 1240971"/>
              <a:gd name="connsiteX169" fmla="*/ 4617281 w 5737264"/>
              <a:gd name="connsiteY169" fmla="*/ 959617 h 1240971"/>
              <a:gd name="connsiteX170" fmla="*/ 4632353 w 5737264"/>
              <a:gd name="connsiteY170" fmla="*/ 944545 h 1240971"/>
              <a:gd name="connsiteX171" fmla="*/ 4652450 w 5737264"/>
              <a:gd name="connsiteY171" fmla="*/ 934497 h 1240971"/>
              <a:gd name="connsiteX172" fmla="*/ 4672547 w 5737264"/>
              <a:gd name="connsiteY172" fmla="*/ 919424 h 1240971"/>
              <a:gd name="connsiteX173" fmla="*/ 4737861 w 5737264"/>
              <a:gd name="connsiteY173" fmla="*/ 884255 h 1240971"/>
              <a:gd name="connsiteX174" fmla="*/ 4762982 w 5737264"/>
              <a:gd name="connsiteY174" fmla="*/ 879231 h 1240971"/>
              <a:gd name="connsiteX175" fmla="*/ 4778054 w 5737264"/>
              <a:gd name="connsiteY175" fmla="*/ 874206 h 1240971"/>
              <a:gd name="connsiteX176" fmla="*/ 4819294 w 5737264"/>
              <a:gd name="connsiteY176" fmla="*/ 873944 h 1240971"/>
              <a:gd name="connsiteX177" fmla="*/ 4877465 w 5737264"/>
              <a:gd name="connsiteY177" fmla="*/ 895638 h 1240971"/>
              <a:gd name="connsiteX178" fmla="*/ 4935347 w 5737264"/>
              <a:gd name="connsiteY178" fmla="*/ 934523 h 1240971"/>
              <a:gd name="connsiteX179" fmla="*/ 4995402 w 5737264"/>
              <a:gd name="connsiteY179" fmla="*/ 1006746 h 1240971"/>
              <a:gd name="connsiteX180" fmla="*/ 5024762 w 5737264"/>
              <a:gd name="connsiteY180" fmla="*/ 1051963 h 1240971"/>
              <a:gd name="connsiteX181" fmla="*/ 5092223 w 5737264"/>
              <a:gd name="connsiteY181" fmla="*/ 1016506 h 1240971"/>
              <a:gd name="connsiteX182" fmla="*/ 5144322 w 5737264"/>
              <a:gd name="connsiteY182" fmla="*/ 948261 h 1240971"/>
              <a:gd name="connsiteX183" fmla="*/ 5189252 w 5737264"/>
              <a:gd name="connsiteY183" fmla="*/ 886112 h 1240971"/>
              <a:gd name="connsiteX184" fmla="*/ 5226279 w 5737264"/>
              <a:gd name="connsiteY184" fmla="*/ 856230 h 1240971"/>
              <a:gd name="connsiteX185" fmla="*/ 5260637 w 5737264"/>
              <a:gd name="connsiteY185" fmla="*/ 822918 h 1240971"/>
              <a:gd name="connsiteX186" fmla="*/ 5295282 w 5737264"/>
              <a:gd name="connsiteY186" fmla="*/ 800440 h 1240971"/>
              <a:gd name="connsiteX187" fmla="*/ 5334430 w 5737264"/>
              <a:gd name="connsiteY187" fmla="*/ 794893 h 1240971"/>
              <a:gd name="connsiteX188" fmla="*/ 5412174 w 5737264"/>
              <a:gd name="connsiteY188" fmla="*/ 824252 h 1240971"/>
              <a:gd name="connsiteX189" fmla="*/ 5431197 w 5737264"/>
              <a:gd name="connsiteY189" fmla="*/ 768699 h 1240971"/>
              <a:gd name="connsiteX190" fmla="*/ 5441246 w 5737264"/>
              <a:gd name="connsiteY190" fmla="*/ 753626 h 1240971"/>
              <a:gd name="connsiteX191" fmla="*/ 5456318 w 5737264"/>
              <a:gd name="connsiteY191" fmla="*/ 708409 h 1240971"/>
              <a:gd name="connsiteX192" fmla="*/ 5466366 w 5737264"/>
              <a:gd name="connsiteY192" fmla="*/ 683288 h 1240971"/>
              <a:gd name="connsiteX193" fmla="*/ 5476415 w 5737264"/>
              <a:gd name="connsiteY193" fmla="*/ 643094 h 1240971"/>
              <a:gd name="connsiteX194" fmla="*/ 5491487 w 5737264"/>
              <a:gd name="connsiteY194" fmla="*/ 617973 h 1240971"/>
              <a:gd name="connsiteX195" fmla="*/ 5506560 w 5737264"/>
              <a:gd name="connsiteY195" fmla="*/ 572756 h 1240971"/>
              <a:gd name="connsiteX196" fmla="*/ 5526656 w 5737264"/>
              <a:gd name="connsiteY196" fmla="*/ 522514 h 1240971"/>
              <a:gd name="connsiteX197" fmla="*/ 5546753 w 5737264"/>
              <a:gd name="connsiteY197" fmla="*/ 467248 h 1240971"/>
              <a:gd name="connsiteX198" fmla="*/ 5556802 w 5737264"/>
              <a:gd name="connsiteY198" fmla="*/ 411982 h 1240971"/>
              <a:gd name="connsiteX199" fmla="*/ 5566850 w 5737264"/>
              <a:gd name="connsiteY199" fmla="*/ 381837 h 1240971"/>
              <a:gd name="connsiteX200" fmla="*/ 5576898 w 5737264"/>
              <a:gd name="connsiteY200" fmla="*/ 356716 h 1240971"/>
              <a:gd name="connsiteX201" fmla="*/ 5596995 w 5737264"/>
              <a:gd name="connsiteY201" fmla="*/ 316523 h 1240971"/>
              <a:gd name="connsiteX202" fmla="*/ 5617092 w 5737264"/>
              <a:gd name="connsiteY202" fmla="*/ 246184 h 1240971"/>
              <a:gd name="connsiteX203" fmla="*/ 5622116 w 5737264"/>
              <a:gd name="connsiteY203" fmla="*/ 226088 h 1240971"/>
              <a:gd name="connsiteX204" fmla="*/ 5632164 w 5737264"/>
              <a:gd name="connsiteY204" fmla="*/ 216039 h 1240971"/>
              <a:gd name="connsiteX205" fmla="*/ 5637188 w 5737264"/>
              <a:gd name="connsiteY205" fmla="*/ 200967 h 1240971"/>
              <a:gd name="connsiteX206" fmla="*/ 5651738 w 5737264"/>
              <a:gd name="connsiteY206" fmla="*/ 190395 h 1240971"/>
              <a:gd name="connsiteX207" fmla="*/ 5673692 w 5737264"/>
              <a:gd name="connsiteY207" fmla="*/ 153892 h 1240971"/>
              <a:gd name="connsiteX208" fmla="*/ 5726602 w 5737264"/>
              <a:gd name="connsiteY208" fmla="*/ 89362 h 1240971"/>
              <a:gd name="connsiteX209" fmla="*/ 5728722 w 5737264"/>
              <a:gd name="connsiteY209" fmla="*/ 42287 h 1240971"/>
              <a:gd name="connsiteX210" fmla="*/ 5634284 w 5737264"/>
              <a:gd name="connsiteY210" fmla="*/ 25357 h 1240971"/>
              <a:gd name="connsiteX211" fmla="*/ 5536940 w 5737264"/>
              <a:gd name="connsiteY211" fmla="*/ 27214 h 1240971"/>
              <a:gd name="connsiteX212" fmla="*/ 5470369 w 5737264"/>
              <a:gd name="connsiteY212" fmla="*/ 39381 h 1240971"/>
              <a:gd name="connsiteX213" fmla="*/ 5379124 w 5737264"/>
              <a:gd name="connsiteY213" fmla="*/ 39644 h 1240971"/>
              <a:gd name="connsiteX214" fmla="*/ 5309282 w 5737264"/>
              <a:gd name="connsiteY214" fmla="*/ 42287 h 1240971"/>
              <a:gd name="connsiteX215" fmla="*/ 5238682 w 5737264"/>
              <a:gd name="connsiteY215" fmla="*/ 54455 h 1240971"/>
              <a:gd name="connsiteX216" fmla="*/ 5108892 w 5737264"/>
              <a:gd name="connsiteY216" fmla="*/ 37524 h 1240971"/>
              <a:gd name="connsiteX217" fmla="*/ 5020026 w 5737264"/>
              <a:gd name="connsiteY217" fmla="*/ 39120 h 1240971"/>
              <a:gd name="connsiteX218" fmla="*/ 4946233 w 5737264"/>
              <a:gd name="connsiteY218" fmla="*/ 41240 h 1240971"/>
              <a:gd name="connsiteX219" fmla="*/ 4823272 w 5737264"/>
              <a:gd name="connsiteY219" fmla="*/ 50242 h 1240971"/>
              <a:gd name="connsiteX220" fmla="*/ 4727577 w 5737264"/>
              <a:gd name="connsiteY220" fmla="*/ 29073 h 1240971"/>
              <a:gd name="connsiteX221" fmla="*/ 4628376 w 5737264"/>
              <a:gd name="connsiteY221" fmla="*/ 41240 h 1240971"/>
              <a:gd name="connsiteX222" fmla="*/ 4565180 w 5737264"/>
              <a:gd name="connsiteY222" fmla="*/ 46264 h 1240971"/>
              <a:gd name="connsiteX223" fmla="*/ 4417596 w 5737264"/>
              <a:gd name="connsiteY223" fmla="*/ 44406 h 1240971"/>
              <a:gd name="connsiteX224" fmla="*/ 4139984 w 5737264"/>
              <a:gd name="connsiteY224" fmla="*/ 60290 h 1240971"/>
              <a:gd name="connsiteX225" fmla="*/ 3918920 w 5737264"/>
              <a:gd name="connsiteY225" fmla="*/ 50242 h 1240971"/>
              <a:gd name="connsiteX226" fmla="*/ 3873703 w 5737264"/>
              <a:gd name="connsiteY226" fmla="*/ 45217 h 1240971"/>
              <a:gd name="connsiteX227" fmla="*/ 3687808 w 5737264"/>
              <a:gd name="connsiteY227" fmla="*/ 40193 h 1240971"/>
              <a:gd name="connsiteX228" fmla="*/ 3662687 w 5737264"/>
              <a:gd name="connsiteY228" fmla="*/ 35169 h 1240971"/>
              <a:gd name="connsiteX229" fmla="*/ 3627518 w 5737264"/>
              <a:gd name="connsiteY229" fmla="*/ 25121 h 1240971"/>
              <a:gd name="connsiteX230" fmla="*/ 3547131 w 5737264"/>
              <a:gd name="connsiteY230" fmla="*/ 20097 h 1240971"/>
              <a:gd name="connsiteX231" fmla="*/ 3310995 w 5737264"/>
              <a:gd name="connsiteY231" fmla="*/ 25121 h 1240971"/>
              <a:gd name="connsiteX232" fmla="*/ 3265777 w 5737264"/>
              <a:gd name="connsiteY232" fmla="*/ 30145 h 1240971"/>
              <a:gd name="connsiteX233" fmla="*/ 3175342 w 5737264"/>
              <a:gd name="connsiteY233" fmla="*/ 35169 h 1240971"/>
              <a:gd name="connsiteX234" fmla="*/ 2582489 w 5737264"/>
              <a:gd name="connsiteY234" fmla="*/ 45217 h 1240971"/>
              <a:gd name="connsiteX235" fmla="*/ 2255918 w 5737264"/>
              <a:gd name="connsiteY235" fmla="*/ 40193 h 1240971"/>
              <a:gd name="connsiteX236" fmla="*/ 1974564 w 5737264"/>
              <a:gd name="connsiteY236" fmla="*/ 30145 h 1240971"/>
              <a:gd name="connsiteX237" fmla="*/ 1944419 w 5737264"/>
              <a:gd name="connsiteY237" fmla="*/ 25121 h 1240971"/>
              <a:gd name="connsiteX238" fmla="*/ 1848960 w 5737264"/>
              <a:gd name="connsiteY238" fmla="*/ 20097 h 1240971"/>
              <a:gd name="connsiteX239" fmla="*/ 1768573 w 5737264"/>
              <a:gd name="connsiteY239" fmla="*/ 10048 h 1240971"/>
              <a:gd name="connsiteX240" fmla="*/ 1502292 w 5737264"/>
              <a:gd name="connsiteY240" fmla="*/ 20097 h 1240971"/>
              <a:gd name="connsiteX241" fmla="*/ 1467122 w 5737264"/>
              <a:gd name="connsiteY241" fmla="*/ 25121 h 1240971"/>
              <a:gd name="connsiteX242" fmla="*/ 1426929 w 5737264"/>
              <a:gd name="connsiteY242" fmla="*/ 30145 h 1240971"/>
              <a:gd name="connsiteX243" fmla="*/ 1341518 w 5737264"/>
              <a:gd name="connsiteY243" fmla="*/ 45217 h 1240971"/>
              <a:gd name="connsiteX244" fmla="*/ 1095333 w 5737264"/>
              <a:gd name="connsiteY244" fmla="*/ 35169 h 1240971"/>
              <a:gd name="connsiteX245" fmla="*/ 979777 w 5737264"/>
              <a:gd name="connsiteY245" fmla="*/ 20097 h 1240971"/>
              <a:gd name="connsiteX246" fmla="*/ 939584 w 5737264"/>
              <a:gd name="connsiteY246" fmla="*/ 10048 h 1240971"/>
              <a:gd name="connsiteX247" fmla="*/ 813980 w 5737264"/>
              <a:gd name="connsiteY247" fmla="*/ 0 h 1240971"/>
              <a:gd name="connsiteX248" fmla="*/ 743641 w 5737264"/>
              <a:gd name="connsiteY248" fmla="*/ 5024 h 1240971"/>
              <a:gd name="connsiteX249" fmla="*/ 582867 w 5737264"/>
              <a:gd name="connsiteY249" fmla="*/ 15072 h 1240971"/>
              <a:gd name="connsiteX250" fmla="*/ 432142 w 5737264"/>
              <a:gd name="connsiteY250" fmla="*/ 5024 h 1240971"/>
              <a:gd name="connsiteX251" fmla="*/ 412046 w 5737264"/>
              <a:gd name="connsiteY251" fmla="*/ 0 h 1240971"/>
              <a:gd name="connsiteX252" fmla="*/ 281417 w 5737264"/>
              <a:gd name="connsiteY252" fmla="*/ 10048 h 1240971"/>
              <a:gd name="connsiteX253" fmla="*/ 261320 w 5737264"/>
              <a:gd name="connsiteY253" fmla="*/ 15072 h 1240971"/>
              <a:gd name="connsiteX254" fmla="*/ 100547 w 5737264"/>
              <a:gd name="connsiteY254" fmla="*/ 20097 h 1240971"/>
              <a:gd name="connsiteX255" fmla="*/ 5087 w 5737264"/>
              <a:gd name="connsiteY255"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0004 h 1240971"/>
              <a:gd name="connsiteX146" fmla="*/ 3799125 w 5737264"/>
              <a:gd name="connsiteY146" fmla="*/ 1043982 h 1240971"/>
              <a:gd name="connsiteX147" fmla="*/ 3859651 w 5737264"/>
              <a:gd name="connsiteY147" fmla="*/ 1072033 h 1240971"/>
              <a:gd name="connsiteX148" fmla="*/ 3902226 w 5737264"/>
              <a:gd name="connsiteY148" fmla="*/ 1101367 h 1240971"/>
              <a:gd name="connsiteX149" fmla="*/ 3958041 w 5737264"/>
              <a:gd name="connsiteY149" fmla="*/ 1142346 h 1240971"/>
              <a:gd name="connsiteX150" fmla="*/ 4019404 w 5737264"/>
              <a:gd name="connsiteY150" fmla="*/ 1165609 h 1240971"/>
              <a:gd name="connsiteX151" fmla="*/ 4064621 w 5737264"/>
              <a:gd name="connsiteY151" fmla="*/ 1150536 h 1240971"/>
              <a:gd name="connsiteX152" fmla="*/ 4079694 w 5737264"/>
              <a:gd name="connsiteY152" fmla="*/ 1125415 h 1240971"/>
              <a:gd name="connsiteX153" fmla="*/ 4099791 w 5737264"/>
              <a:gd name="connsiteY153" fmla="*/ 1105319 h 1240971"/>
              <a:gd name="connsiteX154" fmla="*/ 4129936 w 5737264"/>
              <a:gd name="connsiteY154" fmla="*/ 1075173 h 1240971"/>
              <a:gd name="connsiteX155" fmla="*/ 4150032 w 5737264"/>
              <a:gd name="connsiteY155" fmla="*/ 1040004 h 1240971"/>
              <a:gd name="connsiteX156" fmla="*/ 4160081 w 5737264"/>
              <a:gd name="connsiteY156" fmla="*/ 1019908 h 1240971"/>
              <a:gd name="connsiteX157" fmla="*/ 4165105 w 5737264"/>
              <a:gd name="connsiteY157" fmla="*/ 1004835 h 1240971"/>
              <a:gd name="connsiteX158" fmla="*/ 4185202 w 5737264"/>
              <a:gd name="connsiteY158" fmla="*/ 984738 h 1240971"/>
              <a:gd name="connsiteX159" fmla="*/ 4200274 w 5737264"/>
              <a:gd name="connsiteY159" fmla="*/ 979714 h 1240971"/>
              <a:gd name="connsiteX160" fmla="*/ 4235443 w 5737264"/>
              <a:gd name="connsiteY160" fmla="*/ 954593 h 1240971"/>
              <a:gd name="connsiteX161" fmla="*/ 4275637 w 5737264"/>
              <a:gd name="connsiteY161" fmla="*/ 934497 h 1240971"/>
              <a:gd name="connsiteX162" fmla="*/ 4310806 w 5737264"/>
              <a:gd name="connsiteY162" fmla="*/ 914400 h 1240971"/>
              <a:gd name="connsiteX163" fmla="*/ 4325878 w 5737264"/>
              <a:gd name="connsiteY163" fmla="*/ 904352 h 1240971"/>
              <a:gd name="connsiteX164" fmla="*/ 4362094 w 5737264"/>
              <a:gd name="connsiteY164" fmla="*/ 909114 h 1240971"/>
              <a:gd name="connsiteX165" fmla="*/ 4417099 w 5737264"/>
              <a:gd name="connsiteY165" fmla="*/ 946141 h 1240971"/>
              <a:gd name="connsiteX166" fmla="*/ 4462316 w 5737264"/>
              <a:gd name="connsiteY166" fmla="*/ 1006955 h 1240971"/>
              <a:gd name="connsiteX167" fmla="*/ 4531320 w 5737264"/>
              <a:gd name="connsiteY167" fmla="*/ 1037650 h 1240971"/>
              <a:gd name="connsiteX168" fmla="*/ 4597184 w 5737264"/>
              <a:gd name="connsiteY168" fmla="*/ 969666 h 1240971"/>
              <a:gd name="connsiteX169" fmla="*/ 4617281 w 5737264"/>
              <a:gd name="connsiteY169" fmla="*/ 959617 h 1240971"/>
              <a:gd name="connsiteX170" fmla="*/ 4632353 w 5737264"/>
              <a:gd name="connsiteY170" fmla="*/ 944545 h 1240971"/>
              <a:gd name="connsiteX171" fmla="*/ 4652450 w 5737264"/>
              <a:gd name="connsiteY171" fmla="*/ 934497 h 1240971"/>
              <a:gd name="connsiteX172" fmla="*/ 4672547 w 5737264"/>
              <a:gd name="connsiteY172" fmla="*/ 919424 h 1240971"/>
              <a:gd name="connsiteX173" fmla="*/ 4737861 w 5737264"/>
              <a:gd name="connsiteY173" fmla="*/ 884255 h 1240971"/>
              <a:gd name="connsiteX174" fmla="*/ 4762982 w 5737264"/>
              <a:gd name="connsiteY174" fmla="*/ 879231 h 1240971"/>
              <a:gd name="connsiteX175" fmla="*/ 4778054 w 5737264"/>
              <a:gd name="connsiteY175" fmla="*/ 874206 h 1240971"/>
              <a:gd name="connsiteX176" fmla="*/ 4819294 w 5737264"/>
              <a:gd name="connsiteY176" fmla="*/ 873944 h 1240971"/>
              <a:gd name="connsiteX177" fmla="*/ 4877465 w 5737264"/>
              <a:gd name="connsiteY177" fmla="*/ 895638 h 1240971"/>
              <a:gd name="connsiteX178" fmla="*/ 4935347 w 5737264"/>
              <a:gd name="connsiteY178" fmla="*/ 934523 h 1240971"/>
              <a:gd name="connsiteX179" fmla="*/ 4995402 w 5737264"/>
              <a:gd name="connsiteY179" fmla="*/ 1006746 h 1240971"/>
              <a:gd name="connsiteX180" fmla="*/ 5024762 w 5737264"/>
              <a:gd name="connsiteY180" fmla="*/ 1051963 h 1240971"/>
              <a:gd name="connsiteX181" fmla="*/ 5092223 w 5737264"/>
              <a:gd name="connsiteY181" fmla="*/ 1016506 h 1240971"/>
              <a:gd name="connsiteX182" fmla="*/ 5144322 w 5737264"/>
              <a:gd name="connsiteY182" fmla="*/ 948261 h 1240971"/>
              <a:gd name="connsiteX183" fmla="*/ 5189252 w 5737264"/>
              <a:gd name="connsiteY183" fmla="*/ 886112 h 1240971"/>
              <a:gd name="connsiteX184" fmla="*/ 5226279 w 5737264"/>
              <a:gd name="connsiteY184" fmla="*/ 856230 h 1240971"/>
              <a:gd name="connsiteX185" fmla="*/ 5260637 w 5737264"/>
              <a:gd name="connsiteY185" fmla="*/ 822918 h 1240971"/>
              <a:gd name="connsiteX186" fmla="*/ 5295282 w 5737264"/>
              <a:gd name="connsiteY186" fmla="*/ 800440 h 1240971"/>
              <a:gd name="connsiteX187" fmla="*/ 5334430 w 5737264"/>
              <a:gd name="connsiteY187" fmla="*/ 794893 h 1240971"/>
              <a:gd name="connsiteX188" fmla="*/ 5412174 w 5737264"/>
              <a:gd name="connsiteY188" fmla="*/ 824252 h 1240971"/>
              <a:gd name="connsiteX189" fmla="*/ 5431197 w 5737264"/>
              <a:gd name="connsiteY189" fmla="*/ 768699 h 1240971"/>
              <a:gd name="connsiteX190" fmla="*/ 5441246 w 5737264"/>
              <a:gd name="connsiteY190" fmla="*/ 753626 h 1240971"/>
              <a:gd name="connsiteX191" fmla="*/ 5456318 w 5737264"/>
              <a:gd name="connsiteY191" fmla="*/ 708409 h 1240971"/>
              <a:gd name="connsiteX192" fmla="*/ 5466366 w 5737264"/>
              <a:gd name="connsiteY192" fmla="*/ 683288 h 1240971"/>
              <a:gd name="connsiteX193" fmla="*/ 5476415 w 5737264"/>
              <a:gd name="connsiteY193" fmla="*/ 643094 h 1240971"/>
              <a:gd name="connsiteX194" fmla="*/ 5491487 w 5737264"/>
              <a:gd name="connsiteY194" fmla="*/ 617973 h 1240971"/>
              <a:gd name="connsiteX195" fmla="*/ 5506560 w 5737264"/>
              <a:gd name="connsiteY195" fmla="*/ 572756 h 1240971"/>
              <a:gd name="connsiteX196" fmla="*/ 5526656 w 5737264"/>
              <a:gd name="connsiteY196" fmla="*/ 522514 h 1240971"/>
              <a:gd name="connsiteX197" fmla="*/ 5546753 w 5737264"/>
              <a:gd name="connsiteY197" fmla="*/ 467248 h 1240971"/>
              <a:gd name="connsiteX198" fmla="*/ 5556802 w 5737264"/>
              <a:gd name="connsiteY198" fmla="*/ 411982 h 1240971"/>
              <a:gd name="connsiteX199" fmla="*/ 5566850 w 5737264"/>
              <a:gd name="connsiteY199" fmla="*/ 381837 h 1240971"/>
              <a:gd name="connsiteX200" fmla="*/ 5576898 w 5737264"/>
              <a:gd name="connsiteY200" fmla="*/ 356716 h 1240971"/>
              <a:gd name="connsiteX201" fmla="*/ 5596995 w 5737264"/>
              <a:gd name="connsiteY201" fmla="*/ 316523 h 1240971"/>
              <a:gd name="connsiteX202" fmla="*/ 5617092 w 5737264"/>
              <a:gd name="connsiteY202" fmla="*/ 246184 h 1240971"/>
              <a:gd name="connsiteX203" fmla="*/ 5622116 w 5737264"/>
              <a:gd name="connsiteY203" fmla="*/ 226088 h 1240971"/>
              <a:gd name="connsiteX204" fmla="*/ 5632164 w 5737264"/>
              <a:gd name="connsiteY204" fmla="*/ 216039 h 1240971"/>
              <a:gd name="connsiteX205" fmla="*/ 5637188 w 5737264"/>
              <a:gd name="connsiteY205" fmla="*/ 200967 h 1240971"/>
              <a:gd name="connsiteX206" fmla="*/ 5651738 w 5737264"/>
              <a:gd name="connsiteY206" fmla="*/ 190395 h 1240971"/>
              <a:gd name="connsiteX207" fmla="*/ 5673692 w 5737264"/>
              <a:gd name="connsiteY207" fmla="*/ 153892 h 1240971"/>
              <a:gd name="connsiteX208" fmla="*/ 5726602 w 5737264"/>
              <a:gd name="connsiteY208" fmla="*/ 89362 h 1240971"/>
              <a:gd name="connsiteX209" fmla="*/ 5728722 w 5737264"/>
              <a:gd name="connsiteY209" fmla="*/ 42287 h 1240971"/>
              <a:gd name="connsiteX210" fmla="*/ 5634284 w 5737264"/>
              <a:gd name="connsiteY210" fmla="*/ 25357 h 1240971"/>
              <a:gd name="connsiteX211" fmla="*/ 5536940 w 5737264"/>
              <a:gd name="connsiteY211" fmla="*/ 27214 h 1240971"/>
              <a:gd name="connsiteX212" fmla="*/ 5470369 w 5737264"/>
              <a:gd name="connsiteY212" fmla="*/ 39381 h 1240971"/>
              <a:gd name="connsiteX213" fmla="*/ 5379124 w 5737264"/>
              <a:gd name="connsiteY213" fmla="*/ 39644 h 1240971"/>
              <a:gd name="connsiteX214" fmla="*/ 5309282 w 5737264"/>
              <a:gd name="connsiteY214" fmla="*/ 42287 h 1240971"/>
              <a:gd name="connsiteX215" fmla="*/ 5238682 w 5737264"/>
              <a:gd name="connsiteY215" fmla="*/ 54455 h 1240971"/>
              <a:gd name="connsiteX216" fmla="*/ 5108892 w 5737264"/>
              <a:gd name="connsiteY216" fmla="*/ 37524 h 1240971"/>
              <a:gd name="connsiteX217" fmla="*/ 5020026 w 5737264"/>
              <a:gd name="connsiteY217" fmla="*/ 39120 h 1240971"/>
              <a:gd name="connsiteX218" fmla="*/ 4946233 w 5737264"/>
              <a:gd name="connsiteY218" fmla="*/ 41240 h 1240971"/>
              <a:gd name="connsiteX219" fmla="*/ 4823272 w 5737264"/>
              <a:gd name="connsiteY219" fmla="*/ 50242 h 1240971"/>
              <a:gd name="connsiteX220" fmla="*/ 4727577 w 5737264"/>
              <a:gd name="connsiteY220" fmla="*/ 29073 h 1240971"/>
              <a:gd name="connsiteX221" fmla="*/ 4628376 w 5737264"/>
              <a:gd name="connsiteY221" fmla="*/ 41240 h 1240971"/>
              <a:gd name="connsiteX222" fmla="*/ 4565180 w 5737264"/>
              <a:gd name="connsiteY222" fmla="*/ 46264 h 1240971"/>
              <a:gd name="connsiteX223" fmla="*/ 4417596 w 5737264"/>
              <a:gd name="connsiteY223" fmla="*/ 44406 h 1240971"/>
              <a:gd name="connsiteX224" fmla="*/ 4139984 w 5737264"/>
              <a:gd name="connsiteY224" fmla="*/ 60290 h 1240971"/>
              <a:gd name="connsiteX225" fmla="*/ 3918920 w 5737264"/>
              <a:gd name="connsiteY225" fmla="*/ 50242 h 1240971"/>
              <a:gd name="connsiteX226" fmla="*/ 3873703 w 5737264"/>
              <a:gd name="connsiteY226" fmla="*/ 45217 h 1240971"/>
              <a:gd name="connsiteX227" fmla="*/ 3687808 w 5737264"/>
              <a:gd name="connsiteY227" fmla="*/ 40193 h 1240971"/>
              <a:gd name="connsiteX228" fmla="*/ 3662687 w 5737264"/>
              <a:gd name="connsiteY228" fmla="*/ 35169 h 1240971"/>
              <a:gd name="connsiteX229" fmla="*/ 3627518 w 5737264"/>
              <a:gd name="connsiteY229" fmla="*/ 25121 h 1240971"/>
              <a:gd name="connsiteX230" fmla="*/ 3547131 w 5737264"/>
              <a:gd name="connsiteY230" fmla="*/ 20097 h 1240971"/>
              <a:gd name="connsiteX231" fmla="*/ 3310995 w 5737264"/>
              <a:gd name="connsiteY231" fmla="*/ 25121 h 1240971"/>
              <a:gd name="connsiteX232" fmla="*/ 3265777 w 5737264"/>
              <a:gd name="connsiteY232" fmla="*/ 30145 h 1240971"/>
              <a:gd name="connsiteX233" fmla="*/ 3175342 w 5737264"/>
              <a:gd name="connsiteY233" fmla="*/ 35169 h 1240971"/>
              <a:gd name="connsiteX234" fmla="*/ 2582489 w 5737264"/>
              <a:gd name="connsiteY234" fmla="*/ 45217 h 1240971"/>
              <a:gd name="connsiteX235" fmla="*/ 2255918 w 5737264"/>
              <a:gd name="connsiteY235" fmla="*/ 40193 h 1240971"/>
              <a:gd name="connsiteX236" fmla="*/ 1974564 w 5737264"/>
              <a:gd name="connsiteY236" fmla="*/ 30145 h 1240971"/>
              <a:gd name="connsiteX237" fmla="*/ 1944419 w 5737264"/>
              <a:gd name="connsiteY237" fmla="*/ 25121 h 1240971"/>
              <a:gd name="connsiteX238" fmla="*/ 1848960 w 5737264"/>
              <a:gd name="connsiteY238" fmla="*/ 20097 h 1240971"/>
              <a:gd name="connsiteX239" fmla="*/ 1768573 w 5737264"/>
              <a:gd name="connsiteY239" fmla="*/ 10048 h 1240971"/>
              <a:gd name="connsiteX240" fmla="*/ 1502292 w 5737264"/>
              <a:gd name="connsiteY240" fmla="*/ 20097 h 1240971"/>
              <a:gd name="connsiteX241" fmla="*/ 1467122 w 5737264"/>
              <a:gd name="connsiteY241" fmla="*/ 25121 h 1240971"/>
              <a:gd name="connsiteX242" fmla="*/ 1426929 w 5737264"/>
              <a:gd name="connsiteY242" fmla="*/ 30145 h 1240971"/>
              <a:gd name="connsiteX243" fmla="*/ 1341518 w 5737264"/>
              <a:gd name="connsiteY243" fmla="*/ 45217 h 1240971"/>
              <a:gd name="connsiteX244" fmla="*/ 1095333 w 5737264"/>
              <a:gd name="connsiteY244" fmla="*/ 35169 h 1240971"/>
              <a:gd name="connsiteX245" fmla="*/ 979777 w 5737264"/>
              <a:gd name="connsiteY245" fmla="*/ 20097 h 1240971"/>
              <a:gd name="connsiteX246" fmla="*/ 939584 w 5737264"/>
              <a:gd name="connsiteY246" fmla="*/ 10048 h 1240971"/>
              <a:gd name="connsiteX247" fmla="*/ 813980 w 5737264"/>
              <a:gd name="connsiteY247" fmla="*/ 0 h 1240971"/>
              <a:gd name="connsiteX248" fmla="*/ 743641 w 5737264"/>
              <a:gd name="connsiteY248" fmla="*/ 5024 h 1240971"/>
              <a:gd name="connsiteX249" fmla="*/ 582867 w 5737264"/>
              <a:gd name="connsiteY249" fmla="*/ 15072 h 1240971"/>
              <a:gd name="connsiteX250" fmla="*/ 432142 w 5737264"/>
              <a:gd name="connsiteY250" fmla="*/ 5024 h 1240971"/>
              <a:gd name="connsiteX251" fmla="*/ 412046 w 5737264"/>
              <a:gd name="connsiteY251" fmla="*/ 0 h 1240971"/>
              <a:gd name="connsiteX252" fmla="*/ 281417 w 5737264"/>
              <a:gd name="connsiteY252" fmla="*/ 10048 h 1240971"/>
              <a:gd name="connsiteX253" fmla="*/ 261320 w 5737264"/>
              <a:gd name="connsiteY253" fmla="*/ 15072 h 1240971"/>
              <a:gd name="connsiteX254" fmla="*/ 100547 w 5737264"/>
              <a:gd name="connsiteY254" fmla="*/ 20097 h 1240971"/>
              <a:gd name="connsiteX255" fmla="*/ 5087 w 5737264"/>
              <a:gd name="connsiteY255"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95922 w 5737264"/>
              <a:gd name="connsiteY128" fmla="*/ 1160584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7148 h 1240971"/>
              <a:gd name="connsiteX146" fmla="*/ 3799125 w 5737264"/>
              <a:gd name="connsiteY146" fmla="*/ 1043982 h 1240971"/>
              <a:gd name="connsiteX147" fmla="*/ 3859651 w 5737264"/>
              <a:gd name="connsiteY147" fmla="*/ 1072033 h 1240971"/>
              <a:gd name="connsiteX148" fmla="*/ 3902226 w 5737264"/>
              <a:gd name="connsiteY148" fmla="*/ 1101367 h 1240971"/>
              <a:gd name="connsiteX149" fmla="*/ 3958041 w 5737264"/>
              <a:gd name="connsiteY149" fmla="*/ 1142346 h 1240971"/>
              <a:gd name="connsiteX150" fmla="*/ 4019404 w 5737264"/>
              <a:gd name="connsiteY150" fmla="*/ 1165609 h 1240971"/>
              <a:gd name="connsiteX151" fmla="*/ 4064621 w 5737264"/>
              <a:gd name="connsiteY151" fmla="*/ 1150536 h 1240971"/>
              <a:gd name="connsiteX152" fmla="*/ 4079694 w 5737264"/>
              <a:gd name="connsiteY152" fmla="*/ 1125415 h 1240971"/>
              <a:gd name="connsiteX153" fmla="*/ 4099791 w 5737264"/>
              <a:gd name="connsiteY153" fmla="*/ 1105319 h 1240971"/>
              <a:gd name="connsiteX154" fmla="*/ 4129936 w 5737264"/>
              <a:gd name="connsiteY154" fmla="*/ 1075173 h 1240971"/>
              <a:gd name="connsiteX155" fmla="*/ 4150032 w 5737264"/>
              <a:gd name="connsiteY155" fmla="*/ 1040004 h 1240971"/>
              <a:gd name="connsiteX156" fmla="*/ 4160081 w 5737264"/>
              <a:gd name="connsiteY156" fmla="*/ 1019908 h 1240971"/>
              <a:gd name="connsiteX157" fmla="*/ 4165105 w 5737264"/>
              <a:gd name="connsiteY157" fmla="*/ 1004835 h 1240971"/>
              <a:gd name="connsiteX158" fmla="*/ 4185202 w 5737264"/>
              <a:gd name="connsiteY158" fmla="*/ 984738 h 1240971"/>
              <a:gd name="connsiteX159" fmla="*/ 4200274 w 5737264"/>
              <a:gd name="connsiteY159" fmla="*/ 979714 h 1240971"/>
              <a:gd name="connsiteX160" fmla="*/ 4235443 w 5737264"/>
              <a:gd name="connsiteY160" fmla="*/ 954593 h 1240971"/>
              <a:gd name="connsiteX161" fmla="*/ 4275637 w 5737264"/>
              <a:gd name="connsiteY161" fmla="*/ 934497 h 1240971"/>
              <a:gd name="connsiteX162" fmla="*/ 4310806 w 5737264"/>
              <a:gd name="connsiteY162" fmla="*/ 914400 h 1240971"/>
              <a:gd name="connsiteX163" fmla="*/ 4325878 w 5737264"/>
              <a:gd name="connsiteY163" fmla="*/ 904352 h 1240971"/>
              <a:gd name="connsiteX164" fmla="*/ 4362094 w 5737264"/>
              <a:gd name="connsiteY164" fmla="*/ 909114 h 1240971"/>
              <a:gd name="connsiteX165" fmla="*/ 4417099 w 5737264"/>
              <a:gd name="connsiteY165" fmla="*/ 946141 h 1240971"/>
              <a:gd name="connsiteX166" fmla="*/ 4462316 w 5737264"/>
              <a:gd name="connsiteY166" fmla="*/ 1006955 h 1240971"/>
              <a:gd name="connsiteX167" fmla="*/ 4531320 w 5737264"/>
              <a:gd name="connsiteY167" fmla="*/ 1037650 h 1240971"/>
              <a:gd name="connsiteX168" fmla="*/ 4597184 w 5737264"/>
              <a:gd name="connsiteY168" fmla="*/ 969666 h 1240971"/>
              <a:gd name="connsiteX169" fmla="*/ 4617281 w 5737264"/>
              <a:gd name="connsiteY169" fmla="*/ 959617 h 1240971"/>
              <a:gd name="connsiteX170" fmla="*/ 4632353 w 5737264"/>
              <a:gd name="connsiteY170" fmla="*/ 944545 h 1240971"/>
              <a:gd name="connsiteX171" fmla="*/ 4652450 w 5737264"/>
              <a:gd name="connsiteY171" fmla="*/ 934497 h 1240971"/>
              <a:gd name="connsiteX172" fmla="*/ 4672547 w 5737264"/>
              <a:gd name="connsiteY172" fmla="*/ 919424 h 1240971"/>
              <a:gd name="connsiteX173" fmla="*/ 4737861 w 5737264"/>
              <a:gd name="connsiteY173" fmla="*/ 884255 h 1240971"/>
              <a:gd name="connsiteX174" fmla="*/ 4762982 w 5737264"/>
              <a:gd name="connsiteY174" fmla="*/ 879231 h 1240971"/>
              <a:gd name="connsiteX175" fmla="*/ 4778054 w 5737264"/>
              <a:gd name="connsiteY175" fmla="*/ 874206 h 1240971"/>
              <a:gd name="connsiteX176" fmla="*/ 4819294 w 5737264"/>
              <a:gd name="connsiteY176" fmla="*/ 873944 h 1240971"/>
              <a:gd name="connsiteX177" fmla="*/ 4877465 w 5737264"/>
              <a:gd name="connsiteY177" fmla="*/ 895638 h 1240971"/>
              <a:gd name="connsiteX178" fmla="*/ 4935347 w 5737264"/>
              <a:gd name="connsiteY178" fmla="*/ 934523 h 1240971"/>
              <a:gd name="connsiteX179" fmla="*/ 4995402 w 5737264"/>
              <a:gd name="connsiteY179" fmla="*/ 1006746 h 1240971"/>
              <a:gd name="connsiteX180" fmla="*/ 5024762 w 5737264"/>
              <a:gd name="connsiteY180" fmla="*/ 1051963 h 1240971"/>
              <a:gd name="connsiteX181" fmla="*/ 5092223 w 5737264"/>
              <a:gd name="connsiteY181" fmla="*/ 1016506 h 1240971"/>
              <a:gd name="connsiteX182" fmla="*/ 5144322 w 5737264"/>
              <a:gd name="connsiteY182" fmla="*/ 948261 h 1240971"/>
              <a:gd name="connsiteX183" fmla="*/ 5189252 w 5737264"/>
              <a:gd name="connsiteY183" fmla="*/ 886112 h 1240971"/>
              <a:gd name="connsiteX184" fmla="*/ 5226279 w 5737264"/>
              <a:gd name="connsiteY184" fmla="*/ 856230 h 1240971"/>
              <a:gd name="connsiteX185" fmla="*/ 5260637 w 5737264"/>
              <a:gd name="connsiteY185" fmla="*/ 822918 h 1240971"/>
              <a:gd name="connsiteX186" fmla="*/ 5295282 w 5737264"/>
              <a:gd name="connsiteY186" fmla="*/ 800440 h 1240971"/>
              <a:gd name="connsiteX187" fmla="*/ 5334430 w 5737264"/>
              <a:gd name="connsiteY187" fmla="*/ 794893 h 1240971"/>
              <a:gd name="connsiteX188" fmla="*/ 5412174 w 5737264"/>
              <a:gd name="connsiteY188" fmla="*/ 824252 h 1240971"/>
              <a:gd name="connsiteX189" fmla="*/ 5431197 w 5737264"/>
              <a:gd name="connsiteY189" fmla="*/ 768699 h 1240971"/>
              <a:gd name="connsiteX190" fmla="*/ 5441246 w 5737264"/>
              <a:gd name="connsiteY190" fmla="*/ 753626 h 1240971"/>
              <a:gd name="connsiteX191" fmla="*/ 5456318 w 5737264"/>
              <a:gd name="connsiteY191" fmla="*/ 708409 h 1240971"/>
              <a:gd name="connsiteX192" fmla="*/ 5466366 w 5737264"/>
              <a:gd name="connsiteY192" fmla="*/ 683288 h 1240971"/>
              <a:gd name="connsiteX193" fmla="*/ 5476415 w 5737264"/>
              <a:gd name="connsiteY193" fmla="*/ 643094 h 1240971"/>
              <a:gd name="connsiteX194" fmla="*/ 5491487 w 5737264"/>
              <a:gd name="connsiteY194" fmla="*/ 617973 h 1240971"/>
              <a:gd name="connsiteX195" fmla="*/ 5506560 w 5737264"/>
              <a:gd name="connsiteY195" fmla="*/ 572756 h 1240971"/>
              <a:gd name="connsiteX196" fmla="*/ 5526656 w 5737264"/>
              <a:gd name="connsiteY196" fmla="*/ 522514 h 1240971"/>
              <a:gd name="connsiteX197" fmla="*/ 5546753 w 5737264"/>
              <a:gd name="connsiteY197" fmla="*/ 467248 h 1240971"/>
              <a:gd name="connsiteX198" fmla="*/ 5556802 w 5737264"/>
              <a:gd name="connsiteY198" fmla="*/ 411982 h 1240971"/>
              <a:gd name="connsiteX199" fmla="*/ 5566850 w 5737264"/>
              <a:gd name="connsiteY199" fmla="*/ 381837 h 1240971"/>
              <a:gd name="connsiteX200" fmla="*/ 5576898 w 5737264"/>
              <a:gd name="connsiteY200" fmla="*/ 356716 h 1240971"/>
              <a:gd name="connsiteX201" fmla="*/ 5596995 w 5737264"/>
              <a:gd name="connsiteY201" fmla="*/ 316523 h 1240971"/>
              <a:gd name="connsiteX202" fmla="*/ 5617092 w 5737264"/>
              <a:gd name="connsiteY202" fmla="*/ 246184 h 1240971"/>
              <a:gd name="connsiteX203" fmla="*/ 5622116 w 5737264"/>
              <a:gd name="connsiteY203" fmla="*/ 226088 h 1240971"/>
              <a:gd name="connsiteX204" fmla="*/ 5632164 w 5737264"/>
              <a:gd name="connsiteY204" fmla="*/ 216039 h 1240971"/>
              <a:gd name="connsiteX205" fmla="*/ 5637188 w 5737264"/>
              <a:gd name="connsiteY205" fmla="*/ 200967 h 1240971"/>
              <a:gd name="connsiteX206" fmla="*/ 5651738 w 5737264"/>
              <a:gd name="connsiteY206" fmla="*/ 190395 h 1240971"/>
              <a:gd name="connsiteX207" fmla="*/ 5673692 w 5737264"/>
              <a:gd name="connsiteY207" fmla="*/ 153892 h 1240971"/>
              <a:gd name="connsiteX208" fmla="*/ 5726602 w 5737264"/>
              <a:gd name="connsiteY208" fmla="*/ 89362 h 1240971"/>
              <a:gd name="connsiteX209" fmla="*/ 5728722 w 5737264"/>
              <a:gd name="connsiteY209" fmla="*/ 42287 h 1240971"/>
              <a:gd name="connsiteX210" fmla="*/ 5634284 w 5737264"/>
              <a:gd name="connsiteY210" fmla="*/ 25357 h 1240971"/>
              <a:gd name="connsiteX211" fmla="*/ 5536940 w 5737264"/>
              <a:gd name="connsiteY211" fmla="*/ 27214 h 1240971"/>
              <a:gd name="connsiteX212" fmla="*/ 5470369 w 5737264"/>
              <a:gd name="connsiteY212" fmla="*/ 39381 h 1240971"/>
              <a:gd name="connsiteX213" fmla="*/ 5379124 w 5737264"/>
              <a:gd name="connsiteY213" fmla="*/ 39644 h 1240971"/>
              <a:gd name="connsiteX214" fmla="*/ 5309282 w 5737264"/>
              <a:gd name="connsiteY214" fmla="*/ 42287 h 1240971"/>
              <a:gd name="connsiteX215" fmla="*/ 5238682 w 5737264"/>
              <a:gd name="connsiteY215" fmla="*/ 54455 h 1240971"/>
              <a:gd name="connsiteX216" fmla="*/ 5108892 w 5737264"/>
              <a:gd name="connsiteY216" fmla="*/ 37524 h 1240971"/>
              <a:gd name="connsiteX217" fmla="*/ 5020026 w 5737264"/>
              <a:gd name="connsiteY217" fmla="*/ 39120 h 1240971"/>
              <a:gd name="connsiteX218" fmla="*/ 4946233 w 5737264"/>
              <a:gd name="connsiteY218" fmla="*/ 41240 h 1240971"/>
              <a:gd name="connsiteX219" fmla="*/ 4823272 w 5737264"/>
              <a:gd name="connsiteY219" fmla="*/ 50242 h 1240971"/>
              <a:gd name="connsiteX220" fmla="*/ 4727577 w 5737264"/>
              <a:gd name="connsiteY220" fmla="*/ 29073 h 1240971"/>
              <a:gd name="connsiteX221" fmla="*/ 4628376 w 5737264"/>
              <a:gd name="connsiteY221" fmla="*/ 41240 h 1240971"/>
              <a:gd name="connsiteX222" fmla="*/ 4565180 w 5737264"/>
              <a:gd name="connsiteY222" fmla="*/ 46264 h 1240971"/>
              <a:gd name="connsiteX223" fmla="*/ 4417596 w 5737264"/>
              <a:gd name="connsiteY223" fmla="*/ 44406 h 1240971"/>
              <a:gd name="connsiteX224" fmla="*/ 4139984 w 5737264"/>
              <a:gd name="connsiteY224" fmla="*/ 60290 h 1240971"/>
              <a:gd name="connsiteX225" fmla="*/ 3918920 w 5737264"/>
              <a:gd name="connsiteY225" fmla="*/ 50242 h 1240971"/>
              <a:gd name="connsiteX226" fmla="*/ 3873703 w 5737264"/>
              <a:gd name="connsiteY226" fmla="*/ 45217 h 1240971"/>
              <a:gd name="connsiteX227" fmla="*/ 3687808 w 5737264"/>
              <a:gd name="connsiteY227" fmla="*/ 40193 h 1240971"/>
              <a:gd name="connsiteX228" fmla="*/ 3662687 w 5737264"/>
              <a:gd name="connsiteY228" fmla="*/ 35169 h 1240971"/>
              <a:gd name="connsiteX229" fmla="*/ 3627518 w 5737264"/>
              <a:gd name="connsiteY229" fmla="*/ 25121 h 1240971"/>
              <a:gd name="connsiteX230" fmla="*/ 3547131 w 5737264"/>
              <a:gd name="connsiteY230" fmla="*/ 20097 h 1240971"/>
              <a:gd name="connsiteX231" fmla="*/ 3310995 w 5737264"/>
              <a:gd name="connsiteY231" fmla="*/ 25121 h 1240971"/>
              <a:gd name="connsiteX232" fmla="*/ 3265777 w 5737264"/>
              <a:gd name="connsiteY232" fmla="*/ 30145 h 1240971"/>
              <a:gd name="connsiteX233" fmla="*/ 3175342 w 5737264"/>
              <a:gd name="connsiteY233" fmla="*/ 35169 h 1240971"/>
              <a:gd name="connsiteX234" fmla="*/ 2582489 w 5737264"/>
              <a:gd name="connsiteY234" fmla="*/ 45217 h 1240971"/>
              <a:gd name="connsiteX235" fmla="*/ 2255918 w 5737264"/>
              <a:gd name="connsiteY235" fmla="*/ 40193 h 1240971"/>
              <a:gd name="connsiteX236" fmla="*/ 1974564 w 5737264"/>
              <a:gd name="connsiteY236" fmla="*/ 30145 h 1240971"/>
              <a:gd name="connsiteX237" fmla="*/ 1944419 w 5737264"/>
              <a:gd name="connsiteY237" fmla="*/ 25121 h 1240971"/>
              <a:gd name="connsiteX238" fmla="*/ 1848960 w 5737264"/>
              <a:gd name="connsiteY238" fmla="*/ 20097 h 1240971"/>
              <a:gd name="connsiteX239" fmla="*/ 1768573 w 5737264"/>
              <a:gd name="connsiteY239" fmla="*/ 10048 h 1240971"/>
              <a:gd name="connsiteX240" fmla="*/ 1502292 w 5737264"/>
              <a:gd name="connsiteY240" fmla="*/ 20097 h 1240971"/>
              <a:gd name="connsiteX241" fmla="*/ 1467122 w 5737264"/>
              <a:gd name="connsiteY241" fmla="*/ 25121 h 1240971"/>
              <a:gd name="connsiteX242" fmla="*/ 1426929 w 5737264"/>
              <a:gd name="connsiteY242" fmla="*/ 30145 h 1240971"/>
              <a:gd name="connsiteX243" fmla="*/ 1341518 w 5737264"/>
              <a:gd name="connsiteY243" fmla="*/ 45217 h 1240971"/>
              <a:gd name="connsiteX244" fmla="*/ 1095333 w 5737264"/>
              <a:gd name="connsiteY244" fmla="*/ 35169 h 1240971"/>
              <a:gd name="connsiteX245" fmla="*/ 979777 w 5737264"/>
              <a:gd name="connsiteY245" fmla="*/ 20097 h 1240971"/>
              <a:gd name="connsiteX246" fmla="*/ 939584 w 5737264"/>
              <a:gd name="connsiteY246" fmla="*/ 10048 h 1240971"/>
              <a:gd name="connsiteX247" fmla="*/ 813980 w 5737264"/>
              <a:gd name="connsiteY247" fmla="*/ 0 h 1240971"/>
              <a:gd name="connsiteX248" fmla="*/ 743641 w 5737264"/>
              <a:gd name="connsiteY248" fmla="*/ 5024 h 1240971"/>
              <a:gd name="connsiteX249" fmla="*/ 582867 w 5737264"/>
              <a:gd name="connsiteY249" fmla="*/ 15072 h 1240971"/>
              <a:gd name="connsiteX250" fmla="*/ 432142 w 5737264"/>
              <a:gd name="connsiteY250" fmla="*/ 5024 h 1240971"/>
              <a:gd name="connsiteX251" fmla="*/ 412046 w 5737264"/>
              <a:gd name="connsiteY251" fmla="*/ 0 h 1240971"/>
              <a:gd name="connsiteX252" fmla="*/ 281417 w 5737264"/>
              <a:gd name="connsiteY252" fmla="*/ 10048 h 1240971"/>
              <a:gd name="connsiteX253" fmla="*/ 261320 w 5737264"/>
              <a:gd name="connsiteY253" fmla="*/ 15072 h 1240971"/>
              <a:gd name="connsiteX254" fmla="*/ 100547 w 5737264"/>
              <a:gd name="connsiteY254" fmla="*/ 20097 h 1240971"/>
              <a:gd name="connsiteX255" fmla="*/ 5087 w 5737264"/>
              <a:gd name="connsiteY255"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55729 w 5737264"/>
              <a:gd name="connsiteY127" fmla="*/ 1185705 h 1240971"/>
              <a:gd name="connsiteX128" fmla="*/ 3281634 w 5737264"/>
              <a:gd name="connsiteY128" fmla="*/ 1153440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7148 h 1240971"/>
              <a:gd name="connsiteX146" fmla="*/ 3799125 w 5737264"/>
              <a:gd name="connsiteY146" fmla="*/ 1043982 h 1240971"/>
              <a:gd name="connsiteX147" fmla="*/ 3859651 w 5737264"/>
              <a:gd name="connsiteY147" fmla="*/ 1072033 h 1240971"/>
              <a:gd name="connsiteX148" fmla="*/ 3902226 w 5737264"/>
              <a:gd name="connsiteY148" fmla="*/ 1101367 h 1240971"/>
              <a:gd name="connsiteX149" fmla="*/ 3958041 w 5737264"/>
              <a:gd name="connsiteY149" fmla="*/ 1142346 h 1240971"/>
              <a:gd name="connsiteX150" fmla="*/ 4019404 w 5737264"/>
              <a:gd name="connsiteY150" fmla="*/ 1165609 h 1240971"/>
              <a:gd name="connsiteX151" fmla="*/ 4064621 w 5737264"/>
              <a:gd name="connsiteY151" fmla="*/ 1150536 h 1240971"/>
              <a:gd name="connsiteX152" fmla="*/ 4079694 w 5737264"/>
              <a:gd name="connsiteY152" fmla="*/ 1125415 h 1240971"/>
              <a:gd name="connsiteX153" fmla="*/ 4099791 w 5737264"/>
              <a:gd name="connsiteY153" fmla="*/ 1105319 h 1240971"/>
              <a:gd name="connsiteX154" fmla="*/ 4129936 w 5737264"/>
              <a:gd name="connsiteY154" fmla="*/ 1075173 h 1240971"/>
              <a:gd name="connsiteX155" fmla="*/ 4150032 w 5737264"/>
              <a:gd name="connsiteY155" fmla="*/ 1040004 h 1240971"/>
              <a:gd name="connsiteX156" fmla="*/ 4160081 w 5737264"/>
              <a:gd name="connsiteY156" fmla="*/ 1019908 h 1240971"/>
              <a:gd name="connsiteX157" fmla="*/ 4165105 w 5737264"/>
              <a:gd name="connsiteY157" fmla="*/ 1004835 h 1240971"/>
              <a:gd name="connsiteX158" fmla="*/ 4185202 w 5737264"/>
              <a:gd name="connsiteY158" fmla="*/ 984738 h 1240971"/>
              <a:gd name="connsiteX159" fmla="*/ 4200274 w 5737264"/>
              <a:gd name="connsiteY159" fmla="*/ 979714 h 1240971"/>
              <a:gd name="connsiteX160" fmla="*/ 4235443 w 5737264"/>
              <a:gd name="connsiteY160" fmla="*/ 954593 h 1240971"/>
              <a:gd name="connsiteX161" fmla="*/ 4275637 w 5737264"/>
              <a:gd name="connsiteY161" fmla="*/ 934497 h 1240971"/>
              <a:gd name="connsiteX162" fmla="*/ 4310806 w 5737264"/>
              <a:gd name="connsiteY162" fmla="*/ 914400 h 1240971"/>
              <a:gd name="connsiteX163" fmla="*/ 4325878 w 5737264"/>
              <a:gd name="connsiteY163" fmla="*/ 904352 h 1240971"/>
              <a:gd name="connsiteX164" fmla="*/ 4362094 w 5737264"/>
              <a:gd name="connsiteY164" fmla="*/ 909114 h 1240971"/>
              <a:gd name="connsiteX165" fmla="*/ 4417099 w 5737264"/>
              <a:gd name="connsiteY165" fmla="*/ 946141 h 1240971"/>
              <a:gd name="connsiteX166" fmla="*/ 4462316 w 5737264"/>
              <a:gd name="connsiteY166" fmla="*/ 1006955 h 1240971"/>
              <a:gd name="connsiteX167" fmla="*/ 4531320 w 5737264"/>
              <a:gd name="connsiteY167" fmla="*/ 1037650 h 1240971"/>
              <a:gd name="connsiteX168" fmla="*/ 4597184 w 5737264"/>
              <a:gd name="connsiteY168" fmla="*/ 969666 h 1240971"/>
              <a:gd name="connsiteX169" fmla="*/ 4617281 w 5737264"/>
              <a:gd name="connsiteY169" fmla="*/ 959617 h 1240971"/>
              <a:gd name="connsiteX170" fmla="*/ 4632353 w 5737264"/>
              <a:gd name="connsiteY170" fmla="*/ 944545 h 1240971"/>
              <a:gd name="connsiteX171" fmla="*/ 4652450 w 5737264"/>
              <a:gd name="connsiteY171" fmla="*/ 934497 h 1240971"/>
              <a:gd name="connsiteX172" fmla="*/ 4672547 w 5737264"/>
              <a:gd name="connsiteY172" fmla="*/ 919424 h 1240971"/>
              <a:gd name="connsiteX173" fmla="*/ 4737861 w 5737264"/>
              <a:gd name="connsiteY173" fmla="*/ 884255 h 1240971"/>
              <a:gd name="connsiteX174" fmla="*/ 4762982 w 5737264"/>
              <a:gd name="connsiteY174" fmla="*/ 879231 h 1240971"/>
              <a:gd name="connsiteX175" fmla="*/ 4778054 w 5737264"/>
              <a:gd name="connsiteY175" fmla="*/ 874206 h 1240971"/>
              <a:gd name="connsiteX176" fmla="*/ 4819294 w 5737264"/>
              <a:gd name="connsiteY176" fmla="*/ 873944 h 1240971"/>
              <a:gd name="connsiteX177" fmla="*/ 4877465 w 5737264"/>
              <a:gd name="connsiteY177" fmla="*/ 895638 h 1240971"/>
              <a:gd name="connsiteX178" fmla="*/ 4935347 w 5737264"/>
              <a:gd name="connsiteY178" fmla="*/ 934523 h 1240971"/>
              <a:gd name="connsiteX179" fmla="*/ 4995402 w 5737264"/>
              <a:gd name="connsiteY179" fmla="*/ 1006746 h 1240971"/>
              <a:gd name="connsiteX180" fmla="*/ 5024762 w 5737264"/>
              <a:gd name="connsiteY180" fmla="*/ 1051963 h 1240971"/>
              <a:gd name="connsiteX181" fmla="*/ 5092223 w 5737264"/>
              <a:gd name="connsiteY181" fmla="*/ 1016506 h 1240971"/>
              <a:gd name="connsiteX182" fmla="*/ 5144322 w 5737264"/>
              <a:gd name="connsiteY182" fmla="*/ 948261 h 1240971"/>
              <a:gd name="connsiteX183" fmla="*/ 5189252 w 5737264"/>
              <a:gd name="connsiteY183" fmla="*/ 886112 h 1240971"/>
              <a:gd name="connsiteX184" fmla="*/ 5226279 w 5737264"/>
              <a:gd name="connsiteY184" fmla="*/ 856230 h 1240971"/>
              <a:gd name="connsiteX185" fmla="*/ 5260637 w 5737264"/>
              <a:gd name="connsiteY185" fmla="*/ 822918 h 1240971"/>
              <a:gd name="connsiteX186" fmla="*/ 5295282 w 5737264"/>
              <a:gd name="connsiteY186" fmla="*/ 800440 h 1240971"/>
              <a:gd name="connsiteX187" fmla="*/ 5334430 w 5737264"/>
              <a:gd name="connsiteY187" fmla="*/ 794893 h 1240971"/>
              <a:gd name="connsiteX188" fmla="*/ 5412174 w 5737264"/>
              <a:gd name="connsiteY188" fmla="*/ 824252 h 1240971"/>
              <a:gd name="connsiteX189" fmla="*/ 5431197 w 5737264"/>
              <a:gd name="connsiteY189" fmla="*/ 768699 h 1240971"/>
              <a:gd name="connsiteX190" fmla="*/ 5441246 w 5737264"/>
              <a:gd name="connsiteY190" fmla="*/ 753626 h 1240971"/>
              <a:gd name="connsiteX191" fmla="*/ 5456318 w 5737264"/>
              <a:gd name="connsiteY191" fmla="*/ 708409 h 1240971"/>
              <a:gd name="connsiteX192" fmla="*/ 5466366 w 5737264"/>
              <a:gd name="connsiteY192" fmla="*/ 683288 h 1240971"/>
              <a:gd name="connsiteX193" fmla="*/ 5476415 w 5737264"/>
              <a:gd name="connsiteY193" fmla="*/ 643094 h 1240971"/>
              <a:gd name="connsiteX194" fmla="*/ 5491487 w 5737264"/>
              <a:gd name="connsiteY194" fmla="*/ 617973 h 1240971"/>
              <a:gd name="connsiteX195" fmla="*/ 5506560 w 5737264"/>
              <a:gd name="connsiteY195" fmla="*/ 572756 h 1240971"/>
              <a:gd name="connsiteX196" fmla="*/ 5526656 w 5737264"/>
              <a:gd name="connsiteY196" fmla="*/ 522514 h 1240971"/>
              <a:gd name="connsiteX197" fmla="*/ 5546753 w 5737264"/>
              <a:gd name="connsiteY197" fmla="*/ 467248 h 1240971"/>
              <a:gd name="connsiteX198" fmla="*/ 5556802 w 5737264"/>
              <a:gd name="connsiteY198" fmla="*/ 411982 h 1240971"/>
              <a:gd name="connsiteX199" fmla="*/ 5566850 w 5737264"/>
              <a:gd name="connsiteY199" fmla="*/ 381837 h 1240971"/>
              <a:gd name="connsiteX200" fmla="*/ 5576898 w 5737264"/>
              <a:gd name="connsiteY200" fmla="*/ 356716 h 1240971"/>
              <a:gd name="connsiteX201" fmla="*/ 5596995 w 5737264"/>
              <a:gd name="connsiteY201" fmla="*/ 316523 h 1240971"/>
              <a:gd name="connsiteX202" fmla="*/ 5617092 w 5737264"/>
              <a:gd name="connsiteY202" fmla="*/ 246184 h 1240971"/>
              <a:gd name="connsiteX203" fmla="*/ 5622116 w 5737264"/>
              <a:gd name="connsiteY203" fmla="*/ 226088 h 1240971"/>
              <a:gd name="connsiteX204" fmla="*/ 5632164 w 5737264"/>
              <a:gd name="connsiteY204" fmla="*/ 216039 h 1240971"/>
              <a:gd name="connsiteX205" fmla="*/ 5637188 w 5737264"/>
              <a:gd name="connsiteY205" fmla="*/ 200967 h 1240971"/>
              <a:gd name="connsiteX206" fmla="*/ 5651738 w 5737264"/>
              <a:gd name="connsiteY206" fmla="*/ 190395 h 1240971"/>
              <a:gd name="connsiteX207" fmla="*/ 5673692 w 5737264"/>
              <a:gd name="connsiteY207" fmla="*/ 153892 h 1240971"/>
              <a:gd name="connsiteX208" fmla="*/ 5726602 w 5737264"/>
              <a:gd name="connsiteY208" fmla="*/ 89362 h 1240971"/>
              <a:gd name="connsiteX209" fmla="*/ 5728722 w 5737264"/>
              <a:gd name="connsiteY209" fmla="*/ 42287 h 1240971"/>
              <a:gd name="connsiteX210" fmla="*/ 5634284 w 5737264"/>
              <a:gd name="connsiteY210" fmla="*/ 25357 h 1240971"/>
              <a:gd name="connsiteX211" fmla="*/ 5536940 w 5737264"/>
              <a:gd name="connsiteY211" fmla="*/ 27214 h 1240971"/>
              <a:gd name="connsiteX212" fmla="*/ 5470369 w 5737264"/>
              <a:gd name="connsiteY212" fmla="*/ 39381 h 1240971"/>
              <a:gd name="connsiteX213" fmla="*/ 5379124 w 5737264"/>
              <a:gd name="connsiteY213" fmla="*/ 39644 h 1240971"/>
              <a:gd name="connsiteX214" fmla="*/ 5309282 w 5737264"/>
              <a:gd name="connsiteY214" fmla="*/ 42287 h 1240971"/>
              <a:gd name="connsiteX215" fmla="*/ 5238682 w 5737264"/>
              <a:gd name="connsiteY215" fmla="*/ 54455 h 1240971"/>
              <a:gd name="connsiteX216" fmla="*/ 5108892 w 5737264"/>
              <a:gd name="connsiteY216" fmla="*/ 37524 h 1240971"/>
              <a:gd name="connsiteX217" fmla="*/ 5020026 w 5737264"/>
              <a:gd name="connsiteY217" fmla="*/ 39120 h 1240971"/>
              <a:gd name="connsiteX218" fmla="*/ 4946233 w 5737264"/>
              <a:gd name="connsiteY218" fmla="*/ 41240 h 1240971"/>
              <a:gd name="connsiteX219" fmla="*/ 4823272 w 5737264"/>
              <a:gd name="connsiteY219" fmla="*/ 50242 h 1240971"/>
              <a:gd name="connsiteX220" fmla="*/ 4727577 w 5737264"/>
              <a:gd name="connsiteY220" fmla="*/ 29073 h 1240971"/>
              <a:gd name="connsiteX221" fmla="*/ 4628376 w 5737264"/>
              <a:gd name="connsiteY221" fmla="*/ 41240 h 1240971"/>
              <a:gd name="connsiteX222" fmla="*/ 4565180 w 5737264"/>
              <a:gd name="connsiteY222" fmla="*/ 46264 h 1240971"/>
              <a:gd name="connsiteX223" fmla="*/ 4417596 w 5737264"/>
              <a:gd name="connsiteY223" fmla="*/ 44406 h 1240971"/>
              <a:gd name="connsiteX224" fmla="*/ 4139984 w 5737264"/>
              <a:gd name="connsiteY224" fmla="*/ 60290 h 1240971"/>
              <a:gd name="connsiteX225" fmla="*/ 3918920 w 5737264"/>
              <a:gd name="connsiteY225" fmla="*/ 50242 h 1240971"/>
              <a:gd name="connsiteX226" fmla="*/ 3873703 w 5737264"/>
              <a:gd name="connsiteY226" fmla="*/ 45217 h 1240971"/>
              <a:gd name="connsiteX227" fmla="*/ 3687808 w 5737264"/>
              <a:gd name="connsiteY227" fmla="*/ 40193 h 1240971"/>
              <a:gd name="connsiteX228" fmla="*/ 3662687 w 5737264"/>
              <a:gd name="connsiteY228" fmla="*/ 35169 h 1240971"/>
              <a:gd name="connsiteX229" fmla="*/ 3627518 w 5737264"/>
              <a:gd name="connsiteY229" fmla="*/ 25121 h 1240971"/>
              <a:gd name="connsiteX230" fmla="*/ 3547131 w 5737264"/>
              <a:gd name="connsiteY230" fmla="*/ 20097 h 1240971"/>
              <a:gd name="connsiteX231" fmla="*/ 3310995 w 5737264"/>
              <a:gd name="connsiteY231" fmla="*/ 25121 h 1240971"/>
              <a:gd name="connsiteX232" fmla="*/ 3265777 w 5737264"/>
              <a:gd name="connsiteY232" fmla="*/ 30145 h 1240971"/>
              <a:gd name="connsiteX233" fmla="*/ 3175342 w 5737264"/>
              <a:gd name="connsiteY233" fmla="*/ 35169 h 1240971"/>
              <a:gd name="connsiteX234" fmla="*/ 2582489 w 5737264"/>
              <a:gd name="connsiteY234" fmla="*/ 45217 h 1240971"/>
              <a:gd name="connsiteX235" fmla="*/ 2255918 w 5737264"/>
              <a:gd name="connsiteY235" fmla="*/ 40193 h 1240971"/>
              <a:gd name="connsiteX236" fmla="*/ 1974564 w 5737264"/>
              <a:gd name="connsiteY236" fmla="*/ 30145 h 1240971"/>
              <a:gd name="connsiteX237" fmla="*/ 1944419 w 5737264"/>
              <a:gd name="connsiteY237" fmla="*/ 25121 h 1240971"/>
              <a:gd name="connsiteX238" fmla="*/ 1848960 w 5737264"/>
              <a:gd name="connsiteY238" fmla="*/ 20097 h 1240971"/>
              <a:gd name="connsiteX239" fmla="*/ 1768573 w 5737264"/>
              <a:gd name="connsiteY239" fmla="*/ 10048 h 1240971"/>
              <a:gd name="connsiteX240" fmla="*/ 1502292 w 5737264"/>
              <a:gd name="connsiteY240" fmla="*/ 20097 h 1240971"/>
              <a:gd name="connsiteX241" fmla="*/ 1467122 w 5737264"/>
              <a:gd name="connsiteY241" fmla="*/ 25121 h 1240971"/>
              <a:gd name="connsiteX242" fmla="*/ 1426929 w 5737264"/>
              <a:gd name="connsiteY242" fmla="*/ 30145 h 1240971"/>
              <a:gd name="connsiteX243" fmla="*/ 1341518 w 5737264"/>
              <a:gd name="connsiteY243" fmla="*/ 45217 h 1240971"/>
              <a:gd name="connsiteX244" fmla="*/ 1095333 w 5737264"/>
              <a:gd name="connsiteY244" fmla="*/ 35169 h 1240971"/>
              <a:gd name="connsiteX245" fmla="*/ 979777 w 5737264"/>
              <a:gd name="connsiteY245" fmla="*/ 20097 h 1240971"/>
              <a:gd name="connsiteX246" fmla="*/ 939584 w 5737264"/>
              <a:gd name="connsiteY246" fmla="*/ 10048 h 1240971"/>
              <a:gd name="connsiteX247" fmla="*/ 813980 w 5737264"/>
              <a:gd name="connsiteY247" fmla="*/ 0 h 1240971"/>
              <a:gd name="connsiteX248" fmla="*/ 743641 w 5737264"/>
              <a:gd name="connsiteY248" fmla="*/ 5024 h 1240971"/>
              <a:gd name="connsiteX249" fmla="*/ 582867 w 5737264"/>
              <a:gd name="connsiteY249" fmla="*/ 15072 h 1240971"/>
              <a:gd name="connsiteX250" fmla="*/ 432142 w 5737264"/>
              <a:gd name="connsiteY250" fmla="*/ 5024 h 1240971"/>
              <a:gd name="connsiteX251" fmla="*/ 412046 w 5737264"/>
              <a:gd name="connsiteY251" fmla="*/ 0 h 1240971"/>
              <a:gd name="connsiteX252" fmla="*/ 281417 w 5737264"/>
              <a:gd name="connsiteY252" fmla="*/ 10048 h 1240971"/>
              <a:gd name="connsiteX253" fmla="*/ 261320 w 5737264"/>
              <a:gd name="connsiteY253" fmla="*/ 15072 h 1240971"/>
              <a:gd name="connsiteX254" fmla="*/ 100547 w 5737264"/>
              <a:gd name="connsiteY254" fmla="*/ 20097 h 1240971"/>
              <a:gd name="connsiteX255" fmla="*/ 5087 w 5737264"/>
              <a:gd name="connsiteY255"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0560 w 5737264"/>
              <a:gd name="connsiteY126" fmla="*/ 1215850 h 1240971"/>
              <a:gd name="connsiteX127" fmla="*/ 3229535 w 5737264"/>
              <a:gd name="connsiteY127" fmla="*/ 1178561 h 1240971"/>
              <a:gd name="connsiteX128" fmla="*/ 3281634 w 5737264"/>
              <a:gd name="connsiteY128" fmla="*/ 1153440 h 1240971"/>
              <a:gd name="connsiteX129" fmla="*/ 3310995 w 5737264"/>
              <a:gd name="connsiteY129" fmla="*/ 1145512 h 1240971"/>
              <a:gd name="connsiteX130" fmla="*/ 3351188 w 5737264"/>
              <a:gd name="connsiteY130" fmla="*/ 1140488 h 1240971"/>
              <a:gd name="connsiteX131" fmla="*/ 3406454 w 5737264"/>
              <a:gd name="connsiteY131" fmla="*/ 1155560 h 1240971"/>
              <a:gd name="connsiteX132" fmla="*/ 3426551 w 5737264"/>
              <a:gd name="connsiteY132" fmla="*/ 1165609 h 1240971"/>
              <a:gd name="connsiteX133" fmla="*/ 3441624 w 5737264"/>
              <a:gd name="connsiteY133" fmla="*/ 1175657 h 1240971"/>
              <a:gd name="connsiteX134" fmla="*/ 3456696 w 5737264"/>
              <a:gd name="connsiteY134" fmla="*/ 1180681 h 1240971"/>
              <a:gd name="connsiteX135" fmla="*/ 3466744 w 5737264"/>
              <a:gd name="connsiteY135" fmla="*/ 1195754 h 1240971"/>
              <a:gd name="connsiteX136" fmla="*/ 3527035 w 5737264"/>
              <a:gd name="connsiteY136" fmla="*/ 1200778 h 1240971"/>
              <a:gd name="connsiteX137" fmla="*/ 3542107 w 5737264"/>
              <a:gd name="connsiteY137" fmla="*/ 1190730 h 1240971"/>
              <a:gd name="connsiteX138" fmla="*/ 3567228 w 5737264"/>
              <a:gd name="connsiteY138" fmla="*/ 1180681 h 1240971"/>
              <a:gd name="connsiteX139" fmla="*/ 3587325 w 5737264"/>
              <a:gd name="connsiteY139" fmla="*/ 1150536 h 1240971"/>
              <a:gd name="connsiteX140" fmla="*/ 3617470 w 5737264"/>
              <a:gd name="connsiteY140" fmla="*/ 1125415 h 1240971"/>
              <a:gd name="connsiteX141" fmla="*/ 3632542 w 5737264"/>
              <a:gd name="connsiteY141" fmla="*/ 1105319 h 1240971"/>
              <a:gd name="connsiteX142" fmla="*/ 3662687 w 5737264"/>
              <a:gd name="connsiteY142" fmla="*/ 1085222 h 1240971"/>
              <a:gd name="connsiteX143" fmla="*/ 3697856 w 5737264"/>
              <a:gd name="connsiteY143" fmla="*/ 1070149 h 1240971"/>
              <a:gd name="connsiteX144" fmla="*/ 3707905 w 5737264"/>
              <a:gd name="connsiteY144" fmla="*/ 1060101 h 1240971"/>
              <a:gd name="connsiteX145" fmla="*/ 3743074 w 5737264"/>
              <a:gd name="connsiteY145" fmla="*/ 1047148 h 1240971"/>
              <a:gd name="connsiteX146" fmla="*/ 3799125 w 5737264"/>
              <a:gd name="connsiteY146" fmla="*/ 1043982 h 1240971"/>
              <a:gd name="connsiteX147" fmla="*/ 3859651 w 5737264"/>
              <a:gd name="connsiteY147" fmla="*/ 1072033 h 1240971"/>
              <a:gd name="connsiteX148" fmla="*/ 3902226 w 5737264"/>
              <a:gd name="connsiteY148" fmla="*/ 1101367 h 1240971"/>
              <a:gd name="connsiteX149" fmla="*/ 3958041 w 5737264"/>
              <a:gd name="connsiteY149" fmla="*/ 1142346 h 1240971"/>
              <a:gd name="connsiteX150" fmla="*/ 4019404 w 5737264"/>
              <a:gd name="connsiteY150" fmla="*/ 1165609 h 1240971"/>
              <a:gd name="connsiteX151" fmla="*/ 4064621 w 5737264"/>
              <a:gd name="connsiteY151" fmla="*/ 1150536 h 1240971"/>
              <a:gd name="connsiteX152" fmla="*/ 4079694 w 5737264"/>
              <a:gd name="connsiteY152" fmla="*/ 1125415 h 1240971"/>
              <a:gd name="connsiteX153" fmla="*/ 4099791 w 5737264"/>
              <a:gd name="connsiteY153" fmla="*/ 1105319 h 1240971"/>
              <a:gd name="connsiteX154" fmla="*/ 4129936 w 5737264"/>
              <a:gd name="connsiteY154" fmla="*/ 1075173 h 1240971"/>
              <a:gd name="connsiteX155" fmla="*/ 4150032 w 5737264"/>
              <a:gd name="connsiteY155" fmla="*/ 1040004 h 1240971"/>
              <a:gd name="connsiteX156" fmla="*/ 4160081 w 5737264"/>
              <a:gd name="connsiteY156" fmla="*/ 1019908 h 1240971"/>
              <a:gd name="connsiteX157" fmla="*/ 4165105 w 5737264"/>
              <a:gd name="connsiteY157" fmla="*/ 1004835 h 1240971"/>
              <a:gd name="connsiteX158" fmla="*/ 4185202 w 5737264"/>
              <a:gd name="connsiteY158" fmla="*/ 984738 h 1240971"/>
              <a:gd name="connsiteX159" fmla="*/ 4200274 w 5737264"/>
              <a:gd name="connsiteY159" fmla="*/ 979714 h 1240971"/>
              <a:gd name="connsiteX160" fmla="*/ 4235443 w 5737264"/>
              <a:gd name="connsiteY160" fmla="*/ 954593 h 1240971"/>
              <a:gd name="connsiteX161" fmla="*/ 4275637 w 5737264"/>
              <a:gd name="connsiteY161" fmla="*/ 934497 h 1240971"/>
              <a:gd name="connsiteX162" fmla="*/ 4310806 w 5737264"/>
              <a:gd name="connsiteY162" fmla="*/ 914400 h 1240971"/>
              <a:gd name="connsiteX163" fmla="*/ 4325878 w 5737264"/>
              <a:gd name="connsiteY163" fmla="*/ 904352 h 1240971"/>
              <a:gd name="connsiteX164" fmla="*/ 4362094 w 5737264"/>
              <a:gd name="connsiteY164" fmla="*/ 909114 h 1240971"/>
              <a:gd name="connsiteX165" fmla="*/ 4417099 w 5737264"/>
              <a:gd name="connsiteY165" fmla="*/ 946141 h 1240971"/>
              <a:gd name="connsiteX166" fmla="*/ 4462316 w 5737264"/>
              <a:gd name="connsiteY166" fmla="*/ 1006955 h 1240971"/>
              <a:gd name="connsiteX167" fmla="*/ 4531320 w 5737264"/>
              <a:gd name="connsiteY167" fmla="*/ 1037650 h 1240971"/>
              <a:gd name="connsiteX168" fmla="*/ 4597184 w 5737264"/>
              <a:gd name="connsiteY168" fmla="*/ 969666 h 1240971"/>
              <a:gd name="connsiteX169" fmla="*/ 4617281 w 5737264"/>
              <a:gd name="connsiteY169" fmla="*/ 959617 h 1240971"/>
              <a:gd name="connsiteX170" fmla="*/ 4632353 w 5737264"/>
              <a:gd name="connsiteY170" fmla="*/ 944545 h 1240971"/>
              <a:gd name="connsiteX171" fmla="*/ 4652450 w 5737264"/>
              <a:gd name="connsiteY171" fmla="*/ 934497 h 1240971"/>
              <a:gd name="connsiteX172" fmla="*/ 4672547 w 5737264"/>
              <a:gd name="connsiteY172" fmla="*/ 919424 h 1240971"/>
              <a:gd name="connsiteX173" fmla="*/ 4737861 w 5737264"/>
              <a:gd name="connsiteY173" fmla="*/ 884255 h 1240971"/>
              <a:gd name="connsiteX174" fmla="*/ 4762982 w 5737264"/>
              <a:gd name="connsiteY174" fmla="*/ 879231 h 1240971"/>
              <a:gd name="connsiteX175" fmla="*/ 4778054 w 5737264"/>
              <a:gd name="connsiteY175" fmla="*/ 874206 h 1240971"/>
              <a:gd name="connsiteX176" fmla="*/ 4819294 w 5737264"/>
              <a:gd name="connsiteY176" fmla="*/ 873944 h 1240971"/>
              <a:gd name="connsiteX177" fmla="*/ 4877465 w 5737264"/>
              <a:gd name="connsiteY177" fmla="*/ 895638 h 1240971"/>
              <a:gd name="connsiteX178" fmla="*/ 4935347 w 5737264"/>
              <a:gd name="connsiteY178" fmla="*/ 934523 h 1240971"/>
              <a:gd name="connsiteX179" fmla="*/ 4995402 w 5737264"/>
              <a:gd name="connsiteY179" fmla="*/ 1006746 h 1240971"/>
              <a:gd name="connsiteX180" fmla="*/ 5024762 w 5737264"/>
              <a:gd name="connsiteY180" fmla="*/ 1051963 h 1240971"/>
              <a:gd name="connsiteX181" fmla="*/ 5092223 w 5737264"/>
              <a:gd name="connsiteY181" fmla="*/ 1016506 h 1240971"/>
              <a:gd name="connsiteX182" fmla="*/ 5144322 w 5737264"/>
              <a:gd name="connsiteY182" fmla="*/ 948261 h 1240971"/>
              <a:gd name="connsiteX183" fmla="*/ 5189252 w 5737264"/>
              <a:gd name="connsiteY183" fmla="*/ 886112 h 1240971"/>
              <a:gd name="connsiteX184" fmla="*/ 5226279 w 5737264"/>
              <a:gd name="connsiteY184" fmla="*/ 856230 h 1240971"/>
              <a:gd name="connsiteX185" fmla="*/ 5260637 w 5737264"/>
              <a:gd name="connsiteY185" fmla="*/ 822918 h 1240971"/>
              <a:gd name="connsiteX186" fmla="*/ 5295282 w 5737264"/>
              <a:gd name="connsiteY186" fmla="*/ 800440 h 1240971"/>
              <a:gd name="connsiteX187" fmla="*/ 5334430 w 5737264"/>
              <a:gd name="connsiteY187" fmla="*/ 794893 h 1240971"/>
              <a:gd name="connsiteX188" fmla="*/ 5412174 w 5737264"/>
              <a:gd name="connsiteY188" fmla="*/ 824252 h 1240971"/>
              <a:gd name="connsiteX189" fmla="*/ 5431197 w 5737264"/>
              <a:gd name="connsiteY189" fmla="*/ 768699 h 1240971"/>
              <a:gd name="connsiteX190" fmla="*/ 5441246 w 5737264"/>
              <a:gd name="connsiteY190" fmla="*/ 753626 h 1240971"/>
              <a:gd name="connsiteX191" fmla="*/ 5456318 w 5737264"/>
              <a:gd name="connsiteY191" fmla="*/ 708409 h 1240971"/>
              <a:gd name="connsiteX192" fmla="*/ 5466366 w 5737264"/>
              <a:gd name="connsiteY192" fmla="*/ 683288 h 1240971"/>
              <a:gd name="connsiteX193" fmla="*/ 5476415 w 5737264"/>
              <a:gd name="connsiteY193" fmla="*/ 643094 h 1240971"/>
              <a:gd name="connsiteX194" fmla="*/ 5491487 w 5737264"/>
              <a:gd name="connsiteY194" fmla="*/ 617973 h 1240971"/>
              <a:gd name="connsiteX195" fmla="*/ 5506560 w 5737264"/>
              <a:gd name="connsiteY195" fmla="*/ 572756 h 1240971"/>
              <a:gd name="connsiteX196" fmla="*/ 5526656 w 5737264"/>
              <a:gd name="connsiteY196" fmla="*/ 522514 h 1240971"/>
              <a:gd name="connsiteX197" fmla="*/ 5546753 w 5737264"/>
              <a:gd name="connsiteY197" fmla="*/ 467248 h 1240971"/>
              <a:gd name="connsiteX198" fmla="*/ 5556802 w 5737264"/>
              <a:gd name="connsiteY198" fmla="*/ 411982 h 1240971"/>
              <a:gd name="connsiteX199" fmla="*/ 5566850 w 5737264"/>
              <a:gd name="connsiteY199" fmla="*/ 381837 h 1240971"/>
              <a:gd name="connsiteX200" fmla="*/ 5576898 w 5737264"/>
              <a:gd name="connsiteY200" fmla="*/ 356716 h 1240971"/>
              <a:gd name="connsiteX201" fmla="*/ 5596995 w 5737264"/>
              <a:gd name="connsiteY201" fmla="*/ 316523 h 1240971"/>
              <a:gd name="connsiteX202" fmla="*/ 5617092 w 5737264"/>
              <a:gd name="connsiteY202" fmla="*/ 246184 h 1240971"/>
              <a:gd name="connsiteX203" fmla="*/ 5622116 w 5737264"/>
              <a:gd name="connsiteY203" fmla="*/ 226088 h 1240971"/>
              <a:gd name="connsiteX204" fmla="*/ 5632164 w 5737264"/>
              <a:gd name="connsiteY204" fmla="*/ 216039 h 1240971"/>
              <a:gd name="connsiteX205" fmla="*/ 5637188 w 5737264"/>
              <a:gd name="connsiteY205" fmla="*/ 200967 h 1240971"/>
              <a:gd name="connsiteX206" fmla="*/ 5651738 w 5737264"/>
              <a:gd name="connsiteY206" fmla="*/ 190395 h 1240971"/>
              <a:gd name="connsiteX207" fmla="*/ 5673692 w 5737264"/>
              <a:gd name="connsiteY207" fmla="*/ 153892 h 1240971"/>
              <a:gd name="connsiteX208" fmla="*/ 5726602 w 5737264"/>
              <a:gd name="connsiteY208" fmla="*/ 89362 h 1240971"/>
              <a:gd name="connsiteX209" fmla="*/ 5728722 w 5737264"/>
              <a:gd name="connsiteY209" fmla="*/ 42287 h 1240971"/>
              <a:gd name="connsiteX210" fmla="*/ 5634284 w 5737264"/>
              <a:gd name="connsiteY210" fmla="*/ 25357 h 1240971"/>
              <a:gd name="connsiteX211" fmla="*/ 5536940 w 5737264"/>
              <a:gd name="connsiteY211" fmla="*/ 27214 h 1240971"/>
              <a:gd name="connsiteX212" fmla="*/ 5470369 w 5737264"/>
              <a:gd name="connsiteY212" fmla="*/ 39381 h 1240971"/>
              <a:gd name="connsiteX213" fmla="*/ 5379124 w 5737264"/>
              <a:gd name="connsiteY213" fmla="*/ 39644 h 1240971"/>
              <a:gd name="connsiteX214" fmla="*/ 5309282 w 5737264"/>
              <a:gd name="connsiteY214" fmla="*/ 42287 h 1240971"/>
              <a:gd name="connsiteX215" fmla="*/ 5238682 w 5737264"/>
              <a:gd name="connsiteY215" fmla="*/ 54455 h 1240971"/>
              <a:gd name="connsiteX216" fmla="*/ 5108892 w 5737264"/>
              <a:gd name="connsiteY216" fmla="*/ 37524 h 1240971"/>
              <a:gd name="connsiteX217" fmla="*/ 5020026 w 5737264"/>
              <a:gd name="connsiteY217" fmla="*/ 39120 h 1240971"/>
              <a:gd name="connsiteX218" fmla="*/ 4946233 w 5737264"/>
              <a:gd name="connsiteY218" fmla="*/ 41240 h 1240971"/>
              <a:gd name="connsiteX219" fmla="*/ 4823272 w 5737264"/>
              <a:gd name="connsiteY219" fmla="*/ 50242 h 1240971"/>
              <a:gd name="connsiteX220" fmla="*/ 4727577 w 5737264"/>
              <a:gd name="connsiteY220" fmla="*/ 29073 h 1240971"/>
              <a:gd name="connsiteX221" fmla="*/ 4628376 w 5737264"/>
              <a:gd name="connsiteY221" fmla="*/ 41240 h 1240971"/>
              <a:gd name="connsiteX222" fmla="*/ 4565180 w 5737264"/>
              <a:gd name="connsiteY222" fmla="*/ 46264 h 1240971"/>
              <a:gd name="connsiteX223" fmla="*/ 4417596 w 5737264"/>
              <a:gd name="connsiteY223" fmla="*/ 44406 h 1240971"/>
              <a:gd name="connsiteX224" fmla="*/ 4139984 w 5737264"/>
              <a:gd name="connsiteY224" fmla="*/ 60290 h 1240971"/>
              <a:gd name="connsiteX225" fmla="*/ 3918920 w 5737264"/>
              <a:gd name="connsiteY225" fmla="*/ 50242 h 1240971"/>
              <a:gd name="connsiteX226" fmla="*/ 3873703 w 5737264"/>
              <a:gd name="connsiteY226" fmla="*/ 45217 h 1240971"/>
              <a:gd name="connsiteX227" fmla="*/ 3687808 w 5737264"/>
              <a:gd name="connsiteY227" fmla="*/ 40193 h 1240971"/>
              <a:gd name="connsiteX228" fmla="*/ 3662687 w 5737264"/>
              <a:gd name="connsiteY228" fmla="*/ 35169 h 1240971"/>
              <a:gd name="connsiteX229" fmla="*/ 3627518 w 5737264"/>
              <a:gd name="connsiteY229" fmla="*/ 25121 h 1240971"/>
              <a:gd name="connsiteX230" fmla="*/ 3547131 w 5737264"/>
              <a:gd name="connsiteY230" fmla="*/ 20097 h 1240971"/>
              <a:gd name="connsiteX231" fmla="*/ 3310995 w 5737264"/>
              <a:gd name="connsiteY231" fmla="*/ 25121 h 1240971"/>
              <a:gd name="connsiteX232" fmla="*/ 3265777 w 5737264"/>
              <a:gd name="connsiteY232" fmla="*/ 30145 h 1240971"/>
              <a:gd name="connsiteX233" fmla="*/ 3175342 w 5737264"/>
              <a:gd name="connsiteY233" fmla="*/ 35169 h 1240971"/>
              <a:gd name="connsiteX234" fmla="*/ 2582489 w 5737264"/>
              <a:gd name="connsiteY234" fmla="*/ 45217 h 1240971"/>
              <a:gd name="connsiteX235" fmla="*/ 2255918 w 5737264"/>
              <a:gd name="connsiteY235" fmla="*/ 40193 h 1240971"/>
              <a:gd name="connsiteX236" fmla="*/ 1974564 w 5737264"/>
              <a:gd name="connsiteY236" fmla="*/ 30145 h 1240971"/>
              <a:gd name="connsiteX237" fmla="*/ 1944419 w 5737264"/>
              <a:gd name="connsiteY237" fmla="*/ 25121 h 1240971"/>
              <a:gd name="connsiteX238" fmla="*/ 1848960 w 5737264"/>
              <a:gd name="connsiteY238" fmla="*/ 20097 h 1240971"/>
              <a:gd name="connsiteX239" fmla="*/ 1768573 w 5737264"/>
              <a:gd name="connsiteY239" fmla="*/ 10048 h 1240971"/>
              <a:gd name="connsiteX240" fmla="*/ 1502292 w 5737264"/>
              <a:gd name="connsiteY240" fmla="*/ 20097 h 1240971"/>
              <a:gd name="connsiteX241" fmla="*/ 1467122 w 5737264"/>
              <a:gd name="connsiteY241" fmla="*/ 25121 h 1240971"/>
              <a:gd name="connsiteX242" fmla="*/ 1426929 w 5737264"/>
              <a:gd name="connsiteY242" fmla="*/ 30145 h 1240971"/>
              <a:gd name="connsiteX243" fmla="*/ 1341518 w 5737264"/>
              <a:gd name="connsiteY243" fmla="*/ 45217 h 1240971"/>
              <a:gd name="connsiteX244" fmla="*/ 1095333 w 5737264"/>
              <a:gd name="connsiteY244" fmla="*/ 35169 h 1240971"/>
              <a:gd name="connsiteX245" fmla="*/ 979777 w 5737264"/>
              <a:gd name="connsiteY245" fmla="*/ 20097 h 1240971"/>
              <a:gd name="connsiteX246" fmla="*/ 939584 w 5737264"/>
              <a:gd name="connsiteY246" fmla="*/ 10048 h 1240971"/>
              <a:gd name="connsiteX247" fmla="*/ 813980 w 5737264"/>
              <a:gd name="connsiteY247" fmla="*/ 0 h 1240971"/>
              <a:gd name="connsiteX248" fmla="*/ 743641 w 5737264"/>
              <a:gd name="connsiteY248" fmla="*/ 5024 h 1240971"/>
              <a:gd name="connsiteX249" fmla="*/ 582867 w 5737264"/>
              <a:gd name="connsiteY249" fmla="*/ 15072 h 1240971"/>
              <a:gd name="connsiteX250" fmla="*/ 432142 w 5737264"/>
              <a:gd name="connsiteY250" fmla="*/ 5024 h 1240971"/>
              <a:gd name="connsiteX251" fmla="*/ 412046 w 5737264"/>
              <a:gd name="connsiteY251" fmla="*/ 0 h 1240971"/>
              <a:gd name="connsiteX252" fmla="*/ 281417 w 5737264"/>
              <a:gd name="connsiteY252" fmla="*/ 10048 h 1240971"/>
              <a:gd name="connsiteX253" fmla="*/ 261320 w 5737264"/>
              <a:gd name="connsiteY253" fmla="*/ 15072 h 1240971"/>
              <a:gd name="connsiteX254" fmla="*/ 100547 w 5737264"/>
              <a:gd name="connsiteY254" fmla="*/ 20097 h 1240971"/>
              <a:gd name="connsiteX255" fmla="*/ 5087 w 5737264"/>
              <a:gd name="connsiteY255"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80366 w 5737264"/>
              <a:gd name="connsiteY124" fmla="*/ 1235947 h 1240971"/>
              <a:gd name="connsiteX125" fmla="*/ 3195439 w 5737264"/>
              <a:gd name="connsiteY125" fmla="*/ 1225899 h 1240971"/>
              <a:gd name="connsiteX126" fmla="*/ 3229535 w 5737264"/>
              <a:gd name="connsiteY126" fmla="*/ 1178561 h 1240971"/>
              <a:gd name="connsiteX127" fmla="*/ 3281634 w 5737264"/>
              <a:gd name="connsiteY127" fmla="*/ 1153440 h 1240971"/>
              <a:gd name="connsiteX128" fmla="*/ 3310995 w 5737264"/>
              <a:gd name="connsiteY128" fmla="*/ 1145512 h 1240971"/>
              <a:gd name="connsiteX129" fmla="*/ 3351188 w 5737264"/>
              <a:gd name="connsiteY129" fmla="*/ 1140488 h 1240971"/>
              <a:gd name="connsiteX130" fmla="*/ 3406454 w 5737264"/>
              <a:gd name="connsiteY130" fmla="*/ 1155560 h 1240971"/>
              <a:gd name="connsiteX131" fmla="*/ 3426551 w 5737264"/>
              <a:gd name="connsiteY131" fmla="*/ 1165609 h 1240971"/>
              <a:gd name="connsiteX132" fmla="*/ 3441624 w 5737264"/>
              <a:gd name="connsiteY132" fmla="*/ 1175657 h 1240971"/>
              <a:gd name="connsiteX133" fmla="*/ 3456696 w 5737264"/>
              <a:gd name="connsiteY133" fmla="*/ 1180681 h 1240971"/>
              <a:gd name="connsiteX134" fmla="*/ 3466744 w 5737264"/>
              <a:gd name="connsiteY134" fmla="*/ 1195754 h 1240971"/>
              <a:gd name="connsiteX135" fmla="*/ 3527035 w 5737264"/>
              <a:gd name="connsiteY135" fmla="*/ 1200778 h 1240971"/>
              <a:gd name="connsiteX136" fmla="*/ 3542107 w 5737264"/>
              <a:gd name="connsiteY136" fmla="*/ 1190730 h 1240971"/>
              <a:gd name="connsiteX137" fmla="*/ 3567228 w 5737264"/>
              <a:gd name="connsiteY137" fmla="*/ 1180681 h 1240971"/>
              <a:gd name="connsiteX138" fmla="*/ 3587325 w 5737264"/>
              <a:gd name="connsiteY138" fmla="*/ 1150536 h 1240971"/>
              <a:gd name="connsiteX139" fmla="*/ 3617470 w 5737264"/>
              <a:gd name="connsiteY139" fmla="*/ 1125415 h 1240971"/>
              <a:gd name="connsiteX140" fmla="*/ 3632542 w 5737264"/>
              <a:gd name="connsiteY140" fmla="*/ 1105319 h 1240971"/>
              <a:gd name="connsiteX141" fmla="*/ 3662687 w 5737264"/>
              <a:gd name="connsiteY141" fmla="*/ 1085222 h 1240971"/>
              <a:gd name="connsiteX142" fmla="*/ 3697856 w 5737264"/>
              <a:gd name="connsiteY142" fmla="*/ 1070149 h 1240971"/>
              <a:gd name="connsiteX143" fmla="*/ 3707905 w 5737264"/>
              <a:gd name="connsiteY143" fmla="*/ 1060101 h 1240971"/>
              <a:gd name="connsiteX144" fmla="*/ 3743074 w 5737264"/>
              <a:gd name="connsiteY144" fmla="*/ 1047148 h 1240971"/>
              <a:gd name="connsiteX145" fmla="*/ 3799125 w 5737264"/>
              <a:gd name="connsiteY145" fmla="*/ 1043982 h 1240971"/>
              <a:gd name="connsiteX146" fmla="*/ 3859651 w 5737264"/>
              <a:gd name="connsiteY146" fmla="*/ 1072033 h 1240971"/>
              <a:gd name="connsiteX147" fmla="*/ 3902226 w 5737264"/>
              <a:gd name="connsiteY147" fmla="*/ 1101367 h 1240971"/>
              <a:gd name="connsiteX148" fmla="*/ 3958041 w 5737264"/>
              <a:gd name="connsiteY148" fmla="*/ 1142346 h 1240971"/>
              <a:gd name="connsiteX149" fmla="*/ 4019404 w 5737264"/>
              <a:gd name="connsiteY149" fmla="*/ 1165609 h 1240971"/>
              <a:gd name="connsiteX150" fmla="*/ 4064621 w 5737264"/>
              <a:gd name="connsiteY150" fmla="*/ 1150536 h 1240971"/>
              <a:gd name="connsiteX151" fmla="*/ 4079694 w 5737264"/>
              <a:gd name="connsiteY151" fmla="*/ 1125415 h 1240971"/>
              <a:gd name="connsiteX152" fmla="*/ 4099791 w 5737264"/>
              <a:gd name="connsiteY152" fmla="*/ 1105319 h 1240971"/>
              <a:gd name="connsiteX153" fmla="*/ 4129936 w 5737264"/>
              <a:gd name="connsiteY153" fmla="*/ 1075173 h 1240971"/>
              <a:gd name="connsiteX154" fmla="*/ 4150032 w 5737264"/>
              <a:gd name="connsiteY154" fmla="*/ 1040004 h 1240971"/>
              <a:gd name="connsiteX155" fmla="*/ 4160081 w 5737264"/>
              <a:gd name="connsiteY155" fmla="*/ 1019908 h 1240971"/>
              <a:gd name="connsiteX156" fmla="*/ 4165105 w 5737264"/>
              <a:gd name="connsiteY156" fmla="*/ 1004835 h 1240971"/>
              <a:gd name="connsiteX157" fmla="*/ 4185202 w 5737264"/>
              <a:gd name="connsiteY157" fmla="*/ 984738 h 1240971"/>
              <a:gd name="connsiteX158" fmla="*/ 4200274 w 5737264"/>
              <a:gd name="connsiteY158" fmla="*/ 979714 h 1240971"/>
              <a:gd name="connsiteX159" fmla="*/ 4235443 w 5737264"/>
              <a:gd name="connsiteY159" fmla="*/ 954593 h 1240971"/>
              <a:gd name="connsiteX160" fmla="*/ 4275637 w 5737264"/>
              <a:gd name="connsiteY160" fmla="*/ 934497 h 1240971"/>
              <a:gd name="connsiteX161" fmla="*/ 4310806 w 5737264"/>
              <a:gd name="connsiteY161" fmla="*/ 914400 h 1240971"/>
              <a:gd name="connsiteX162" fmla="*/ 4325878 w 5737264"/>
              <a:gd name="connsiteY162" fmla="*/ 904352 h 1240971"/>
              <a:gd name="connsiteX163" fmla="*/ 4362094 w 5737264"/>
              <a:gd name="connsiteY163" fmla="*/ 909114 h 1240971"/>
              <a:gd name="connsiteX164" fmla="*/ 4417099 w 5737264"/>
              <a:gd name="connsiteY164" fmla="*/ 946141 h 1240971"/>
              <a:gd name="connsiteX165" fmla="*/ 4462316 w 5737264"/>
              <a:gd name="connsiteY165" fmla="*/ 1006955 h 1240971"/>
              <a:gd name="connsiteX166" fmla="*/ 4531320 w 5737264"/>
              <a:gd name="connsiteY166" fmla="*/ 1037650 h 1240971"/>
              <a:gd name="connsiteX167" fmla="*/ 4597184 w 5737264"/>
              <a:gd name="connsiteY167" fmla="*/ 969666 h 1240971"/>
              <a:gd name="connsiteX168" fmla="*/ 4617281 w 5737264"/>
              <a:gd name="connsiteY168" fmla="*/ 959617 h 1240971"/>
              <a:gd name="connsiteX169" fmla="*/ 4632353 w 5737264"/>
              <a:gd name="connsiteY169" fmla="*/ 944545 h 1240971"/>
              <a:gd name="connsiteX170" fmla="*/ 4652450 w 5737264"/>
              <a:gd name="connsiteY170" fmla="*/ 934497 h 1240971"/>
              <a:gd name="connsiteX171" fmla="*/ 4672547 w 5737264"/>
              <a:gd name="connsiteY171" fmla="*/ 919424 h 1240971"/>
              <a:gd name="connsiteX172" fmla="*/ 4737861 w 5737264"/>
              <a:gd name="connsiteY172" fmla="*/ 884255 h 1240971"/>
              <a:gd name="connsiteX173" fmla="*/ 4762982 w 5737264"/>
              <a:gd name="connsiteY173" fmla="*/ 879231 h 1240971"/>
              <a:gd name="connsiteX174" fmla="*/ 4778054 w 5737264"/>
              <a:gd name="connsiteY174" fmla="*/ 874206 h 1240971"/>
              <a:gd name="connsiteX175" fmla="*/ 4819294 w 5737264"/>
              <a:gd name="connsiteY175" fmla="*/ 873944 h 1240971"/>
              <a:gd name="connsiteX176" fmla="*/ 4877465 w 5737264"/>
              <a:gd name="connsiteY176" fmla="*/ 895638 h 1240971"/>
              <a:gd name="connsiteX177" fmla="*/ 4935347 w 5737264"/>
              <a:gd name="connsiteY177" fmla="*/ 934523 h 1240971"/>
              <a:gd name="connsiteX178" fmla="*/ 4995402 w 5737264"/>
              <a:gd name="connsiteY178" fmla="*/ 1006746 h 1240971"/>
              <a:gd name="connsiteX179" fmla="*/ 5024762 w 5737264"/>
              <a:gd name="connsiteY179" fmla="*/ 1051963 h 1240971"/>
              <a:gd name="connsiteX180" fmla="*/ 5092223 w 5737264"/>
              <a:gd name="connsiteY180" fmla="*/ 1016506 h 1240971"/>
              <a:gd name="connsiteX181" fmla="*/ 5144322 w 5737264"/>
              <a:gd name="connsiteY181" fmla="*/ 948261 h 1240971"/>
              <a:gd name="connsiteX182" fmla="*/ 5189252 w 5737264"/>
              <a:gd name="connsiteY182" fmla="*/ 886112 h 1240971"/>
              <a:gd name="connsiteX183" fmla="*/ 5226279 w 5737264"/>
              <a:gd name="connsiteY183" fmla="*/ 856230 h 1240971"/>
              <a:gd name="connsiteX184" fmla="*/ 5260637 w 5737264"/>
              <a:gd name="connsiteY184" fmla="*/ 822918 h 1240971"/>
              <a:gd name="connsiteX185" fmla="*/ 5295282 w 5737264"/>
              <a:gd name="connsiteY185" fmla="*/ 800440 h 1240971"/>
              <a:gd name="connsiteX186" fmla="*/ 5334430 w 5737264"/>
              <a:gd name="connsiteY186" fmla="*/ 794893 h 1240971"/>
              <a:gd name="connsiteX187" fmla="*/ 5412174 w 5737264"/>
              <a:gd name="connsiteY187" fmla="*/ 824252 h 1240971"/>
              <a:gd name="connsiteX188" fmla="*/ 5431197 w 5737264"/>
              <a:gd name="connsiteY188" fmla="*/ 768699 h 1240971"/>
              <a:gd name="connsiteX189" fmla="*/ 5441246 w 5737264"/>
              <a:gd name="connsiteY189" fmla="*/ 753626 h 1240971"/>
              <a:gd name="connsiteX190" fmla="*/ 5456318 w 5737264"/>
              <a:gd name="connsiteY190" fmla="*/ 708409 h 1240971"/>
              <a:gd name="connsiteX191" fmla="*/ 5466366 w 5737264"/>
              <a:gd name="connsiteY191" fmla="*/ 683288 h 1240971"/>
              <a:gd name="connsiteX192" fmla="*/ 5476415 w 5737264"/>
              <a:gd name="connsiteY192" fmla="*/ 643094 h 1240971"/>
              <a:gd name="connsiteX193" fmla="*/ 5491487 w 5737264"/>
              <a:gd name="connsiteY193" fmla="*/ 617973 h 1240971"/>
              <a:gd name="connsiteX194" fmla="*/ 5506560 w 5737264"/>
              <a:gd name="connsiteY194" fmla="*/ 572756 h 1240971"/>
              <a:gd name="connsiteX195" fmla="*/ 5526656 w 5737264"/>
              <a:gd name="connsiteY195" fmla="*/ 522514 h 1240971"/>
              <a:gd name="connsiteX196" fmla="*/ 5546753 w 5737264"/>
              <a:gd name="connsiteY196" fmla="*/ 467248 h 1240971"/>
              <a:gd name="connsiteX197" fmla="*/ 5556802 w 5737264"/>
              <a:gd name="connsiteY197" fmla="*/ 411982 h 1240971"/>
              <a:gd name="connsiteX198" fmla="*/ 5566850 w 5737264"/>
              <a:gd name="connsiteY198" fmla="*/ 381837 h 1240971"/>
              <a:gd name="connsiteX199" fmla="*/ 5576898 w 5737264"/>
              <a:gd name="connsiteY199" fmla="*/ 356716 h 1240971"/>
              <a:gd name="connsiteX200" fmla="*/ 5596995 w 5737264"/>
              <a:gd name="connsiteY200" fmla="*/ 316523 h 1240971"/>
              <a:gd name="connsiteX201" fmla="*/ 5617092 w 5737264"/>
              <a:gd name="connsiteY201" fmla="*/ 246184 h 1240971"/>
              <a:gd name="connsiteX202" fmla="*/ 5622116 w 5737264"/>
              <a:gd name="connsiteY202" fmla="*/ 226088 h 1240971"/>
              <a:gd name="connsiteX203" fmla="*/ 5632164 w 5737264"/>
              <a:gd name="connsiteY203" fmla="*/ 216039 h 1240971"/>
              <a:gd name="connsiteX204" fmla="*/ 5637188 w 5737264"/>
              <a:gd name="connsiteY204" fmla="*/ 200967 h 1240971"/>
              <a:gd name="connsiteX205" fmla="*/ 5651738 w 5737264"/>
              <a:gd name="connsiteY205" fmla="*/ 190395 h 1240971"/>
              <a:gd name="connsiteX206" fmla="*/ 5673692 w 5737264"/>
              <a:gd name="connsiteY206" fmla="*/ 153892 h 1240971"/>
              <a:gd name="connsiteX207" fmla="*/ 5726602 w 5737264"/>
              <a:gd name="connsiteY207" fmla="*/ 89362 h 1240971"/>
              <a:gd name="connsiteX208" fmla="*/ 5728722 w 5737264"/>
              <a:gd name="connsiteY208" fmla="*/ 42287 h 1240971"/>
              <a:gd name="connsiteX209" fmla="*/ 5634284 w 5737264"/>
              <a:gd name="connsiteY209" fmla="*/ 25357 h 1240971"/>
              <a:gd name="connsiteX210" fmla="*/ 5536940 w 5737264"/>
              <a:gd name="connsiteY210" fmla="*/ 27214 h 1240971"/>
              <a:gd name="connsiteX211" fmla="*/ 5470369 w 5737264"/>
              <a:gd name="connsiteY211" fmla="*/ 39381 h 1240971"/>
              <a:gd name="connsiteX212" fmla="*/ 5379124 w 5737264"/>
              <a:gd name="connsiteY212" fmla="*/ 39644 h 1240971"/>
              <a:gd name="connsiteX213" fmla="*/ 5309282 w 5737264"/>
              <a:gd name="connsiteY213" fmla="*/ 42287 h 1240971"/>
              <a:gd name="connsiteX214" fmla="*/ 5238682 w 5737264"/>
              <a:gd name="connsiteY214" fmla="*/ 54455 h 1240971"/>
              <a:gd name="connsiteX215" fmla="*/ 5108892 w 5737264"/>
              <a:gd name="connsiteY215" fmla="*/ 37524 h 1240971"/>
              <a:gd name="connsiteX216" fmla="*/ 5020026 w 5737264"/>
              <a:gd name="connsiteY216" fmla="*/ 39120 h 1240971"/>
              <a:gd name="connsiteX217" fmla="*/ 4946233 w 5737264"/>
              <a:gd name="connsiteY217" fmla="*/ 41240 h 1240971"/>
              <a:gd name="connsiteX218" fmla="*/ 4823272 w 5737264"/>
              <a:gd name="connsiteY218" fmla="*/ 50242 h 1240971"/>
              <a:gd name="connsiteX219" fmla="*/ 4727577 w 5737264"/>
              <a:gd name="connsiteY219" fmla="*/ 29073 h 1240971"/>
              <a:gd name="connsiteX220" fmla="*/ 4628376 w 5737264"/>
              <a:gd name="connsiteY220" fmla="*/ 41240 h 1240971"/>
              <a:gd name="connsiteX221" fmla="*/ 4565180 w 5737264"/>
              <a:gd name="connsiteY221" fmla="*/ 46264 h 1240971"/>
              <a:gd name="connsiteX222" fmla="*/ 4417596 w 5737264"/>
              <a:gd name="connsiteY222" fmla="*/ 44406 h 1240971"/>
              <a:gd name="connsiteX223" fmla="*/ 4139984 w 5737264"/>
              <a:gd name="connsiteY223" fmla="*/ 60290 h 1240971"/>
              <a:gd name="connsiteX224" fmla="*/ 3918920 w 5737264"/>
              <a:gd name="connsiteY224" fmla="*/ 50242 h 1240971"/>
              <a:gd name="connsiteX225" fmla="*/ 3873703 w 5737264"/>
              <a:gd name="connsiteY225" fmla="*/ 45217 h 1240971"/>
              <a:gd name="connsiteX226" fmla="*/ 3687808 w 5737264"/>
              <a:gd name="connsiteY226" fmla="*/ 40193 h 1240971"/>
              <a:gd name="connsiteX227" fmla="*/ 3662687 w 5737264"/>
              <a:gd name="connsiteY227" fmla="*/ 35169 h 1240971"/>
              <a:gd name="connsiteX228" fmla="*/ 3627518 w 5737264"/>
              <a:gd name="connsiteY228" fmla="*/ 25121 h 1240971"/>
              <a:gd name="connsiteX229" fmla="*/ 3547131 w 5737264"/>
              <a:gd name="connsiteY229" fmla="*/ 20097 h 1240971"/>
              <a:gd name="connsiteX230" fmla="*/ 3310995 w 5737264"/>
              <a:gd name="connsiteY230" fmla="*/ 25121 h 1240971"/>
              <a:gd name="connsiteX231" fmla="*/ 3265777 w 5737264"/>
              <a:gd name="connsiteY231" fmla="*/ 30145 h 1240971"/>
              <a:gd name="connsiteX232" fmla="*/ 3175342 w 5737264"/>
              <a:gd name="connsiteY232" fmla="*/ 35169 h 1240971"/>
              <a:gd name="connsiteX233" fmla="*/ 2582489 w 5737264"/>
              <a:gd name="connsiteY233" fmla="*/ 45217 h 1240971"/>
              <a:gd name="connsiteX234" fmla="*/ 2255918 w 5737264"/>
              <a:gd name="connsiteY234" fmla="*/ 40193 h 1240971"/>
              <a:gd name="connsiteX235" fmla="*/ 1974564 w 5737264"/>
              <a:gd name="connsiteY235" fmla="*/ 30145 h 1240971"/>
              <a:gd name="connsiteX236" fmla="*/ 1944419 w 5737264"/>
              <a:gd name="connsiteY236" fmla="*/ 25121 h 1240971"/>
              <a:gd name="connsiteX237" fmla="*/ 1848960 w 5737264"/>
              <a:gd name="connsiteY237" fmla="*/ 20097 h 1240971"/>
              <a:gd name="connsiteX238" fmla="*/ 1768573 w 5737264"/>
              <a:gd name="connsiteY238" fmla="*/ 10048 h 1240971"/>
              <a:gd name="connsiteX239" fmla="*/ 1502292 w 5737264"/>
              <a:gd name="connsiteY239" fmla="*/ 20097 h 1240971"/>
              <a:gd name="connsiteX240" fmla="*/ 1467122 w 5737264"/>
              <a:gd name="connsiteY240" fmla="*/ 25121 h 1240971"/>
              <a:gd name="connsiteX241" fmla="*/ 1426929 w 5737264"/>
              <a:gd name="connsiteY241" fmla="*/ 30145 h 1240971"/>
              <a:gd name="connsiteX242" fmla="*/ 1341518 w 5737264"/>
              <a:gd name="connsiteY242" fmla="*/ 45217 h 1240971"/>
              <a:gd name="connsiteX243" fmla="*/ 1095333 w 5737264"/>
              <a:gd name="connsiteY243" fmla="*/ 35169 h 1240971"/>
              <a:gd name="connsiteX244" fmla="*/ 979777 w 5737264"/>
              <a:gd name="connsiteY244" fmla="*/ 20097 h 1240971"/>
              <a:gd name="connsiteX245" fmla="*/ 939584 w 5737264"/>
              <a:gd name="connsiteY245" fmla="*/ 10048 h 1240971"/>
              <a:gd name="connsiteX246" fmla="*/ 813980 w 5737264"/>
              <a:gd name="connsiteY246" fmla="*/ 0 h 1240971"/>
              <a:gd name="connsiteX247" fmla="*/ 743641 w 5737264"/>
              <a:gd name="connsiteY247" fmla="*/ 5024 h 1240971"/>
              <a:gd name="connsiteX248" fmla="*/ 582867 w 5737264"/>
              <a:gd name="connsiteY248" fmla="*/ 15072 h 1240971"/>
              <a:gd name="connsiteX249" fmla="*/ 432142 w 5737264"/>
              <a:gd name="connsiteY249" fmla="*/ 5024 h 1240971"/>
              <a:gd name="connsiteX250" fmla="*/ 412046 w 5737264"/>
              <a:gd name="connsiteY250" fmla="*/ 0 h 1240971"/>
              <a:gd name="connsiteX251" fmla="*/ 281417 w 5737264"/>
              <a:gd name="connsiteY251" fmla="*/ 10048 h 1240971"/>
              <a:gd name="connsiteX252" fmla="*/ 261320 w 5737264"/>
              <a:gd name="connsiteY252" fmla="*/ 15072 h 1240971"/>
              <a:gd name="connsiteX253" fmla="*/ 100547 w 5737264"/>
              <a:gd name="connsiteY253" fmla="*/ 20097 h 1240971"/>
              <a:gd name="connsiteX254" fmla="*/ 5087 w 5737264"/>
              <a:gd name="connsiteY254" fmla="*/ 30145 h 1240971"/>
              <a:gd name="connsiteX0" fmla="*/ 5087 w 5737264"/>
              <a:gd name="connsiteY0" fmla="*/ 30145 h 1241771"/>
              <a:gd name="connsiteX1" fmla="*/ 15136 w 5737264"/>
              <a:gd name="connsiteY1" fmla="*/ 115556 h 1241771"/>
              <a:gd name="connsiteX2" fmla="*/ 20160 w 5737264"/>
              <a:gd name="connsiteY2" fmla="*/ 150725 h 1241771"/>
              <a:gd name="connsiteX3" fmla="*/ 25184 w 5737264"/>
              <a:gd name="connsiteY3" fmla="*/ 236136 h 1241771"/>
              <a:gd name="connsiteX4" fmla="*/ 35232 w 5737264"/>
              <a:gd name="connsiteY4" fmla="*/ 311499 h 1241771"/>
              <a:gd name="connsiteX5" fmla="*/ 40256 w 5737264"/>
              <a:gd name="connsiteY5" fmla="*/ 783771 h 1241771"/>
              <a:gd name="connsiteX6" fmla="*/ 45281 w 5737264"/>
              <a:gd name="connsiteY6" fmla="*/ 864158 h 1241771"/>
              <a:gd name="connsiteX7" fmla="*/ 35232 w 5737264"/>
              <a:gd name="connsiteY7" fmla="*/ 1034980 h 1241771"/>
              <a:gd name="connsiteX8" fmla="*/ 25184 w 5737264"/>
              <a:gd name="connsiteY8" fmla="*/ 1100294 h 1241771"/>
              <a:gd name="connsiteX9" fmla="*/ 20160 w 5737264"/>
              <a:gd name="connsiteY9" fmla="*/ 1150536 h 1241771"/>
              <a:gd name="connsiteX10" fmla="*/ 25184 w 5737264"/>
              <a:gd name="connsiteY10" fmla="*/ 1170633 h 1241771"/>
              <a:gd name="connsiteX11" fmla="*/ 35232 w 5737264"/>
              <a:gd name="connsiteY11" fmla="*/ 1160584 h 1241771"/>
              <a:gd name="connsiteX12" fmla="*/ 55329 w 5737264"/>
              <a:gd name="connsiteY12" fmla="*/ 1100294 h 1241771"/>
              <a:gd name="connsiteX13" fmla="*/ 60353 w 5737264"/>
              <a:gd name="connsiteY13" fmla="*/ 1085222 h 1241771"/>
              <a:gd name="connsiteX14" fmla="*/ 70402 w 5737264"/>
              <a:gd name="connsiteY14" fmla="*/ 1075173 h 1241771"/>
              <a:gd name="connsiteX15" fmla="*/ 95522 w 5737264"/>
              <a:gd name="connsiteY15" fmla="*/ 1045028 h 1241771"/>
              <a:gd name="connsiteX16" fmla="*/ 110595 w 5737264"/>
              <a:gd name="connsiteY16" fmla="*/ 1040004 h 1241771"/>
              <a:gd name="connsiteX17" fmla="*/ 135716 w 5737264"/>
              <a:gd name="connsiteY17" fmla="*/ 1019908 h 1241771"/>
              <a:gd name="connsiteX18" fmla="*/ 150788 w 5737264"/>
              <a:gd name="connsiteY18" fmla="*/ 1009859 h 1241771"/>
              <a:gd name="connsiteX19" fmla="*/ 175909 w 5737264"/>
              <a:gd name="connsiteY19" fmla="*/ 994787 h 1241771"/>
              <a:gd name="connsiteX20" fmla="*/ 216103 w 5737264"/>
              <a:gd name="connsiteY20" fmla="*/ 984738 h 1241771"/>
              <a:gd name="connsiteX21" fmla="*/ 286441 w 5737264"/>
              <a:gd name="connsiteY21" fmla="*/ 994787 h 1241771"/>
              <a:gd name="connsiteX22" fmla="*/ 301514 w 5737264"/>
              <a:gd name="connsiteY22" fmla="*/ 1004835 h 1241771"/>
              <a:gd name="connsiteX23" fmla="*/ 321610 w 5737264"/>
              <a:gd name="connsiteY23" fmla="*/ 1034980 h 1241771"/>
              <a:gd name="connsiteX24" fmla="*/ 356780 w 5737264"/>
              <a:gd name="connsiteY24" fmla="*/ 1065125 h 1241771"/>
              <a:gd name="connsiteX25" fmla="*/ 366828 w 5737264"/>
              <a:gd name="connsiteY25" fmla="*/ 1080198 h 1241771"/>
              <a:gd name="connsiteX26" fmla="*/ 381900 w 5737264"/>
              <a:gd name="connsiteY26" fmla="*/ 1085222 h 1241771"/>
              <a:gd name="connsiteX27" fmla="*/ 396973 w 5737264"/>
              <a:gd name="connsiteY27" fmla="*/ 1095270 h 1241771"/>
              <a:gd name="connsiteX28" fmla="*/ 407021 w 5737264"/>
              <a:gd name="connsiteY28" fmla="*/ 1105319 h 1241771"/>
              <a:gd name="connsiteX29" fmla="*/ 422094 w 5737264"/>
              <a:gd name="connsiteY29" fmla="*/ 1110343 h 1241771"/>
              <a:gd name="connsiteX30" fmla="*/ 437166 w 5737264"/>
              <a:gd name="connsiteY30" fmla="*/ 1120391 h 1241771"/>
              <a:gd name="connsiteX31" fmla="*/ 467311 w 5737264"/>
              <a:gd name="connsiteY31" fmla="*/ 1130439 h 1241771"/>
              <a:gd name="connsiteX32" fmla="*/ 522577 w 5737264"/>
              <a:gd name="connsiteY32" fmla="*/ 1115367 h 1241771"/>
              <a:gd name="connsiteX33" fmla="*/ 552722 w 5737264"/>
              <a:gd name="connsiteY33" fmla="*/ 1075173 h 1241771"/>
              <a:gd name="connsiteX34" fmla="*/ 567795 w 5737264"/>
              <a:gd name="connsiteY34" fmla="*/ 1070149 h 1241771"/>
              <a:gd name="connsiteX35" fmla="*/ 582867 w 5737264"/>
              <a:gd name="connsiteY35" fmla="*/ 1060101 h 1241771"/>
              <a:gd name="connsiteX36" fmla="*/ 638133 w 5737264"/>
              <a:gd name="connsiteY36" fmla="*/ 1045028 h 1241771"/>
              <a:gd name="connsiteX37" fmla="*/ 653206 w 5737264"/>
              <a:gd name="connsiteY37" fmla="*/ 1040004 h 1241771"/>
              <a:gd name="connsiteX38" fmla="*/ 693399 w 5737264"/>
              <a:gd name="connsiteY38" fmla="*/ 1045028 h 1241771"/>
              <a:gd name="connsiteX39" fmla="*/ 723544 w 5737264"/>
              <a:gd name="connsiteY39" fmla="*/ 1055077 h 1241771"/>
              <a:gd name="connsiteX40" fmla="*/ 733593 w 5737264"/>
              <a:gd name="connsiteY40" fmla="*/ 1065125 h 1241771"/>
              <a:gd name="connsiteX41" fmla="*/ 768762 w 5737264"/>
              <a:gd name="connsiteY41" fmla="*/ 1080198 h 1241771"/>
              <a:gd name="connsiteX42" fmla="*/ 803931 w 5737264"/>
              <a:gd name="connsiteY42" fmla="*/ 1105319 h 1241771"/>
              <a:gd name="connsiteX43" fmla="*/ 834076 w 5737264"/>
              <a:gd name="connsiteY43" fmla="*/ 1130439 h 1241771"/>
              <a:gd name="connsiteX44" fmla="*/ 869246 w 5737264"/>
              <a:gd name="connsiteY44" fmla="*/ 1140488 h 1241771"/>
              <a:gd name="connsiteX45" fmla="*/ 909439 w 5737264"/>
              <a:gd name="connsiteY45" fmla="*/ 1175657 h 1241771"/>
              <a:gd name="connsiteX46" fmla="*/ 939584 w 5737264"/>
              <a:gd name="connsiteY46" fmla="*/ 1185705 h 1241771"/>
              <a:gd name="connsiteX47" fmla="*/ 979777 w 5737264"/>
              <a:gd name="connsiteY47" fmla="*/ 1180681 h 1241771"/>
              <a:gd name="connsiteX48" fmla="*/ 989826 w 5737264"/>
              <a:gd name="connsiteY48" fmla="*/ 1170633 h 1241771"/>
              <a:gd name="connsiteX49" fmla="*/ 1004898 w 5737264"/>
              <a:gd name="connsiteY49" fmla="*/ 1150536 h 1241771"/>
              <a:gd name="connsiteX50" fmla="*/ 1014947 w 5737264"/>
              <a:gd name="connsiteY50" fmla="*/ 1120391 h 1241771"/>
              <a:gd name="connsiteX51" fmla="*/ 1040067 w 5737264"/>
              <a:gd name="connsiteY51" fmla="*/ 1095270 h 1241771"/>
              <a:gd name="connsiteX52" fmla="*/ 1050116 w 5737264"/>
              <a:gd name="connsiteY52" fmla="*/ 1085222 h 1241771"/>
              <a:gd name="connsiteX53" fmla="*/ 1075237 w 5737264"/>
              <a:gd name="connsiteY53" fmla="*/ 1065125 h 1241771"/>
              <a:gd name="connsiteX54" fmla="*/ 1090309 w 5737264"/>
              <a:gd name="connsiteY54" fmla="*/ 1050053 h 1241771"/>
              <a:gd name="connsiteX55" fmla="*/ 1120454 w 5737264"/>
              <a:gd name="connsiteY55" fmla="*/ 1040004 h 1241771"/>
              <a:gd name="connsiteX56" fmla="*/ 1135527 w 5737264"/>
              <a:gd name="connsiteY56" fmla="*/ 1034980 h 1241771"/>
              <a:gd name="connsiteX57" fmla="*/ 1160648 w 5737264"/>
              <a:gd name="connsiteY57" fmla="*/ 1019908 h 1241771"/>
              <a:gd name="connsiteX58" fmla="*/ 1175720 w 5737264"/>
              <a:gd name="connsiteY58" fmla="*/ 1014883 h 1241771"/>
              <a:gd name="connsiteX59" fmla="*/ 1195817 w 5737264"/>
              <a:gd name="connsiteY59" fmla="*/ 1004835 h 1241771"/>
              <a:gd name="connsiteX60" fmla="*/ 1281228 w 5737264"/>
              <a:gd name="connsiteY60" fmla="*/ 1014883 h 1241771"/>
              <a:gd name="connsiteX61" fmla="*/ 1296300 w 5737264"/>
              <a:gd name="connsiteY61" fmla="*/ 1024932 h 1241771"/>
              <a:gd name="connsiteX62" fmla="*/ 1311373 w 5737264"/>
              <a:gd name="connsiteY62" fmla="*/ 1029956 h 1241771"/>
              <a:gd name="connsiteX63" fmla="*/ 1326446 w 5737264"/>
              <a:gd name="connsiteY63" fmla="*/ 1060101 h 1241771"/>
              <a:gd name="connsiteX64" fmla="*/ 1341518 w 5737264"/>
              <a:gd name="connsiteY64" fmla="*/ 1065125 h 1241771"/>
              <a:gd name="connsiteX65" fmla="*/ 1356591 w 5737264"/>
              <a:gd name="connsiteY65" fmla="*/ 1075173 h 1241771"/>
              <a:gd name="connsiteX66" fmla="*/ 1396784 w 5737264"/>
              <a:gd name="connsiteY66" fmla="*/ 1090246 h 1241771"/>
              <a:gd name="connsiteX67" fmla="*/ 1447026 w 5737264"/>
              <a:gd name="connsiteY67" fmla="*/ 1105319 h 1241771"/>
              <a:gd name="connsiteX68" fmla="*/ 1462098 w 5737264"/>
              <a:gd name="connsiteY68" fmla="*/ 1110343 h 1241771"/>
              <a:gd name="connsiteX69" fmla="*/ 1497267 w 5737264"/>
              <a:gd name="connsiteY69" fmla="*/ 1120391 h 1241771"/>
              <a:gd name="connsiteX70" fmla="*/ 1552533 w 5737264"/>
              <a:gd name="connsiteY70" fmla="*/ 1115367 h 1241771"/>
              <a:gd name="connsiteX71" fmla="*/ 1567606 w 5737264"/>
              <a:gd name="connsiteY71" fmla="*/ 1110343 h 1241771"/>
              <a:gd name="connsiteX72" fmla="*/ 1587703 w 5737264"/>
              <a:gd name="connsiteY72" fmla="*/ 1090246 h 1241771"/>
              <a:gd name="connsiteX73" fmla="*/ 1637944 w 5737264"/>
              <a:gd name="connsiteY73" fmla="*/ 1050053 h 1241771"/>
              <a:gd name="connsiteX74" fmla="*/ 1653017 w 5737264"/>
              <a:gd name="connsiteY74" fmla="*/ 1029956 h 1241771"/>
              <a:gd name="connsiteX75" fmla="*/ 1688186 w 5737264"/>
              <a:gd name="connsiteY75" fmla="*/ 1019908 h 1241771"/>
              <a:gd name="connsiteX76" fmla="*/ 1788670 w 5737264"/>
              <a:gd name="connsiteY76" fmla="*/ 1029956 h 1241771"/>
              <a:gd name="connsiteX77" fmla="*/ 1818815 w 5737264"/>
              <a:gd name="connsiteY77" fmla="*/ 1040004 h 1241771"/>
              <a:gd name="connsiteX78" fmla="*/ 1853984 w 5737264"/>
              <a:gd name="connsiteY78" fmla="*/ 1050053 h 1241771"/>
              <a:gd name="connsiteX79" fmla="*/ 1869056 w 5737264"/>
              <a:gd name="connsiteY79" fmla="*/ 1060101 h 1241771"/>
              <a:gd name="connsiteX80" fmla="*/ 1894177 w 5737264"/>
              <a:gd name="connsiteY80" fmla="*/ 1065125 h 1241771"/>
              <a:gd name="connsiteX81" fmla="*/ 1949443 w 5737264"/>
              <a:gd name="connsiteY81" fmla="*/ 1085222 h 1241771"/>
              <a:gd name="connsiteX82" fmla="*/ 1969540 w 5737264"/>
              <a:gd name="connsiteY82" fmla="*/ 1090246 h 1241771"/>
              <a:gd name="connsiteX83" fmla="*/ 2014758 w 5737264"/>
              <a:gd name="connsiteY83" fmla="*/ 1110343 h 1241771"/>
              <a:gd name="connsiteX84" fmla="*/ 2039878 w 5737264"/>
              <a:gd name="connsiteY84" fmla="*/ 1125415 h 1241771"/>
              <a:gd name="connsiteX85" fmla="*/ 2120265 w 5737264"/>
              <a:gd name="connsiteY85" fmla="*/ 1120391 h 1241771"/>
              <a:gd name="connsiteX86" fmla="*/ 2130314 w 5737264"/>
              <a:gd name="connsiteY86" fmla="*/ 1110343 h 1241771"/>
              <a:gd name="connsiteX87" fmla="*/ 2155435 w 5737264"/>
              <a:gd name="connsiteY87" fmla="*/ 1100294 h 1241771"/>
              <a:gd name="connsiteX88" fmla="*/ 2190604 w 5737264"/>
              <a:gd name="connsiteY88" fmla="*/ 1070149 h 1241771"/>
              <a:gd name="connsiteX89" fmla="*/ 2230797 w 5737264"/>
              <a:gd name="connsiteY89" fmla="*/ 1040004 h 1241771"/>
              <a:gd name="connsiteX90" fmla="*/ 2245870 w 5737264"/>
              <a:gd name="connsiteY90" fmla="*/ 1034980 h 1241771"/>
              <a:gd name="connsiteX91" fmla="*/ 2270991 w 5737264"/>
              <a:gd name="connsiteY91" fmla="*/ 1019908 h 1241771"/>
              <a:gd name="connsiteX92" fmla="*/ 2301136 w 5737264"/>
              <a:gd name="connsiteY92" fmla="*/ 994787 h 1241771"/>
              <a:gd name="connsiteX93" fmla="*/ 2316208 w 5737264"/>
              <a:gd name="connsiteY93" fmla="*/ 989763 h 1241771"/>
              <a:gd name="connsiteX94" fmla="*/ 2396595 w 5737264"/>
              <a:gd name="connsiteY94" fmla="*/ 984738 h 1241771"/>
              <a:gd name="connsiteX95" fmla="*/ 2426740 w 5737264"/>
              <a:gd name="connsiteY95" fmla="*/ 989763 h 1241771"/>
              <a:gd name="connsiteX96" fmla="*/ 2461909 w 5737264"/>
              <a:gd name="connsiteY96" fmla="*/ 1024932 h 1241771"/>
              <a:gd name="connsiteX97" fmla="*/ 2476982 w 5737264"/>
              <a:gd name="connsiteY97" fmla="*/ 1029956 h 1241771"/>
              <a:gd name="connsiteX98" fmla="*/ 2487030 w 5737264"/>
              <a:gd name="connsiteY98" fmla="*/ 1045028 h 1241771"/>
              <a:gd name="connsiteX99" fmla="*/ 2497078 w 5737264"/>
              <a:gd name="connsiteY99" fmla="*/ 1055077 h 1241771"/>
              <a:gd name="connsiteX100" fmla="*/ 2532248 w 5737264"/>
              <a:gd name="connsiteY100" fmla="*/ 1095270 h 1241771"/>
              <a:gd name="connsiteX101" fmla="*/ 2567417 w 5737264"/>
              <a:gd name="connsiteY101" fmla="*/ 1135464 h 1241771"/>
              <a:gd name="connsiteX102" fmla="*/ 2582489 w 5737264"/>
              <a:gd name="connsiteY102" fmla="*/ 1145512 h 1241771"/>
              <a:gd name="connsiteX103" fmla="*/ 2622683 w 5737264"/>
              <a:gd name="connsiteY103" fmla="*/ 1170633 h 1241771"/>
              <a:gd name="connsiteX104" fmla="*/ 2657852 w 5737264"/>
              <a:gd name="connsiteY104" fmla="*/ 1160584 h 1241771"/>
              <a:gd name="connsiteX105" fmla="*/ 2682973 w 5737264"/>
              <a:gd name="connsiteY105" fmla="*/ 1145512 h 1241771"/>
              <a:gd name="connsiteX106" fmla="*/ 2713118 w 5737264"/>
              <a:gd name="connsiteY106" fmla="*/ 1130439 h 1241771"/>
              <a:gd name="connsiteX107" fmla="*/ 2728191 w 5737264"/>
              <a:gd name="connsiteY107" fmla="*/ 1120391 h 1241771"/>
              <a:gd name="connsiteX108" fmla="*/ 2748287 w 5737264"/>
              <a:gd name="connsiteY108" fmla="*/ 1115367 h 1241771"/>
              <a:gd name="connsiteX109" fmla="*/ 2778432 w 5737264"/>
              <a:gd name="connsiteY109" fmla="*/ 1105319 h 1241771"/>
              <a:gd name="connsiteX110" fmla="*/ 2868867 w 5737264"/>
              <a:gd name="connsiteY110" fmla="*/ 1075173 h 1241771"/>
              <a:gd name="connsiteX111" fmla="*/ 2893988 w 5737264"/>
              <a:gd name="connsiteY111" fmla="*/ 1070149 h 1241771"/>
              <a:gd name="connsiteX112" fmla="*/ 2919109 w 5737264"/>
              <a:gd name="connsiteY112" fmla="*/ 1075173 h 1241771"/>
              <a:gd name="connsiteX113" fmla="*/ 2934182 w 5737264"/>
              <a:gd name="connsiteY113" fmla="*/ 1080198 h 1241771"/>
              <a:gd name="connsiteX114" fmla="*/ 2944230 w 5737264"/>
              <a:gd name="connsiteY114" fmla="*/ 1110343 h 1241771"/>
              <a:gd name="connsiteX115" fmla="*/ 2959303 w 5737264"/>
              <a:gd name="connsiteY115" fmla="*/ 1125415 h 1241771"/>
              <a:gd name="connsiteX116" fmla="*/ 2979399 w 5737264"/>
              <a:gd name="connsiteY116" fmla="*/ 1155560 h 1241771"/>
              <a:gd name="connsiteX117" fmla="*/ 2994472 w 5737264"/>
              <a:gd name="connsiteY117" fmla="*/ 1160584 h 1241771"/>
              <a:gd name="connsiteX118" fmla="*/ 3014569 w 5737264"/>
              <a:gd name="connsiteY118" fmla="*/ 1180681 h 1241771"/>
              <a:gd name="connsiteX119" fmla="*/ 3024617 w 5737264"/>
              <a:gd name="connsiteY119" fmla="*/ 1190730 h 1241771"/>
              <a:gd name="connsiteX120" fmla="*/ 3069835 w 5737264"/>
              <a:gd name="connsiteY120" fmla="*/ 1215850 h 1241771"/>
              <a:gd name="connsiteX121" fmla="*/ 3079883 w 5737264"/>
              <a:gd name="connsiteY121" fmla="*/ 1225899 h 1241771"/>
              <a:gd name="connsiteX122" fmla="*/ 3099980 w 5737264"/>
              <a:gd name="connsiteY122" fmla="*/ 1230923 h 1241771"/>
              <a:gd name="connsiteX123" fmla="*/ 3130125 w 5737264"/>
              <a:gd name="connsiteY123" fmla="*/ 1240971 h 1241771"/>
              <a:gd name="connsiteX124" fmla="*/ 3180366 w 5737264"/>
              <a:gd name="connsiteY124" fmla="*/ 1235947 h 1241771"/>
              <a:gd name="connsiteX125" fmla="*/ 3229535 w 5737264"/>
              <a:gd name="connsiteY125" fmla="*/ 1178561 h 1241771"/>
              <a:gd name="connsiteX126" fmla="*/ 3281634 w 5737264"/>
              <a:gd name="connsiteY126" fmla="*/ 1153440 h 1241771"/>
              <a:gd name="connsiteX127" fmla="*/ 3310995 w 5737264"/>
              <a:gd name="connsiteY127" fmla="*/ 1145512 h 1241771"/>
              <a:gd name="connsiteX128" fmla="*/ 3351188 w 5737264"/>
              <a:gd name="connsiteY128" fmla="*/ 1140488 h 1241771"/>
              <a:gd name="connsiteX129" fmla="*/ 3406454 w 5737264"/>
              <a:gd name="connsiteY129" fmla="*/ 1155560 h 1241771"/>
              <a:gd name="connsiteX130" fmla="*/ 3426551 w 5737264"/>
              <a:gd name="connsiteY130" fmla="*/ 1165609 h 1241771"/>
              <a:gd name="connsiteX131" fmla="*/ 3441624 w 5737264"/>
              <a:gd name="connsiteY131" fmla="*/ 1175657 h 1241771"/>
              <a:gd name="connsiteX132" fmla="*/ 3456696 w 5737264"/>
              <a:gd name="connsiteY132" fmla="*/ 1180681 h 1241771"/>
              <a:gd name="connsiteX133" fmla="*/ 3466744 w 5737264"/>
              <a:gd name="connsiteY133" fmla="*/ 1195754 h 1241771"/>
              <a:gd name="connsiteX134" fmla="*/ 3527035 w 5737264"/>
              <a:gd name="connsiteY134" fmla="*/ 1200778 h 1241771"/>
              <a:gd name="connsiteX135" fmla="*/ 3542107 w 5737264"/>
              <a:gd name="connsiteY135" fmla="*/ 1190730 h 1241771"/>
              <a:gd name="connsiteX136" fmla="*/ 3567228 w 5737264"/>
              <a:gd name="connsiteY136" fmla="*/ 1180681 h 1241771"/>
              <a:gd name="connsiteX137" fmla="*/ 3587325 w 5737264"/>
              <a:gd name="connsiteY137" fmla="*/ 1150536 h 1241771"/>
              <a:gd name="connsiteX138" fmla="*/ 3617470 w 5737264"/>
              <a:gd name="connsiteY138" fmla="*/ 1125415 h 1241771"/>
              <a:gd name="connsiteX139" fmla="*/ 3632542 w 5737264"/>
              <a:gd name="connsiteY139" fmla="*/ 1105319 h 1241771"/>
              <a:gd name="connsiteX140" fmla="*/ 3662687 w 5737264"/>
              <a:gd name="connsiteY140" fmla="*/ 1085222 h 1241771"/>
              <a:gd name="connsiteX141" fmla="*/ 3697856 w 5737264"/>
              <a:gd name="connsiteY141" fmla="*/ 1070149 h 1241771"/>
              <a:gd name="connsiteX142" fmla="*/ 3707905 w 5737264"/>
              <a:gd name="connsiteY142" fmla="*/ 1060101 h 1241771"/>
              <a:gd name="connsiteX143" fmla="*/ 3743074 w 5737264"/>
              <a:gd name="connsiteY143" fmla="*/ 1047148 h 1241771"/>
              <a:gd name="connsiteX144" fmla="*/ 3799125 w 5737264"/>
              <a:gd name="connsiteY144" fmla="*/ 1043982 h 1241771"/>
              <a:gd name="connsiteX145" fmla="*/ 3859651 w 5737264"/>
              <a:gd name="connsiteY145" fmla="*/ 1072033 h 1241771"/>
              <a:gd name="connsiteX146" fmla="*/ 3902226 w 5737264"/>
              <a:gd name="connsiteY146" fmla="*/ 1101367 h 1241771"/>
              <a:gd name="connsiteX147" fmla="*/ 3958041 w 5737264"/>
              <a:gd name="connsiteY147" fmla="*/ 1142346 h 1241771"/>
              <a:gd name="connsiteX148" fmla="*/ 4019404 w 5737264"/>
              <a:gd name="connsiteY148" fmla="*/ 1165609 h 1241771"/>
              <a:gd name="connsiteX149" fmla="*/ 4064621 w 5737264"/>
              <a:gd name="connsiteY149" fmla="*/ 1150536 h 1241771"/>
              <a:gd name="connsiteX150" fmla="*/ 4079694 w 5737264"/>
              <a:gd name="connsiteY150" fmla="*/ 1125415 h 1241771"/>
              <a:gd name="connsiteX151" fmla="*/ 4099791 w 5737264"/>
              <a:gd name="connsiteY151" fmla="*/ 1105319 h 1241771"/>
              <a:gd name="connsiteX152" fmla="*/ 4129936 w 5737264"/>
              <a:gd name="connsiteY152" fmla="*/ 1075173 h 1241771"/>
              <a:gd name="connsiteX153" fmla="*/ 4150032 w 5737264"/>
              <a:gd name="connsiteY153" fmla="*/ 1040004 h 1241771"/>
              <a:gd name="connsiteX154" fmla="*/ 4160081 w 5737264"/>
              <a:gd name="connsiteY154" fmla="*/ 1019908 h 1241771"/>
              <a:gd name="connsiteX155" fmla="*/ 4165105 w 5737264"/>
              <a:gd name="connsiteY155" fmla="*/ 1004835 h 1241771"/>
              <a:gd name="connsiteX156" fmla="*/ 4185202 w 5737264"/>
              <a:gd name="connsiteY156" fmla="*/ 984738 h 1241771"/>
              <a:gd name="connsiteX157" fmla="*/ 4200274 w 5737264"/>
              <a:gd name="connsiteY157" fmla="*/ 979714 h 1241771"/>
              <a:gd name="connsiteX158" fmla="*/ 4235443 w 5737264"/>
              <a:gd name="connsiteY158" fmla="*/ 954593 h 1241771"/>
              <a:gd name="connsiteX159" fmla="*/ 4275637 w 5737264"/>
              <a:gd name="connsiteY159" fmla="*/ 934497 h 1241771"/>
              <a:gd name="connsiteX160" fmla="*/ 4310806 w 5737264"/>
              <a:gd name="connsiteY160" fmla="*/ 914400 h 1241771"/>
              <a:gd name="connsiteX161" fmla="*/ 4325878 w 5737264"/>
              <a:gd name="connsiteY161" fmla="*/ 904352 h 1241771"/>
              <a:gd name="connsiteX162" fmla="*/ 4362094 w 5737264"/>
              <a:gd name="connsiteY162" fmla="*/ 909114 h 1241771"/>
              <a:gd name="connsiteX163" fmla="*/ 4417099 w 5737264"/>
              <a:gd name="connsiteY163" fmla="*/ 946141 h 1241771"/>
              <a:gd name="connsiteX164" fmla="*/ 4462316 w 5737264"/>
              <a:gd name="connsiteY164" fmla="*/ 1006955 h 1241771"/>
              <a:gd name="connsiteX165" fmla="*/ 4531320 w 5737264"/>
              <a:gd name="connsiteY165" fmla="*/ 1037650 h 1241771"/>
              <a:gd name="connsiteX166" fmla="*/ 4597184 w 5737264"/>
              <a:gd name="connsiteY166" fmla="*/ 969666 h 1241771"/>
              <a:gd name="connsiteX167" fmla="*/ 4617281 w 5737264"/>
              <a:gd name="connsiteY167" fmla="*/ 959617 h 1241771"/>
              <a:gd name="connsiteX168" fmla="*/ 4632353 w 5737264"/>
              <a:gd name="connsiteY168" fmla="*/ 944545 h 1241771"/>
              <a:gd name="connsiteX169" fmla="*/ 4652450 w 5737264"/>
              <a:gd name="connsiteY169" fmla="*/ 934497 h 1241771"/>
              <a:gd name="connsiteX170" fmla="*/ 4672547 w 5737264"/>
              <a:gd name="connsiteY170" fmla="*/ 919424 h 1241771"/>
              <a:gd name="connsiteX171" fmla="*/ 4737861 w 5737264"/>
              <a:gd name="connsiteY171" fmla="*/ 884255 h 1241771"/>
              <a:gd name="connsiteX172" fmla="*/ 4762982 w 5737264"/>
              <a:gd name="connsiteY172" fmla="*/ 879231 h 1241771"/>
              <a:gd name="connsiteX173" fmla="*/ 4778054 w 5737264"/>
              <a:gd name="connsiteY173" fmla="*/ 874206 h 1241771"/>
              <a:gd name="connsiteX174" fmla="*/ 4819294 w 5737264"/>
              <a:gd name="connsiteY174" fmla="*/ 873944 h 1241771"/>
              <a:gd name="connsiteX175" fmla="*/ 4877465 w 5737264"/>
              <a:gd name="connsiteY175" fmla="*/ 895638 h 1241771"/>
              <a:gd name="connsiteX176" fmla="*/ 4935347 w 5737264"/>
              <a:gd name="connsiteY176" fmla="*/ 934523 h 1241771"/>
              <a:gd name="connsiteX177" fmla="*/ 4995402 w 5737264"/>
              <a:gd name="connsiteY177" fmla="*/ 1006746 h 1241771"/>
              <a:gd name="connsiteX178" fmla="*/ 5024762 w 5737264"/>
              <a:gd name="connsiteY178" fmla="*/ 1051963 h 1241771"/>
              <a:gd name="connsiteX179" fmla="*/ 5092223 w 5737264"/>
              <a:gd name="connsiteY179" fmla="*/ 1016506 h 1241771"/>
              <a:gd name="connsiteX180" fmla="*/ 5144322 w 5737264"/>
              <a:gd name="connsiteY180" fmla="*/ 948261 h 1241771"/>
              <a:gd name="connsiteX181" fmla="*/ 5189252 w 5737264"/>
              <a:gd name="connsiteY181" fmla="*/ 886112 h 1241771"/>
              <a:gd name="connsiteX182" fmla="*/ 5226279 w 5737264"/>
              <a:gd name="connsiteY182" fmla="*/ 856230 h 1241771"/>
              <a:gd name="connsiteX183" fmla="*/ 5260637 w 5737264"/>
              <a:gd name="connsiteY183" fmla="*/ 822918 h 1241771"/>
              <a:gd name="connsiteX184" fmla="*/ 5295282 w 5737264"/>
              <a:gd name="connsiteY184" fmla="*/ 800440 h 1241771"/>
              <a:gd name="connsiteX185" fmla="*/ 5334430 w 5737264"/>
              <a:gd name="connsiteY185" fmla="*/ 794893 h 1241771"/>
              <a:gd name="connsiteX186" fmla="*/ 5412174 w 5737264"/>
              <a:gd name="connsiteY186" fmla="*/ 824252 h 1241771"/>
              <a:gd name="connsiteX187" fmla="*/ 5431197 w 5737264"/>
              <a:gd name="connsiteY187" fmla="*/ 768699 h 1241771"/>
              <a:gd name="connsiteX188" fmla="*/ 5441246 w 5737264"/>
              <a:gd name="connsiteY188" fmla="*/ 753626 h 1241771"/>
              <a:gd name="connsiteX189" fmla="*/ 5456318 w 5737264"/>
              <a:gd name="connsiteY189" fmla="*/ 708409 h 1241771"/>
              <a:gd name="connsiteX190" fmla="*/ 5466366 w 5737264"/>
              <a:gd name="connsiteY190" fmla="*/ 683288 h 1241771"/>
              <a:gd name="connsiteX191" fmla="*/ 5476415 w 5737264"/>
              <a:gd name="connsiteY191" fmla="*/ 643094 h 1241771"/>
              <a:gd name="connsiteX192" fmla="*/ 5491487 w 5737264"/>
              <a:gd name="connsiteY192" fmla="*/ 617973 h 1241771"/>
              <a:gd name="connsiteX193" fmla="*/ 5506560 w 5737264"/>
              <a:gd name="connsiteY193" fmla="*/ 572756 h 1241771"/>
              <a:gd name="connsiteX194" fmla="*/ 5526656 w 5737264"/>
              <a:gd name="connsiteY194" fmla="*/ 522514 h 1241771"/>
              <a:gd name="connsiteX195" fmla="*/ 5546753 w 5737264"/>
              <a:gd name="connsiteY195" fmla="*/ 467248 h 1241771"/>
              <a:gd name="connsiteX196" fmla="*/ 5556802 w 5737264"/>
              <a:gd name="connsiteY196" fmla="*/ 411982 h 1241771"/>
              <a:gd name="connsiteX197" fmla="*/ 5566850 w 5737264"/>
              <a:gd name="connsiteY197" fmla="*/ 381837 h 1241771"/>
              <a:gd name="connsiteX198" fmla="*/ 5576898 w 5737264"/>
              <a:gd name="connsiteY198" fmla="*/ 356716 h 1241771"/>
              <a:gd name="connsiteX199" fmla="*/ 5596995 w 5737264"/>
              <a:gd name="connsiteY199" fmla="*/ 316523 h 1241771"/>
              <a:gd name="connsiteX200" fmla="*/ 5617092 w 5737264"/>
              <a:gd name="connsiteY200" fmla="*/ 246184 h 1241771"/>
              <a:gd name="connsiteX201" fmla="*/ 5622116 w 5737264"/>
              <a:gd name="connsiteY201" fmla="*/ 226088 h 1241771"/>
              <a:gd name="connsiteX202" fmla="*/ 5632164 w 5737264"/>
              <a:gd name="connsiteY202" fmla="*/ 216039 h 1241771"/>
              <a:gd name="connsiteX203" fmla="*/ 5637188 w 5737264"/>
              <a:gd name="connsiteY203" fmla="*/ 200967 h 1241771"/>
              <a:gd name="connsiteX204" fmla="*/ 5651738 w 5737264"/>
              <a:gd name="connsiteY204" fmla="*/ 190395 h 1241771"/>
              <a:gd name="connsiteX205" fmla="*/ 5673692 w 5737264"/>
              <a:gd name="connsiteY205" fmla="*/ 153892 h 1241771"/>
              <a:gd name="connsiteX206" fmla="*/ 5726602 w 5737264"/>
              <a:gd name="connsiteY206" fmla="*/ 89362 h 1241771"/>
              <a:gd name="connsiteX207" fmla="*/ 5728722 w 5737264"/>
              <a:gd name="connsiteY207" fmla="*/ 42287 h 1241771"/>
              <a:gd name="connsiteX208" fmla="*/ 5634284 w 5737264"/>
              <a:gd name="connsiteY208" fmla="*/ 25357 h 1241771"/>
              <a:gd name="connsiteX209" fmla="*/ 5536940 w 5737264"/>
              <a:gd name="connsiteY209" fmla="*/ 27214 h 1241771"/>
              <a:gd name="connsiteX210" fmla="*/ 5470369 w 5737264"/>
              <a:gd name="connsiteY210" fmla="*/ 39381 h 1241771"/>
              <a:gd name="connsiteX211" fmla="*/ 5379124 w 5737264"/>
              <a:gd name="connsiteY211" fmla="*/ 39644 h 1241771"/>
              <a:gd name="connsiteX212" fmla="*/ 5309282 w 5737264"/>
              <a:gd name="connsiteY212" fmla="*/ 42287 h 1241771"/>
              <a:gd name="connsiteX213" fmla="*/ 5238682 w 5737264"/>
              <a:gd name="connsiteY213" fmla="*/ 54455 h 1241771"/>
              <a:gd name="connsiteX214" fmla="*/ 5108892 w 5737264"/>
              <a:gd name="connsiteY214" fmla="*/ 37524 h 1241771"/>
              <a:gd name="connsiteX215" fmla="*/ 5020026 w 5737264"/>
              <a:gd name="connsiteY215" fmla="*/ 39120 h 1241771"/>
              <a:gd name="connsiteX216" fmla="*/ 4946233 w 5737264"/>
              <a:gd name="connsiteY216" fmla="*/ 41240 h 1241771"/>
              <a:gd name="connsiteX217" fmla="*/ 4823272 w 5737264"/>
              <a:gd name="connsiteY217" fmla="*/ 50242 h 1241771"/>
              <a:gd name="connsiteX218" fmla="*/ 4727577 w 5737264"/>
              <a:gd name="connsiteY218" fmla="*/ 29073 h 1241771"/>
              <a:gd name="connsiteX219" fmla="*/ 4628376 w 5737264"/>
              <a:gd name="connsiteY219" fmla="*/ 41240 h 1241771"/>
              <a:gd name="connsiteX220" fmla="*/ 4565180 w 5737264"/>
              <a:gd name="connsiteY220" fmla="*/ 46264 h 1241771"/>
              <a:gd name="connsiteX221" fmla="*/ 4417596 w 5737264"/>
              <a:gd name="connsiteY221" fmla="*/ 44406 h 1241771"/>
              <a:gd name="connsiteX222" fmla="*/ 4139984 w 5737264"/>
              <a:gd name="connsiteY222" fmla="*/ 60290 h 1241771"/>
              <a:gd name="connsiteX223" fmla="*/ 3918920 w 5737264"/>
              <a:gd name="connsiteY223" fmla="*/ 50242 h 1241771"/>
              <a:gd name="connsiteX224" fmla="*/ 3873703 w 5737264"/>
              <a:gd name="connsiteY224" fmla="*/ 45217 h 1241771"/>
              <a:gd name="connsiteX225" fmla="*/ 3687808 w 5737264"/>
              <a:gd name="connsiteY225" fmla="*/ 40193 h 1241771"/>
              <a:gd name="connsiteX226" fmla="*/ 3662687 w 5737264"/>
              <a:gd name="connsiteY226" fmla="*/ 35169 h 1241771"/>
              <a:gd name="connsiteX227" fmla="*/ 3627518 w 5737264"/>
              <a:gd name="connsiteY227" fmla="*/ 25121 h 1241771"/>
              <a:gd name="connsiteX228" fmla="*/ 3547131 w 5737264"/>
              <a:gd name="connsiteY228" fmla="*/ 20097 h 1241771"/>
              <a:gd name="connsiteX229" fmla="*/ 3310995 w 5737264"/>
              <a:gd name="connsiteY229" fmla="*/ 25121 h 1241771"/>
              <a:gd name="connsiteX230" fmla="*/ 3265777 w 5737264"/>
              <a:gd name="connsiteY230" fmla="*/ 30145 h 1241771"/>
              <a:gd name="connsiteX231" fmla="*/ 3175342 w 5737264"/>
              <a:gd name="connsiteY231" fmla="*/ 35169 h 1241771"/>
              <a:gd name="connsiteX232" fmla="*/ 2582489 w 5737264"/>
              <a:gd name="connsiteY232" fmla="*/ 45217 h 1241771"/>
              <a:gd name="connsiteX233" fmla="*/ 2255918 w 5737264"/>
              <a:gd name="connsiteY233" fmla="*/ 40193 h 1241771"/>
              <a:gd name="connsiteX234" fmla="*/ 1974564 w 5737264"/>
              <a:gd name="connsiteY234" fmla="*/ 30145 h 1241771"/>
              <a:gd name="connsiteX235" fmla="*/ 1944419 w 5737264"/>
              <a:gd name="connsiteY235" fmla="*/ 25121 h 1241771"/>
              <a:gd name="connsiteX236" fmla="*/ 1848960 w 5737264"/>
              <a:gd name="connsiteY236" fmla="*/ 20097 h 1241771"/>
              <a:gd name="connsiteX237" fmla="*/ 1768573 w 5737264"/>
              <a:gd name="connsiteY237" fmla="*/ 10048 h 1241771"/>
              <a:gd name="connsiteX238" fmla="*/ 1502292 w 5737264"/>
              <a:gd name="connsiteY238" fmla="*/ 20097 h 1241771"/>
              <a:gd name="connsiteX239" fmla="*/ 1467122 w 5737264"/>
              <a:gd name="connsiteY239" fmla="*/ 25121 h 1241771"/>
              <a:gd name="connsiteX240" fmla="*/ 1426929 w 5737264"/>
              <a:gd name="connsiteY240" fmla="*/ 30145 h 1241771"/>
              <a:gd name="connsiteX241" fmla="*/ 1341518 w 5737264"/>
              <a:gd name="connsiteY241" fmla="*/ 45217 h 1241771"/>
              <a:gd name="connsiteX242" fmla="*/ 1095333 w 5737264"/>
              <a:gd name="connsiteY242" fmla="*/ 35169 h 1241771"/>
              <a:gd name="connsiteX243" fmla="*/ 979777 w 5737264"/>
              <a:gd name="connsiteY243" fmla="*/ 20097 h 1241771"/>
              <a:gd name="connsiteX244" fmla="*/ 939584 w 5737264"/>
              <a:gd name="connsiteY244" fmla="*/ 10048 h 1241771"/>
              <a:gd name="connsiteX245" fmla="*/ 813980 w 5737264"/>
              <a:gd name="connsiteY245" fmla="*/ 0 h 1241771"/>
              <a:gd name="connsiteX246" fmla="*/ 743641 w 5737264"/>
              <a:gd name="connsiteY246" fmla="*/ 5024 h 1241771"/>
              <a:gd name="connsiteX247" fmla="*/ 582867 w 5737264"/>
              <a:gd name="connsiteY247" fmla="*/ 15072 h 1241771"/>
              <a:gd name="connsiteX248" fmla="*/ 432142 w 5737264"/>
              <a:gd name="connsiteY248" fmla="*/ 5024 h 1241771"/>
              <a:gd name="connsiteX249" fmla="*/ 412046 w 5737264"/>
              <a:gd name="connsiteY249" fmla="*/ 0 h 1241771"/>
              <a:gd name="connsiteX250" fmla="*/ 281417 w 5737264"/>
              <a:gd name="connsiteY250" fmla="*/ 10048 h 1241771"/>
              <a:gd name="connsiteX251" fmla="*/ 261320 w 5737264"/>
              <a:gd name="connsiteY251" fmla="*/ 15072 h 1241771"/>
              <a:gd name="connsiteX252" fmla="*/ 100547 w 5737264"/>
              <a:gd name="connsiteY252" fmla="*/ 20097 h 1241771"/>
              <a:gd name="connsiteX253" fmla="*/ 5087 w 5737264"/>
              <a:gd name="connsiteY253" fmla="*/ 30145 h 1241771"/>
              <a:gd name="connsiteX0" fmla="*/ 5087 w 5737264"/>
              <a:gd name="connsiteY0" fmla="*/ 30145 h 1403084"/>
              <a:gd name="connsiteX1" fmla="*/ 15136 w 5737264"/>
              <a:gd name="connsiteY1" fmla="*/ 115556 h 1403084"/>
              <a:gd name="connsiteX2" fmla="*/ 20160 w 5737264"/>
              <a:gd name="connsiteY2" fmla="*/ 150725 h 1403084"/>
              <a:gd name="connsiteX3" fmla="*/ 25184 w 5737264"/>
              <a:gd name="connsiteY3" fmla="*/ 236136 h 1403084"/>
              <a:gd name="connsiteX4" fmla="*/ 35232 w 5737264"/>
              <a:gd name="connsiteY4" fmla="*/ 311499 h 1403084"/>
              <a:gd name="connsiteX5" fmla="*/ 40256 w 5737264"/>
              <a:gd name="connsiteY5" fmla="*/ 783771 h 1403084"/>
              <a:gd name="connsiteX6" fmla="*/ 45281 w 5737264"/>
              <a:gd name="connsiteY6" fmla="*/ 864158 h 1403084"/>
              <a:gd name="connsiteX7" fmla="*/ 35232 w 5737264"/>
              <a:gd name="connsiteY7" fmla="*/ 1034980 h 1403084"/>
              <a:gd name="connsiteX8" fmla="*/ 25184 w 5737264"/>
              <a:gd name="connsiteY8" fmla="*/ 1100294 h 1403084"/>
              <a:gd name="connsiteX9" fmla="*/ 20160 w 5737264"/>
              <a:gd name="connsiteY9" fmla="*/ 1150536 h 1403084"/>
              <a:gd name="connsiteX10" fmla="*/ 25184 w 5737264"/>
              <a:gd name="connsiteY10" fmla="*/ 1170633 h 1403084"/>
              <a:gd name="connsiteX11" fmla="*/ 35232 w 5737264"/>
              <a:gd name="connsiteY11" fmla="*/ 1160584 h 1403084"/>
              <a:gd name="connsiteX12" fmla="*/ 55329 w 5737264"/>
              <a:gd name="connsiteY12" fmla="*/ 1100294 h 1403084"/>
              <a:gd name="connsiteX13" fmla="*/ 60353 w 5737264"/>
              <a:gd name="connsiteY13" fmla="*/ 1085222 h 1403084"/>
              <a:gd name="connsiteX14" fmla="*/ 70402 w 5737264"/>
              <a:gd name="connsiteY14" fmla="*/ 1075173 h 1403084"/>
              <a:gd name="connsiteX15" fmla="*/ 95522 w 5737264"/>
              <a:gd name="connsiteY15" fmla="*/ 1045028 h 1403084"/>
              <a:gd name="connsiteX16" fmla="*/ 110595 w 5737264"/>
              <a:gd name="connsiteY16" fmla="*/ 1040004 h 1403084"/>
              <a:gd name="connsiteX17" fmla="*/ 135716 w 5737264"/>
              <a:gd name="connsiteY17" fmla="*/ 1019908 h 1403084"/>
              <a:gd name="connsiteX18" fmla="*/ 150788 w 5737264"/>
              <a:gd name="connsiteY18" fmla="*/ 1009859 h 1403084"/>
              <a:gd name="connsiteX19" fmla="*/ 175909 w 5737264"/>
              <a:gd name="connsiteY19" fmla="*/ 994787 h 1403084"/>
              <a:gd name="connsiteX20" fmla="*/ 216103 w 5737264"/>
              <a:gd name="connsiteY20" fmla="*/ 984738 h 1403084"/>
              <a:gd name="connsiteX21" fmla="*/ 286441 w 5737264"/>
              <a:gd name="connsiteY21" fmla="*/ 994787 h 1403084"/>
              <a:gd name="connsiteX22" fmla="*/ 301514 w 5737264"/>
              <a:gd name="connsiteY22" fmla="*/ 1004835 h 1403084"/>
              <a:gd name="connsiteX23" fmla="*/ 321610 w 5737264"/>
              <a:gd name="connsiteY23" fmla="*/ 1034980 h 1403084"/>
              <a:gd name="connsiteX24" fmla="*/ 356780 w 5737264"/>
              <a:gd name="connsiteY24" fmla="*/ 1065125 h 1403084"/>
              <a:gd name="connsiteX25" fmla="*/ 366828 w 5737264"/>
              <a:gd name="connsiteY25" fmla="*/ 1080198 h 1403084"/>
              <a:gd name="connsiteX26" fmla="*/ 381900 w 5737264"/>
              <a:gd name="connsiteY26" fmla="*/ 1085222 h 1403084"/>
              <a:gd name="connsiteX27" fmla="*/ 396973 w 5737264"/>
              <a:gd name="connsiteY27" fmla="*/ 1095270 h 1403084"/>
              <a:gd name="connsiteX28" fmla="*/ 407021 w 5737264"/>
              <a:gd name="connsiteY28" fmla="*/ 1105319 h 1403084"/>
              <a:gd name="connsiteX29" fmla="*/ 422094 w 5737264"/>
              <a:gd name="connsiteY29" fmla="*/ 1110343 h 1403084"/>
              <a:gd name="connsiteX30" fmla="*/ 437166 w 5737264"/>
              <a:gd name="connsiteY30" fmla="*/ 1120391 h 1403084"/>
              <a:gd name="connsiteX31" fmla="*/ 467311 w 5737264"/>
              <a:gd name="connsiteY31" fmla="*/ 1130439 h 1403084"/>
              <a:gd name="connsiteX32" fmla="*/ 522577 w 5737264"/>
              <a:gd name="connsiteY32" fmla="*/ 1115367 h 1403084"/>
              <a:gd name="connsiteX33" fmla="*/ 552722 w 5737264"/>
              <a:gd name="connsiteY33" fmla="*/ 1075173 h 1403084"/>
              <a:gd name="connsiteX34" fmla="*/ 567795 w 5737264"/>
              <a:gd name="connsiteY34" fmla="*/ 1070149 h 1403084"/>
              <a:gd name="connsiteX35" fmla="*/ 582867 w 5737264"/>
              <a:gd name="connsiteY35" fmla="*/ 1060101 h 1403084"/>
              <a:gd name="connsiteX36" fmla="*/ 638133 w 5737264"/>
              <a:gd name="connsiteY36" fmla="*/ 1045028 h 1403084"/>
              <a:gd name="connsiteX37" fmla="*/ 653206 w 5737264"/>
              <a:gd name="connsiteY37" fmla="*/ 1040004 h 1403084"/>
              <a:gd name="connsiteX38" fmla="*/ 693399 w 5737264"/>
              <a:gd name="connsiteY38" fmla="*/ 1045028 h 1403084"/>
              <a:gd name="connsiteX39" fmla="*/ 723544 w 5737264"/>
              <a:gd name="connsiteY39" fmla="*/ 1055077 h 1403084"/>
              <a:gd name="connsiteX40" fmla="*/ 733593 w 5737264"/>
              <a:gd name="connsiteY40" fmla="*/ 1065125 h 1403084"/>
              <a:gd name="connsiteX41" fmla="*/ 768762 w 5737264"/>
              <a:gd name="connsiteY41" fmla="*/ 1080198 h 1403084"/>
              <a:gd name="connsiteX42" fmla="*/ 803931 w 5737264"/>
              <a:gd name="connsiteY42" fmla="*/ 1105319 h 1403084"/>
              <a:gd name="connsiteX43" fmla="*/ 834076 w 5737264"/>
              <a:gd name="connsiteY43" fmla="*/ 1130439 h 1403084"/>
              <a:gd name="connsiteX44" fmla="*/ 869246 w 5737264"/>
              <a:gd name="connsiteY44" fmla="*/ 1140488 h 1403084"/>
              <a:gd name="connsiteX45" fmla="*/ 909439 w 5737264"/>
              <a:gd name="connsiteY45" fmla="*/ 1175657 h 1403084"/>
              <a:gd name="connsiteX46" fmla="*/ 939584 w 5737264"/>
              <a:gd name="connsiteY46" fmla="*/ 1185705 h 1403084"/>
              <a:gd name="connsiteX47" fmla="*/ 979777 w 5737264"/>
              <a:gd name="connsiteY47" fmla="*/ 1180681 h 1403084"/>
              <a:gd name="connsiteX48" fmla="*/ 989826 w 5737264"/>
              <a:gd name="connsiteY48" fmla="*/ 1170633 h 1403084"/>
              <a:gd name="connsiteX49" fmla="*/ 1004898 w 5737264"/>
              <a:gd name="connsiteY49" fmla="*/ 1150536 h 1403084"/>
              <a:gd name="connsiteX50" fmla="*/ 1014947 w 5737264"/>
              <a:gd name="connsiteY50" fmla="*/ 1120391 h 1403084"/>
              <a:gd name="connsiteX51" fmla="*/ 1040067 w 5737264"/>
              <a:gd name="connsiteY51" fmla="*/ 1095270 h 1403084"/>
              <a:gd name="connsiteX52" fmla="*/ 1050116 w 5737264"/>
              <a:gd name="connsiteY52" fmla="*/ 1085222 h 1403084"/>
              <a:gd name="connsiteX53" fmla="*/ 1075237 w 5737264"/>
              <a:gd name="connsiteY53" fmla="*/ 1065125 h 1403084"/>
              <a:gd name="connsiteX54" fmla="*/ 1090309 w 5737264"/>
              <a:gd name="connsiteY54" fmla="*/ 1050053 h 1403084"/>
              <a:gd name="connsiteX55" fmla="*/ 1120454 w 5737264"/>
              <a:gd name="connsiteY55" fmla="*/ 1040004 h 1403084"/>
              <a:gd name="connsiteX56" fmla="*/ 1135527 w 5737264"/>
              <a:gd name="connsiteY56" fmla="*/ 1034980 h 1403084"/>
              <a:gd name="connsiteX57" fmla="*/ 1160648 w 5737264"/>
              <a:gd name="connsiteY57" fmla="*/ 1019908 h 1403084"/>
              <a:gd name="connsiteX58" fmla="*/ 1175720 w 5737264"/>
              <a:gd name="connsiteY58" fmla="*/ 1014883 h 1403084"/>
              <a:gd name="connsiteX59" fmla="*/ 1195817 w 5737264"/>
              <a:gd name="connsiteY59" fmla="*/ 1004835 h 1403084"/>
              <a:gd name="connsiteX60" fmla="*/ 1281228 w 5737264"/>
              <a:gd name="connsiteY60" fmla="*/ 1014883 h 1403084"/>
              <a:gd name="connsiteX61" fmla="*/ 1296300 w 5737264"/>
              <a:gd name="connsiteY61" fmla="*/ 1024932 h 1403084"/>
              <a:gd name="connsiteX62" fmla="*/ 1311373 w 5737264"/>
              <a:gd name="connsiteY62" fmla="*/ 1029956 h 1403084"/>
              <a:gd name="connsiteX63" fmla="*/ 1326446 w 5737264"/>
              <a:gd name="connsiteY63" fmla="*/ 1060101 h 1403084"/>
              <a:gd name="connsiteX64" fmla="*/ 1341518 w 5737264"/>
              <a:gd name="connsiteY64" fmla="*/ 1065125 h 1403084"/>
              <a:gd name="connsiteX65" fmla="*/ 1356591 w 5737264"/>
              <a:gd name="connsiteY65" fmla="*/ 1075173 h 1403084"/>
              <a:gd name="connsiteX66" fmla="*/ 1396784 w 5737264"/>
              <a:gd name="connsiteY66" fmla="*/ 1090246 h 1403084"/>
              <a:gd name="connsiteX67" fmla="*/ 1447026 w 5737264"/>
              <a:gd name="connsiteY67" fmla="*/ 1105319 h 1403084"/>
              <a:gd name="connsiteX68" fmla="*/ 1462098 w 5737264"/>
              <a:gd name="connsiteY68" fmla="*/ 1110343 h 1403084"/>
              <a:gd name="connsiteX69" fmla="*/ 1497267 w 5737264"/>
              <a:gd name="connsiteY69" fmla="*/ 1120391 h 1403084"/>
              <a:gd name="connsiteX70" fmla="*/ 1552533 w 5737264"/>
              <a:gd name="connsiteY70" fmla="*/ 1115367 h 1403084"/>
              <a:gd name="connsiteX71" fmla="*/ 1567606 w 5737264"/>
              <a:gd name="connsiteY71" fmla="*/ 1110343 h 1403084"/>
              <a:gd name="connsiteX72" fmla="*/ 1587703 w 5737264"/>
              <a:gd name="connsiteY72" fmla="*/ 1090246 h 1403084"/>
              <a:gd name="connsiteX73" fmla="*/ 1637944 w 5737264"/>
              <a:gd name="connsiteY73" fmla="*/ 1050053 h 1403084"/>
              <a:gd name="connsiteX74" fmla="*/ 1653017 w 5737264"/>
              <a:gd name="connsiteY74" fmla="*/ 1029956 h 1403084"/>
              <a:gd name="connsiteX75" fmla="*/ 1688186 w 5737264"/>
              <a:gd name="connsiteY75" fmla="*/ 1019908 h 1403084"/>
              <a:gd name="connsiteX76" fmla="*/ 1788670 w 5737264"/>
              <a:gd name="connsiteY76" fmla="*/ 1029956 h 1403084"/>
              <a:gd name="connsiteX77" fmla="*/ 1818815 w 5737264"/>
              <a:gd name="connsiteY77" fmla="*/ 1040004 h 1403084"/>
              <a:gd name="connsiteX78" fmla="*/ 1853984 w 5737264"/>
              <a:gd name="connsiteY78" fmla="*/ 1050053 h 1403084"/>
              <a:gd name="connsiteX79" fmla="*/ 1869056 w 5737264"/>
              <a:gd name="connsiteY79" fmla="*/ 1060101 h 1403084"/>
              <a:gd name="connsiteX80" fmla="*/ 1894177 w 5737264"/>
              <a:gd name="connsiteY80" fmla="*/ 1065125 h 1403084"/>
              <a:gd name="connsiteX81" fmla="*/ 1949443 w 5737264"/>
              <a:gd name="connsiteY81" fmla="*/ 1085222 h 1403084"/>
              <a:gd name="connsiteX82" fmla="*/ 1969540 w 5737264"/>
              <a:gd name="connsiteY82" fmla="*/ 1090246 h 1403084"/>
              <a:gd name="connsiteX83" fmla="*/ 2014758 w 5737264"/>
              <a:gd name="connsiteY83" fmla="*/ 1110343 h 1403084"/>
              <a:gd name="connsiteX84" fmla="*/ 2039878 w 5737264"/>
              <a:gd name="connsiteY84" fmla="*/ 1125415 h 1403084"/>
              <a:gd name="connsiteX85" fmla="*/ 2120265 w 5737264"/>
              <a:gd name="connsiteY85" fmla="*/ 1120391 h 1403084"/>
              <a:gd name="connsiteX86" fmla="*/ 2130314 w 5737264"/>
              <a:gd name="connsiteY86" fmla="*/ 1110343 h 1403084"/>
              <a:gd name="connsiteX87" fmla="*/ 2155435 w 5737264"/>
              <a:gd name="connsiteY87" fmla="*/ 1100294 h 1403084"/>
              <a:gd name="connsiteX88" fmla="*/ 2190604 w 5737264"/>
              <a:gd name="connsiteY88" fmla="*/ 1070149 h 1403084"/>
              <a:gd name="connsiteX89" fmla="*/ 2230797 w 5737264"/>
              <a:gd name="connsiteY89" fmla="*/ 1040004 h 1403084"/>
              <a:gd name="connsiteX90" fmla="*/ 2245870 w 5737264"/>
              <a:gd name="connsiteY90" fmla="*/ 1034980 h 1403084"/>
              <a:gd name="connsiteX91" fmla="*/ 2270991 w 5737264"/>
              <a:gd name="connsiteY91" fmla="*/ 1019908 h 1403084"/>
              <a:gd name="connsiteX92" fmla="*/ 2301136 w 5737264"/>
              <a:gd name="connsiteY92" fmla="*/ 994787 h 1403084"/>
              <a:gd name="connsiteX93" fmla="*/ 2316208 w 5737264"/>
              <a:gd name="connsiteY93" fmla="*/ 989763 h 1403084"/>
              <a:gd name="connsiteX94" fmla="*/ 2396595 w 5737264"/>
              <a:gd name="connsiteY94" fmla="*/ 984738 h 1403084"/>
              <a:gd name="connsiteX95" fmla="*/ 2426740 w 5737264"/>
              <a:gd name="connsiteY95" fmla="*/ 989763 h 1403084"/>
              <a:gd name="connsiteX96" fmla="*/ 2461909 w 5737264"/>
              <a:gd name="connsiteY96" fmla="*/ 1024932 h 1403084"/>
              <a:gd name="connsiteX97" fmla="*/ 2476982 w 5737264"/>
              <a:gd name="connsiteY97" fmla="*/ 1029956 h 1403084"/>
              <a:gd name="connsiteX98" fmla="*/ 2487030 w 5737264"/>
              <a:gd name="connsiteY98" fmla="*/ 1045028 h 1403084"/>
              <a:gd name="connsiteX99" fmla="*/ 2497078 w 5737264"/>
              <a:gd name="connsiteY99" fmla="*/ 1055077 h 1403084"/>
              <a:gd name="connsiteX100" fmla="*/ 2532248 w 5737264"/>
              <a:gd name="connsiteY100" fmla="*/ 1095270 h 1403084"/>
              <a:gd name="connsiteX101" fmla="*/ 2567417 w 5737264"/>
              <a:gd name="connsiteY101" fmla="*/ 1135464 h 1403084"/>
              <a:gd name="connsiteX102" fmla="*/ 2582489 w 5737264"/>
              <a:gd name="connsiteY102" fmla="*/ 1145512 h 1403084"/>
              <a:gd name="connsiteX103" fmla="*/ 2622683 w 5737264"/>
              <a:gd name="connsiteY103" fmla="*/ 1170633 h 1403084"/>
              <a:gd name="connsiteX104" fmla="*/ 2657852 w 5737264"/>
              <a:gd name="connsiteY104" fmla="*/ 1160584 h 1403084"/>
              <a:gd name="connsiteX105" fmla="*/ 2682973 w 5737264"/>
              <a:gd name="connsiteY105" fmla="*/ 1145512 h 1403084"/>
              <a:gd name="connsiteX106" fmla="*/ 2713118 w 5737264"/>
              <a:gd name="connsiteY106" fmla="*/ 1130439 h 1403084"/>
              <a:gd name="connsiteX107" fmla="*/ 2728191 w 5737264"/>
              <a:gd name="connsiteY107" fmla="*/ 1120391 h 1403084"/>
              <a:gd name="connsiteX108" fmla="*/ 2748287 w 5737264"/>
              <a:gd name="connsiteY108" fmla="*/ 1115367 h 1403084"/>
              <a:gd name="connsiteX109" fmla="*/ 2778432 w 5737264"/>
              <a:gd name="connsiteY109" fmla="*/ 1105319 h 1403084"/>
              <a:gd name="connsiteX110" fmla="*/ 2868867 w 5737264"/>
              <a:gd name="connsiteY110" fmla="*/ 1075173 h 1403084"/>
              <a:gd name="connsiteX111" fmla="*/ 2893988 w 5737264"/>
              <a:gd name="connsiteY111" fmla="*/ 1070149 h 1403084"/>
              <a:gd name="connsiteX112" fmla="*/ 2919109 w 5737264"/>
              <a:gd name="connsiteY112" fmla="*/ 1075173 h 1403084"/>
              <a:gd name="connsiteX113" fmla="*/ 2934182 w 5737264"/>
              <a:gd name="connsiteY113" fmla="*/ 1080198 h 1403084"/>
              <a:gd name="connsiteX114" fmla="*/ 2944230 w 5737264"/>
              <a:gd name="connsiteY114" fmla="*/ 1110343 h 1403084"/>
              <a:gd name="connsiteX115" fmla="*/ 2959303 w 5737264"/>
              <a:gd name="connsiteY115" fmla="*/ 1125415 h 1403084"/>
              <a:gd name="connsiteX116" fmla="*/ 2979399 w 5737264"/>
              <a:gd name="connsiteY116" fmla="*/ 1155560 h 1403084"/>
              <a:gd name="connsiteX117" fmla="*/ 2994472 w 5737264"/>
              <a:gd name="connsiteY117" fmla="*/ 1160584 h 1403084"/>
              <a:gd name="connsiteX118" fmla="*/ 3014569 w 5737264"/>
              <a:gd name="connsiteY118" fmla="*/ 1180681 h 1403084"/>
              <a:gd name="connsiteX119" fmla="*/ 3024617 w 5737264"/>
              <a:gd name="connsiteY119" fmla="*/ 1190730 h 1403084"/>
              <a:gd name="connsiteX120" fmla="*/ 3069835 w 5737264"/>
              <a:gd name="connsiteY120" fmla="*/ 1215850 h 1403084"/>
              <a:gd name="connsiteX121" fmla="*/ 3079883 w 5737264"/>
              <a:gd name="connsiteY121" fmla="*/ 1225899 h 1403084"/>
              <a:gd name="connsiteX122" fmla="*/ 3099980 w 5737264"/>
              <a:gd name="connsiteY122" fmla="*/ 1230923 h 1403084"/>
              <a:gd name="connsiteX123" fmla="*/ 3130125 w 5737264"/>
              <a:gd name="connsiteY123" fmla="*/ 1240971 h 1403084"/>
              <a:gd name="connsiteX124" fmla="*/ 3018441 w 5737264"/>
              <a:gd name="connsiteY124" fmla="*/ 1402635 h 1403084"/>
              <a:gd name="connsiteX125" fmla="*/ 3229535 w 5737264"/>
              <a:gd name="connsiteY125" fmla="*/ 1178561 h 1403084"/>
              <a:gd name="connsiteX126" fmla="*/ 3281634 w 5737264"/>
              <a:gd name="connsiteY126" fmla="*/ 1153440 h 1403084"/>
              <a:gd name="connsiteX127" fmla="*/ 3310995 w 5737264"/>
              <a:gd name="connsiteY127" fmla="*/ 1145512 h 1403084"/>
              <a:gd name="connsiteX128" fmla="*/ 3351188 w 5737264"/>
              <a:gd name="connsiteY128" fmla="*/ 1140488 h 1403084"/>
              <a:gd name="connsiteX129" fmla="*/ 3406454 w 5737264"/>
              <a:gd name="connsiteY129" fmla="*/ 1155560 h 1403084"/>
              <a:gd name="connsiteX130" fmla="*/ 3426551 w 5737264"/>
              <a:gd name="connsiteY130" fmla="*/ 1165609 h 1403084"/>
              <a:gd name="connsiteX131" fmla="*/ 3441624 w 5737264"/>
              <a:gd name="connsiteY131" fmla="*/ 1175657 h 1403084"/>
              <a:gd name="connsiteX132" fmla="*/ 3456696 w 5737264"/>
              <a:gd name="connsiteY132" fmla="*/ 1180681 h 1403084"/>
              <a:gd name="connsiteX133" fmla="*/ 3466744 w 5737264"/>
              <a:gd name="connsiteY133" fmla="*/ 1195754 h 1403084"/>
              <a:gd name="connsiteX134" fmla="*/ 3527035 w 5737264"/>
              <a:gd name="connsiteY134" fmla="*/ 1200778 h 1403084"/>
              <a:gd name="connsiteX135" fmla="*/ 3542107 w 5737264"/>
              <a:gd name="connsiteY135" fmla="*/ 1190730 h 1403084"/>
              <a:gd name="connsiteX136" fmla="*/ 3567228 w 5737264"/>
              <a:gd name="connsiteY136" fmla="*/ 1180681 h 1403084"/>
              <a:gd name="connsiteX137" fmla="*/ 3587325 w 5737264"/>
              <a:gd name="connsiteY137" fmla="*/ 1150536 h 1403084"/>
              <a:gd name="connsiteX138" fmla="*/ 3617470 w 5737264"/>
              <a:gd name="connsiteY138" fmla="*/ 1125415 h 1403084"/>
              <a:gd name="connsiteX139" fmla="*/ 3632542 w 5737264"/>
              <a:gd name="connsiteY139" fmla="*/ 1105319 h 1403084"/>
              <a:gd name="connsiteX140" fmla="*/ 3662687 w 5737264"/>
              <a:gd name="connsiteY140" fmla="*/ 1085222 h 1403084"/>
              <a:gd name="connsiteX141" fmla="*/ 3697856 w 5737264"/>
              <a:gd name="connsiteY141" fmla="*/ 1070149 h 1403084"/>
              <a:gd name="connsiteX142" fmla="*/ 3707905 w 5737264"/>
              <a:gd name="connsiteY142" fmla="*/ 1060101 h 1403084"/>
              <a:gd name="connsiteX143" fmla="*/ 3743074 w 5737264"/>
              <a:gd name="connsiteY143" fmla="*/ 1047148 h 1403084"/>
              <a:gd name="connsiteX144" fmla="*/ 3799125 w 5737264"/>
              <a:gd name="connsiteY144" fmla="*/ 1043982 h 1403084"/>
              <a:gd name="connsiteX145" fmla="*/ 3859651 w 5737264"/>
              <a:gd name="connsiteY145" fmla="*/ 1072033 h 1403084"/>
              <a:gd name="connsiteX146" fmla="*/ 3902226 w 5737264"/>
              <a:gd name="connsiteY146" fmla="*/ 1101367 h 1403084"/>
              <a:gd name="connsiteX147" fmla="*/ 3958041 w 5737264"/>
              <a:gd name="connsiteY147" fmla="*/ 1142346 h 1403084"/>
              <a:gd name="connsiteX148" fmla="*/ 4019404 w 5737264"/>
              <a:gd name="connsiteY148" fmla="*/ 1165609 h 1403084"/>
              <a:gd name="connsiteX149" fmla="*/ 4064621 w 5737264"/>
              <a:gd name="connsiteY149" fmla="*/ 1150536 h 1403084"/>
              <a:gd name="connsiteX150" fmla="*/ 4079694 w 5737264"/>
              <a:gd name="connsiteY150" fmla="*/ 1125415 h 1403084"/>
              <a:gd name="connsiteX151" fmla="*/ 4099791 w 5737264"/>
              <a:gd name="connsiteY151" fmla="*/ 1105319 h 1403084"/>
              <a:gd name="connsiteX152" fmla="*/ 4129936 w 5737264"/>
              <a:gd name="connsiteY152" fmla="*/ 1075173 h 1403084"/>
              <a:gd name="connsiteX153" fmla="*/ 4150032 w 5737264"/>
              <a:gd name="connsiteY153" fmla="*/ 1040004 h 1403084"/>
              <a:gd name="connsiteX154" fmla="*/ 4160081 w 5737264"/>
              <a:gd name="connsiteY154" fmla="*/ 1019908 h 1403084"/>
              <a:gd name="connsiteX155" fmla="*/ 4165105 w 5737264"/>
              <a:gd name="connsiteY155" fmla="*/ 1004835 h 1403084"/>
              <a:gd name="connsiteX156" fmla="*/ 4185202 w 5737264"/>
              <a:gd name="connsiteY156" fmla="*/ 984738 h 1403084"/>
              <a:gd name="connsiteX157" fmla="*/ 4200274 w 5737264"/>
              <a:gd name="connsiteY157" fmla="*/ 979714 h 1403084"/>
              <a:gd name="connsiteX158" fmla="*/ 4235443 w 5737264"/>
              <a:gd name="connsiteY158" fmla="*/ 954593 h 1403084"/>
              <a:gd name="connsiteX159" fmla="*/ 4275637 w 5737264"/>
              <a:gd name="connsiteY159" fmla="*/ 934497 h 1403084"/>
              <a:gd name="connsiteX160" fmla="*/ 4310806 w 5737264"/>
              <a:gd name="connsiteY160" fmla="*/ 914400 h 1403084"/>
              <a:gd name="connsiteX161" fmla="*/ 4325878 w 5737264"/>
              <a:gd name="connsiteY161" fmla="*/ 904352 h 1403084"/>
              <a:gd name="connsiteX162" fmla="*/ 4362094 w 5737264"/>
              <a:gd name="connsiteY162" fmla="*/ 909114 h 1403084"/>
              <a:gd name="connsiteX163" fmla="*/ 4417099 w 5737264"/>
              <a:gd name="connsiteY163" fmla="*/ 946141 h 1403084"/>
              <a:gd name="connsiteX164" fmla="*/ 4462316 w 5737264"/>
              <a:gd name="connsiteY164" fmla="*/ 1006955 h 1403084"/>
              <a:gd name="connsiteX165" fmla="*/ 4531320 w 5737264"/>
              <a:gd name="connsiteY165" fmla="*/ 1037650 h 1403084"/>
              <a:gd name="connsiteX166" fmla="*/ 4597184 w 5737264"/>
              <a:gd name="connsiteY166" fmla="*/ 969666 h 1403084"/>
              <a:gd name="connsiteX167" fmla="*/ 4617281 w 5737264"/>
              <a:gd name="connsiteY167" fmla="*/ 959617 h 1403084"/>
              <a:gd name="connsiteX168" fmla="*/ 4632353 w 5737264"/>
              <a:gd name="connsiteY168" fmla="*/ 944545 h 1403084"/>
              <a:gd name="connsiteX169" fmla="*/ 4652450 w 5737264"/>
              <a:gd name="connsiteY169" fmla="*/ 934497 h 1403084"/>
              <a:gd name="connsiteX170" fmla="*/ 4672547 w 5737264"/>
              <a:gd name="connsiteY170" fmla="*/ 919424 h 1403084"/>
              <a:gd name="connsiteX171" fmla="*/ 4737861 w 5737264"/>
              <a:gd name="connsiteY171" fmla="*/ 884255 h 1403084"/>
              <a:gd name="connsiteX172" fmla="*/ 4762982 w 5737264"/>
              <a:gd name="connsiteY172" fmla="*/ 879231 h 1403084"/>
              <a:gd name="connsiteX173" fmla="*/ 4778054 w 5737264"/>
              <a:gd name="connsiteY173" fmla="*/ 874206 h 1403084"/>
              <a:gd name="connsiteX174" fmla="*/ 4819294 w 5737264"/>
              <a:gd name="connsiteY174" fmla="*/ 873944 h 1403084"/>
              <a:gd name="connsiteX175" fmla="*/ 4877465 w 5737264"/>
              <a:gd name="connsiteY175" fmla="*/ 895638 h 1403084"/>
              <a:gd name="connsiteX176" fmla="*/ 4935347 w 5737264"/>
              <a:gd name="connsiteY176" fmla="*/ 934523 h 1403084"/>
              <a:gd name="connsiteX177" fmla="*/ 4995402 w 5737264"/>
              <a:gd name="connsiteY177" fmla="*/ 1006746 h 1403084"/>
              <a:gd name="connsiteX178" fmla="*/ 5024762 w 5737264"/>
              <a:gd name="connsiteY178" fmla="*/ 1051963 h 1403084"/>
              <a:gd name="connsiteX179" fmla="*/ 5092223 w 5737264"/>
              <a:gd name="connsiteY179" fmla="*/ 1016506 h 1403084"/>
              <a:gd name="connsiteX180" fmla="*/ 5144322 w 5737264"/>
              <a:gd name="connsiteY180" fmla="*/ 948261 h 1403084"/>
              <a:gd name="connsiteX181" fmla="*/ 5189252 w 5737264"/>
              <a:gd name="connsiteY181" fmla="*/ 886112 h 1403084"/>
              <a:gd name="connsiteX182" fmla="*/ 5226279 w 5737264"/>
              <a:gd name="connsiteY182" fmla="*/ 856230 h 1403084"/>
              <a:gd name="connsiteX183" fmla="*/ 5260637 w 5737264"/>
              <a:gd name="connsiteY183" fmla="*/ 822918 h 1403084"/>
              <a:gd name="connsiteX184" fmla="*/ 5295282 w 5737264"/>
              <a:gd name="connsiteY184" fmla="*/ 800440 h 1403084"/>
              <a:gd name="connsiteX185" fmla="*/ 5334430 w 5737264"/>
              <a:gd name="connsiteY185" fmla="*/ 794893 h 1403084"/>
              <a:gd name="connsiteX186" fmla="*/ 5412174 w 5737264"/>
              <a:gd name="connsiteY186" fmla="*/ 824252 h 1403084"/>
              <a:gd name="connsiteX187" fmla="*/ 5431197 w 5737264"/>
              <a:gd name="connsiteY187" fmla="*/ 768699 h 1403084"/>
              <a:gd name="connsiteX188" fmla="*/ 5441246 w 5737264"/>
              <a:gd name="connsiteY188" fmla="*/ 753626 h 1403084"/>
              <a:gd name="connsiteX189" fmla="*/ 5456318 w 5737264"/>
              <a:gd name="connsiteY189" fmla="*/ 708409 h 1403084"/>
              <a:gd name="connsiteX190" fmla="*/ 5466366 w 5737264"/>
              <a:gd name="connsiteY190" fmla="*/ 683288 h 1403084"/>
              <a:gd name="connsiteX191" fmla="*/ 5476415 w 5737264"/>
              <a:gd name="connsiteY191" fmla="*/ 643094 h 1403084"/>
              <a:gd name="connsiteX192" fmla="*/ 5491487 w 5737264"/>
              <a:gd name="connsiteY192" fmla="*/ 617973 h 1403084"/>
              <a:gd name="connsiteX193" fmla="*/ 5506560 w 5737264"/>
              <a:gd name="connsiteY193" fmla="*/ 572756 h 1403084"/>
              <a:gd name="connsiteX194" fmla="*/ 5526656 w 5737264"/>
              <a:gd name="connsiteY194" fmla="*/ 522514 h 1403084"/>
              <a:gd name="connsiteX195" fmla="*/ 5546753 w 5737264"/>
              <a:gd name="connsiteY195" fmla="*/ 467248 h 1403084"/>
              <a:gd name="connsiteX196" fmla="*/ 5556802 w 5737264"/>
              <a:gd name="connsiteY196" fmla="*/ 411982 h 1403084"/>
              <a:gd name="connsiteX197" fmla="*/ 5566850 w 5737264"/>
              <a:gd name="connsiteY197" fmla="*/ 381837 h 1403084"/>
              <a:gd name="connsiteX198" fmla="*/ 5576898 w 5737264"/>
              <a:gd name="connsiteY198" fmla="*/ 356716 h 1403084"/>
              <a:gd name="connsiteX199" fmla="*/ 5596995 w 5737264"/>
              <a:gd name="connsiteY199" fmla="*/ 316523 h 1403084"/>
              <a:gd name="connsiteX200" fmla="*/ 5617092 w 5737264"/>
              <a:gd name="connsiteY200" fmla="*/ 246184 h 1403084"/>
              <a:gd name="connsiteX201" fmla="*/ 5622116 w 5737264"/>
              <a:gd name="connsiteY201" fmla="*/ 226088 h 1403084"/>
              <a:gd name="connsiteX202" fmla="*/ 5632164 w 5737264"/>
              <a:gd name="connsiteY202" fmla="*/ 216039 h 1403084"/>
              <a:gd name="connsiteX203" fmla="*/ 5637188 w 5737264"/>
              <a:gd name="connsiteY203" fmla="*/ 200967 h 1403084"/>
              <a:gd name="connsiteX204" fmla="*/ 5651738 w 5737264"/>
              <a:gd name="connsiteY204" fmla="*/ 190395 h 1403084"/>
              <a:gd name="connsiteX205" fmla="*/ 5673692 w 5737264"/>
              <a:gd name="connsiteY205" fmla="*/ 153892 h 1403084"/>
              <a:gd name="connsiteX206" fmla="*/ 5726602 w 5737264"/>
              <a:gd name="connsiteY206" fmla="*/ 89362 h 1403084"/>
              <a:gd name="connsiteX207" fmla="*/ 5728722 w 5737264"/>
              <a:gd name="connsiteY207" fmla="*/ 42287 h 1403084"/>
              <a:gd name="connsiteX208" fmla="*/ 5634284 w 5737264"/>
              <a:gd name="connsiteY208" fmla="*/ 25357 h 1403084"/>
              <a:gd name="connsiteX209" fmla="*/ 5536940 w 5737264"/>
              <a:gd name="connsiteY209" fmla="*/ 27214 h 1403084"/>
              <a:gd name="connsiteX210" fmla="*/ 5470369 w 5737264"/>
              <a:gd name="connsiteY210" fmla="*/ 39381 h 1403084"/>
              <a:gd name="connsiteX211" fmla="*/ 5379124 w 5737264"/>
              <a:gd name="connsiteY211" fmla="*/ 39644 h 1403084"/>
              <a:gd name="connsiteX212" fmla="*/ 5309282 w 5737264"/>
              <a:gd name="connsiteY212" fmla="*/ 42287 h 1403084"/>
              <a:gd name="connsiteX213" fmla="*/ 5238682 w 5737264"/>
              <a:gd name="connsiteY213" fmla="*/ 54455 h 1403084"/>
              <a:gd name="connsiteX214" fmla="*/ 5108892 w 5737264"/>
              <a:gd name="connsiteY214" fmla="*/ 37524 h 1403084"/>
              <a:gd name="connsiteX215" fmla="*/ 5020026 w 5737264"/>
              <a:gd name="connsiteY215" fmla="*/ 39120 h 1403084"/>
              <a:gd name="connsiteX216" fmla="*/ 4946233 w 5737264"/>
              <a:gd name="connsiteY216" fmla="*/ 41240 h 1403084"/>
              <a:gd name="connsiteX217" fmla="*/ 4823272 w 5737264"/>
              <a:gd name="connsiteY217" fmla="*/ 50242 h 1403084"/>
              <a:gd name="connsiteX218" fmla="*/ 4727577 w 5737264"/>
              <a:gd name="connsiteY218" fmla="*/ 29073 h 1403084"/>
              <a:gd name="connsiteX219" fmla="*/ 4628376 w 5737264"/>
              <a:gd name="connsiteY219" fmla="*/ 41240 h 1403084"/>
              <a:gd name="connsiteX220" fmla="*/ 4565180 w 5737264"/>
              <a:gd name="connsiteY220" fmla="*/ 46264 h 1403084"/>
              <a:gd name="connsiteX221" fmla="*/ 4417596 w 5737264"/>
              <a:gd name="connsiteY221" fmla="*/ 44406 h 1403084"/>
              <a:gd name="connsiteX222" fmla="*/ 4139984 w 5737264"/>
              <a:gd name="connsiteY222" fmla="*/ 60290 h 1403084"/>
              <a:gd name="connsiteX223" fmla="*/ 3918920 w 5737264"/>
              <a:gd name="connsiteY223" fmla="*/ 50242 h 1403084"/>
              <a:gd name="connsiteX224" fmla="*/ 3873703 w 5737264"/>
              <a:gd name="connsiteY224" fmla="*/ 45217 h 1403084"/>
              <a:gd name="connsiteX225" fmla="*/ 3687808 w 5737264"/>
              <a:gd name="connsiteY225" fmla="*/ 40193 h 1403084"/>
              <a:gd name="connsiteX226" fmla="*/ 3662687 w 5737264"/>
              <a:gd name="connsiteY226" fmla="*/ 35169 h 1403084"/>
              <a:gd name="connsiteX227" fmla="*/ 3627518 w 5737264"/>
              <a:gd name="connsiteY227" fmla="*/ 25121 h 1403084"/>
              <a:gd name="connsiteX228" fmla="*/ 3547131 w 5737264"/>
              <a:gd name="connsiteY228" fmla="*/ 20097 h 1403084"/>
              <a:gd name="connsiteX229" fmla="*/ 3310995 w 5737264"/>
              <a:gd name="connsiteY229" fmla="*/ 25121 h 1403084"/>
              <a:gd name="connsiteX230" fmla="*/ 3265777 w 5737264"/>
              <a:gd name="connsiteY230" fmla="*/ 30145 h 1403084"/>
              <a:gd name="connsiteX231" fmla="*/ 3175342 w 5737264"/>
              <a:gd name="connsiteY231" fmla="*/ 35169 h 1403084"/>
              <a:gd name="connsiteX232" fmla="*/ 2582489 w 5737264"/>
              <a:gd name="connsiteY232" fmla="*/ 45217 h 1403084"/>
              <a:gd name="connsiteX233" fmla="*/ 2255918 w 5737264"/>
              <a:gd name="connsiteY233" fmla="*/ 40193 h 1403084"/>
              <a:gd name="connsiteX234" fmla="*/ 1974564 w 5737264"/>
              <a:gd name="connsiteY234" fmla="*/ 30145 h 1403084"/>
              <a:gd name="connsiteX235" fmla="*/ 1944419 w 5737264"/>
              <a:gd name="connsiteY235" fmla="*/ 25121 h 1403084"/>
              <a:gd name="connsiteX236" fmla="*/ 1848960 w 5737264"/>
              <a:gd name="connsiteY236" fmla="*/ 20097 h 1403084"/>
              <a:gd name="connsiteX237" fmla="*/ 1768573 w 5737264"/>
              <a:gd name="connsiteY237" fmla="*/ 10048 h 1403084"/>
              <a:gd name="connsiteX238" fmla="*/ 1502292 w 5737264"/>
              <a:gd name="connsiteY238" fmla="*/ 20097 h 1403084"/>
              <a:gd name="connsiteX239" fmla="*/ 1467122 w 5737264"/>
              <a:gd name="connsiteY239" fmla="*/ 25121 h 1403084"/>
              <a:gd name="connsiteX240" fmla="*/ 1426929 w 5737264"/>
              <a:gd name="connsiteY240" fmla="*/ 30145 h 1403084"/>
              <a:gd name="connsiteX241" fmla="*/ 1341518 w 5737264"/>
              <a:gd name="connsiteY241" fmla="*/ 45217 h 1403084"/>
              <a:gd name="connsiteX242" fmla="*/ 1095333 w 5737264"/>
              <a:gd name="connsiteY242" fmla="*/ 35169 h 1403084"/>
              <a:gd name="connsiteX243" fmla="*/ 979777 w 5737264"/>
              <a:gd name="connsiteY243" fmla="*/ 20097 h 1403084"/>
              <a:gd name="connsiteX244" fmla="*/ 939584 w 5737264"/>
              <a:gd name="connsiteY244" fmla="*/ 10048 h 1403084"/>
              <a:gd name="connsiteX245" fmla="*/ 813980 w 5737264"/>
              <a:gd name="connsiteY245" fmla="*/ 0 h 1403084"/>
              <a:gd name="connsiteX246" fmla="*/ 743641 w 5737264"/>
              <a:gd name="connsiteY246" fmla="*/ 5024 h 1403084"/>
              <a:gd name="connsiteX247" fmla="*/ 582867 w 5737264"/>
              <a:gd name="connsiteY247" fmla="*/ 15072 h 1403084"/>
              <a:gd name="connsiteX248" fmla="*/ 432142 w 5737264"/>
              <a:gd name="connsiteY248" fmla="*/ 5024 h 1403084"/>
              <a:gd name="connsiteX249" fmla="*/ 412046 w 5737264"/>
              <a:gd name="connsiteY249" fmla="*/ 0 h 1403084"/>
              <a:gd name="connsiteX250" fmla="*/ 281417 w 5737264"/>
              <a:gd name="connsiteY250" fmla="*/ 10048 h 1403084"/>
              <a:gd name="connsiteX251" fmla="*/ 261320 w 5737264"/>
              <a:gd name="connsiteY251" fmla="*/ 15072 h 1403084"/>
              <a:gd name="connsiteX252" fmla="*/ 100547 w 5737264"/>
              <a:gd name="connsiteY252" fmla="*/ 20097 h 1403084"/>
              <a:gd name="connsiteX253" fmla="*/ 5087 w 5737264"/>
              <a:gd name="connsiteY253" fmla="*/ 30145 h 1403084"/>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79883 w 5737264"/>
              <a:gd name="connsiteY121" fmla="*/ 1225899 h 1240971"/>
              <a:gd name="connsiteX122" fmla="*/ 3099980 w 5737264"/>
              <a:gd name="connsiteY122" fmla="*/ 1230923 h 1240971"/>
              <a:gd name="connsiteX123" fmla="*/ 3130125 w 5737264"/>
              <a:gd name="connsiteY123" fmla="*/ 1240971 h 1240971"/>
              <a:gd name="connsiteX124" fmla="*/ 3177985 w 5737264"/>
              <a:gd name="connsiteY124" fmla="*/ 1207372 h 1240971"/>
              <a:gd name="connsiteX125" fmla="*/ 3229535 w 5737264"/>
              <a:gd name="connsiteY125" fmla="*/ 1178561 h 1240971"/>
              <a:gd name="connsiteX126" fmla="*/ 3281634 w 5737264"/>
              <a:gd name="connsiteY126" fmla="*/ 1153440 h 1240971"/>
              <a:gd name="connsiteX127" fmla="*/ 3310995 w 5737264"/>
              <a:gd name="connsiteY127" fmla="*/ 1145512 h 1240971"/>
              <a:gd name="connsiteX128" fmla="*/ 3351188 w 5737264"/>
              <a:gd name="connsiteY128" fmla="*/ 1140488 h 1240971"/>
              <a:gd name="connsiteX129" fmla="*/ 3406454 w 5737264"/>
              <a:gd name="connsiteY129" fmla="*/ 1155560 h 1240971"/>
              <a:gd name="connsiteX130" fmla="*/ 3426551 w 5737264"/>
              <a:gd name="connsiteY130" fmla="*/ 1165609 h 1240971"/>
              <a:gd name="connsiteX131" fmla="*/ 3441624 w 5737264"/>
              <a:gd name="connsiteY131" fmla="*/ 1175657 h 1240971"/>
              <a:gd name="connsiteX132" fmla="*/ 3456696 w 5737264"/>
              <a:gd name="connsiteY132" fmla="*/ 1180681 h 1240971"/>
              <a:gd name="connsiteX133" fmla="*/ 3466744 w 5737264"/>
              <a:gd name="connsiteY133" fmla="*/ 1195754 h 1240971"/>
              <a:gd name="connsiteX134" fmla="*/ 3527035 w 5737264"/>
              <a:gd name="connsiteY134" fmla="*/ 1200778 h 1240971"/>
              <a:gd name="connsiteX135" fmla="*/ 3542107 w 5737264"/>
              <a:gd name="connsiteY135" fmla="*/ 1190730 h 1240971"/>
              <a:gd name="connsiteX136" fmla="*/ 3567228 w 5737264"/>
              <a:gd name="connsiteY136" fmla="*/ 1180681 h 1240971"/>
              <a:gd name="connsiteX137" fmla="*/ 3587325 w 5737264"/>
              <a:gd name="connsiteY137" fmla="*/ 1150536 h 1240971"/>
              <a:gd name="connsiteX138" fmla="*/ 3617470 w 5737264"/>
              <a:gd name="connsiteY138" fmla="*/ 1125415 h 1240971"/>
              <a:gd name="connsiteX139" fmla="*/ 3632542 w 5737264"/>
              <a:gd name="connsiteY139" fmla="*/ 1105319 h 1240971"/>
              <a:gd name="connsiteX140" fmla="*/ 3662687 w 5737264"/>
              <a:gd name="connsiteY140" fmla="*/ 1085222 h 1240971"/>
              <a:gd name="connsiteX141" fmla="*/ 3697856 w 5737264"/>
              <a:gd name="connsiteY141" fmla="*/ 1070149 h 1240971"/>
              <a:gd name="connsiteX142" fmla="*/ 3707905 w 5737264"/>
              <a:gd name="connsiteY142" fmla="*/ 1060101 h 1240971"/>
              <a:gd name="connsiteX143" fmla="*/ 3743074 w 5737264"/>
              <a:gd name="connsiteY143" fmla="*/ 1047148 h 1240971"/>
              <a:gd name="connsiteX144" fmla="*/ 3799125 w 5737264"/>
              <a:gd name="connsiteY144" fmla="*/ 1043982 h 1240971"/>
              <a:gd name="connsiteX145" fmla="*/ 3859651 w 5737264"/>
              <a:gd name="connsiteY145" fmla="*/ 1072033 h 1240971"/>
              <a:gd name="connsiteX146" fmla="*/ 3902226 w 5737264"/>
              <a:gd name="connsiteY146" fmla="*/ 1101367 h 1240971"/>
              <a:gd name="connsiteX147" fmla="*/ 3958041 w 5737264"/>
              <a:gd name="connsiteY147" fmla="*/ 1142346 h 1240971"/>
              <a:gd name="connsiteX148" fmla="*/ 4019404 w 5737264"/>
              <a:gd name="connsiteY148" fmla="*/ 1165609 h 1240971"/>
              <a:gd name="connsiteX149" fmla="*/ 4064621 w 5737264"/>
              <a:gd name="connsiteY149" fmla="*/ 1150536 h 1240971"/>
              <a:gd name="connsiteX150" fmla="*/ 4079694 w 5737264"/>
              <a:gd name="connsiteY150" fmla="*/ 1125415 h 1240971"/>
              <a:gd name="connsiteX151" fmla="*/ 4099791 w 5737264"/>
              <a:gd name="connsiteY151" fmla="*/ 1105319 h 1240971"/>
              <a:gd name="connsiteX152" fmla="*/ 4129936 w 5737264"/>
              <a:gd name="connsiteY152" fmla="*/ 1075173 h 1240971"/>
              <a:gd name="connsiteX153" fmla="*/ 4150032 w 5737264"/>
              <a:gd name="connsiteY153" fmla="*/ 1040004 h 1240971"/>
              <a:gd name="connsiteX154" fmla="*/ 4160081 w 5737264"/>
              <a:gd name="connsiteY154" fmla="*/ 1019908 h 1240971"/>
              <a:gd name="connsiteX155" fmla="*/ 4165105 w 5737264"/>
              <a:gd name="connsiteY155" fmla="*/ 1004835 h 1240971"/>
              <a:gd name="connsiteX156" fmla="*/ 4185202 w 5737264"/>
              <a:gd name="connsiteY156" fmla="*/ 984738 h 1240971"/>
              <a:gd name="connsiteX157" fmla="*/ 4200274 w 5737264"/>
              <a:gd name="connsiteY157" fmla="*/ 979714 h 1240971"/>
              <a:gd name="connsiteX158" fmla="*/ 4235443 w 5737264"/>
              <a:gd name="connsiteY158" fmla="*/ 954593 h 1240971"/>
              <a:gd name="connsiteX159" fmla="*/ 4275637 w 5737264"/>
              <a:gd name="connsiteY159" fmla="*/ 934497 h 1240971"/>
              <a:gd name="connsiteX160" fmla="*/ 4310806 w 5737264"/>
              <a:gd name="connsiteY160" fmla="*/ 914400 h 1240971"/>
              <a:gd name="connsiteX161" fmla="*/ 4325878 w 5737264"/>
              <a:gd name="connsiteY161" fmla="*/ 904352 h 1240971"/>
              <a:gd name="connsiteX162" fmla="*/ 4362094 w 5737264"/>
              <a:gd name="connsiteY162" fmla="*/ 909114 h 1240971"/>
              <a:gd name="connsiteX163" fmla="*/ 4417099 w 5737264"/>
              <a:gd name="connsiteY163" fmla="*/ 946141 h 1240971"/>
              <a:gd name="connsiteX164" fmla="*/ 4462316 w 5737264"/>
              <a:gd name="connsiteY164" fmla="*/ 1006955 h 1240971"/>
              <a:gd name="connsiteX165" fmla="*/ 4531320 w 5737264"/>
              <a:gd name="connsiteY165" fmla="*/ 1037650 h 1240971"/>
              <a:gd name="connsiteX166" fmla="*/ 4597184 w 5737264"/>
              <a:gd name="connsiteY166" fmla="*/ 969666 h 1240971"/>
              <a:gd name="connsiteX167" fmla="*/ 4617281 w 5737264"/>
              <a:gd name="connsiteY167" fmla="*/ 959617 h 1240971"/>
              <a:gd name="connsiteX168" fmla="*/ 4632353 w 5737264"/>
              <a:gd name="connsiteY168" fmla="*/ 944545 h 1240971"/>
              <a:gd name="connsiteX169" fmla="*/ 4652450 w 5737264"/>
              <a:gd name="connsiteY169" fmla="*/ 934497 h 1240971"/>
              <a:gd name="connsiteX170" fmla="*/ 4672547 w 5737264"/>
              <a:gd name="connsiteY170" fmla="*/ 919424 h 1240971"/>
              <a:gd name="connsiteX171" fmla="*/ 4737861 w 5737264"/>
              <a:gd name="connsiteY171" fmla="*/ 884255 h 1240971"/>
              <a:gd name="connsiteX172" fmla="*/ 4762982 w 5737264"/>
              <a:gd name="connsiteY172" fmla="*/ 879231 h 1240971"/>
              <a:gd name="connsiteX173" fmla="*/ 4778054 w 5737264"/>
              <a:gd name="connsiteY173" fmla="*/ 874206 h 1240971"/>
              <a:gd name="connsiteX174" fmla="*/ 4819294 w 5737264"/>
              <a:gd name="connsiteY174" fmla="*/ 873944 h 1240971"/>
              <a:gd name="connsiteX175" fmla="*/ 4877465 w 5737264"/>
              <a:gd name="connsiteY175" fmla="*/ 895638 h 1240971"/>
              <a:gd name="connsiteX176" fmla="*/ 4935347 w 5737264"/>
              <a:gd name="connsiteY176" fmla="*/ 934523 h 1240971"/>
              <a:gd name="connsiteX177" fmla="*/ 4995402 w 5737264"/>
              <a:gd name="connsiteY177" fmla="*/ 1006746 h 1240971"/>
              <a:gd name="connsiteX178" fmla="*/ 5024762 w 5737264"/>
              <a:gd name="connsiteY178" fmla="*/ 1051963 h 1240971"/>
              <a:gd name="connsiteX179" fmla="*/ 5092223 w 5737264"/>
              <a:gd name="connsiteY179" fmla="*/ 1016506 h 1240971"/>
              <a:gd name="connsiteX180" fmla="*/ 5144322 w 5737264"/>
              <a:gd name="connsiteY180" fmla="*/ 948261 h 1240971"/>
              <a:gd name="connsiteX181" fmla="*/ 5189252 w 5737264"/>
              <a:gd name="connsiteY181" fmla="*/ 886112 h 1240971"/>
              <a:gd name="connsiteX182" fmla="*/ 5226279 w 5737264"/>
              <a:gd name="connsiteY182" fmla="*/ 856230 h 1240971"/>
              <a:gd name="connsiteX183" fmla="*/ 5260637 w 5737264"/>
              <a:gd name="connsiteY183" fmla="*/ 822918 h 1240971"/>
              <a:gd name="connsiteX184" fmla="*/ 5295282 w 5737264"/>
              <a:gd name="connsiteY184" fmla="*/ 800440 h 1240971"/>
              <a:gd name="connsiteX185" fmla="*/ 5334430 w 5737264"/>
              <a:gd name="connsiteY185" fmla="*/ 794893 h 1240971"/>
              <a:gd name="connsiteX186" fmla="*/ 5412174 w 5737264"/>
              <a:gd name="connsiteY186" fmla="*/ 824252 h 1240971"/>
              <a:gd name="connsiteX187" fmla="*/ 5431197 w 5737264"/>
              <a:gd name="connsiteY187" fmla="*/ 768699 h 1240971"/>
              <a:gd name="connsiteX188" fmla="*/ 5441246 w 5737264"/>
              <a:gd name="connsiteY188" fmla="*/ 753626 h 1240971"/>
              <a:gd name="connsiteX189" fmla="*/ 5456318 w 5737264"/>
              <a:gd name="connsiteY189" fmla="*/ 708409 h 1240971"/>
              <a:gd name="connsiteX190" fmla="*/ 5466366 w 5737264"/>
              <a:gd name="connsiteY190" fmla="*/ 683288 h 1240971"/>
              <a:gd name="connsiteX191" fmla="*/ 5476415 w 5737264"/>
              <a:gd name="connsiteY191" fmla="*/ 643094 h 1240971"/>
              <a:gd name="connsiteX192" fmla="*/ 5491487 w 5737264"/>
              <a:gd name="connsiteY192" fmla="*/ 617973 h 1240971"/>
              <a:gd name="connsiteX193" fmla="*/ 5506560 w 5737264"/>
              <a:gd name="connsiteY193" fmla="*/ 572756 h 1240971"/>
              <a:gd name="connsiteX194" fmla="*/ 5526656 w 5737264"/>
              <a:gd name="connsiteY194" fmla="*/ 522514 h 1240971"/>
              <a:gd name="connsiteX195" fmla="*/ 5546753 w 5737264"/>
              <a:gd name="connsiteY195" fmla="*/ 467248 h 1240971"/>
              <a:gd name="connsiteX196" fmla="*/ 5556802 w 5737264"/>
              <a:gd name="connsiteY196" fmla="*/ 411982 h 1240971"/>
              <a:gd name="connsiteX197" fmla="*/ 5566850 w 5737264"/>
              <a:gd name="connsiteY197" fmla="*/ 381837 h 1240971"/>
              <a:gd name="connsiteX198" fmla="*/ 5576898 w 5737264"/>
              <a:gd name="connsiteY198" fmla="*/ 356716 h 1240971"/>
              <a:gd name="connsiteX199" fmla="*/ 5596995 w 5737264"/>
              <a:gd name="connsiteY199" fmla="*/ 316523 h 1240971"/>
              <a:gd name="connsiteX200" fmla="*/ 5617092 w 5737264"/>
              <a:gd name="connsiteY200" fmla="*/ 246184 h 1240971"/>
              <a:gd name="connsiteX201" fmla="*/ 5622116 w 5737264"/>
              <a:gd name="connsiteY201" fmla="*/ 226088 h 1240971"/>
              <a:gd name="connsiteX202" fmla="*/ 5632164 w 5737264"/>
              <a:gd name="connsiteY202" fmla="*/ 216039 h 1240971"/>
              <a:gd name="connsiteX203" fmla="*/ 5637188 w 5737264"/>
              <a:gd name="connsiteY203" fmla="*/ 200967 h 1240971"/>
              <a:gd name="connsiteX204" fmla="*/ 5651738 w 5737264"/>
              <a:gd name="connsiteY204" fmla="*/ 190395 h 1240971"/>
              <a:gd name="connsiteX205" fmla="*/ 5673692 w 5737264"/>
              <a:gd name="connsiteY205" fmla="*/ 153892 h 1240971"/>
              <a:gd name="connsiteX206" fmla="*/ 5726602 w 5737264"/>
              <a:gd name="connsiteY206" fmla="*/ 89362 h 1240971"/>
              <a:gd name="connsiteX207" fmla="*/ 5728722 w 5737264"/>
              <a:gd name="connsiteY207" fmla="*/ 42287 h 1240971"/>
              <a:gd name="connsiteX208" fmla="*/ 5634284 w 5737264"/>
              <a:gd name="connsiteY208" fmla="*/ 25357 h 1240971"/>
              <a:gd name="connsiteX209" fmla="*/ 5536940 w 5737264"/>
              <a:gd name="connsiteY209" fmla="*/ 27214 h 1240971"/>
              <a:gd name="connsiteX210" fmla="*/ 5470369 w 5737264"/>
              <a:gd name="connsiteY210" fmla="*/ 39381 h 1240971"/>
              <a:gd name="connsiteX211" fmla="*/ 5379124 w 5737264"/>
              <a:gd name="connsiteY211" fmla="*/ 39644 h 1240971"/>
              <a:gd name="connsiteX212" fmla="*/ 5309282 w 5737264"/>
              <a:gd name="connsiteY212" fmla="*/ 42287 h 1240971"/>
              <a:gd name="connsiteX213" fmla="*/ 5238682 w 5737264"/>
              <a:gd name="connsiteY213" fmla="*/ 54455 h 1240971"/>
              <a:gd name="connsiteX214" fmla="*/ 5108892 w 5737264"/>
              <a:gd name="connsiteY214" fmla="*/ 37524 h 1240971"/>
              <a:gd name="connsiteX215" fmla="*/ 5020026 w 5737264"/>
              <a:gd name="connsiteY215" fmla="*/ 39120 h 1240971"/>
              <a:gd name="connsiteX216" fmla="*/ 4946233 w 5737264"/>
              <a:gd name="connsiteY216" fmla="*/ 41240 h 1240971"/>
              <a:gd name="connsiteX217" fmla="*/ 4823272 w 5737264"/>
              <a:gd name="connsiteY217" fmla="*/ 50242 h 1240971"/>
              <a:gd name="connsiteX218" fmla="*/ 4727577 w 5737264"/>
              <a:gd name="connsiteY218" fmla="*/ 29073 h 1240971"/>
              <a:gd name="connsiteX219" fmla="*/ 4628376 w 5737264"/>
              <a:gd name="connsiteY219" fmla="*/ 41240 h 1240971"/>
              <a:gd name="connsiteX220" fmla="*/ 4565180 w 5737264"/>
              <a:gd name="connsiteY220" fmla="*/ 46264 h 1240971"/>
              <a:gd name="connsiteX221" fmla="*/ 4417596 w 5737264"/>
              <a:gd name="connsiteY221" fmla="*/ 44406 h 1240971"/>
              <a:gd name="connsiteX222" fmla="*/ 4139984 w 5737264"/>
              <a:gd name="connsiteY222" fmla="*/ 60290 h 1240971"/>
              <a:gd name="connsiteX223" fmla="*/ 3918920 w 5737264"/>
              <a:gd name="connsiteY223" fmla="*/ 50242 h 1240971"/>
              <a:gd name="connsiteX224" fmla="*/ 3873703 w 5737264"/>
              <a:gd name="connsiteY224" fmla="*/ 45217 h 1240971"/>
              <a:gd name="connsiteX225" fmla="*/ 3687808 w 5737264"/>
              <a:gd name="connsiteY225" fmla="*/ 40193 h 1240971"/>
              <a:gd name="connsiteX226" fmla="*/ 3662687 w 5737264"/>
              <a:gd name="connsiteY226" fmla="*/ 35169 h 1240971"/>
              <a:gd name="connsiteX227" fmla="*/ 3627518 w 5737264"/>
              <a:gd name="connsiteY227" fmla="*/ 25121 h 1240971"/>
              <a:gd name="connsiteX228" fmla="*/ 3547131 w 5737264"/>
              <a:gd name="connsiteY228" fmla="*/ 20097 h 1240971"/>
              <a:gd name="connsiteX229" fmla="*/ 3310995 w 5737264"/>
              <a:gd name="connsiteY229" fmla="*/ 25121 h 1240971"/>
              <a:gd name="connsiteX230" fmla="*/ 3265777 w 5737264"/>
              <a:gd name="connsiteY230" fmla="*/ 30145 h 1240971"/>
              <a:gd name="connsiteX231" fmla="*/ 3175342 w 5737264"/>
              <a:gd name="connsiteY231" fmla="*/ 35169 h 1240971"/>
              <a:gd name="connsiteX232" fmla="*/ 2582489 w 5737264"/>
              <a:gd name="connsiteY232" fmla="*/ 45217 h 1240971"/>
              <a:gd name="connsiteX233" fmla="*/ 2255918 w 5737264"/>
              <a:gd name="connsiteY233" fmla="*/ 40193 h 1240971"/>
              <a:gd name="connsiteX234" fmla="*/ 1974564 w 5737264"/>
              <a:gd name="connsiteY234" fmla="*/ 30145 h 1240971"/>
              <a:gd name="connsiteX235" fmla="*/ 1944419 w 5737264"/>
              <a:gd name="connsiteY235" fmla="*/ 25121 h 1240971"/>
              <a:gd name="connsiteX236" fmla="*/ 1848960 w 5737264"/>
              <a:gd name="connsiteY236" fmla="*/ 20097 h 1240971"/>
              <a:gd name="connsiteX237" fmla="*/ 1768573 w 5737264"/>
              <a:gd name="connsiteY237" fmla="*/ 10048 h 1240971"/>
              <a:gd name="connsiteX238" fmla="*/ 1502292 w 5737264"/>
              <a:gd name="connsiteY238" fmla="*/ 20097 h 1240971"/>
              <a:gd name="connsiteX239" fmla="*/ 1467122 w 5737264"/>
              <a:gd name="connsiteY239" fmla="*/ 25121 h 1240971"/>
              <a:gd name="connsiteX240" fmla="*/ 1426929 w 5737264"/>
              <a:gd name="connsiteY240" fmla="*/ 30145 h 1240971"/>
              <a:gd name="connsiteX241" fmla="*/ 1341518 w 5737264"/>
              <a:gd name="connsiteY241" fmla="*/ 45217 h 1240971"/>
              <a:gd name="connsiteX242" fmla="*/ 1095333 w 5737264"/>
              <a:gd name="connsiteY242" fmla="*/ 35169 h 1240971"/>
              <a:gd name="connsiteX243" fmla="*/ 979777 w 5737264"/>
              <a:gd name="connsiteY243" fmla="*/ 20097 h 1240971"/>
              <a:gd name="connsiteX244" fmla="*/ 939584 w 5737264"/>
              <a:gd name="connsiteY244" fmla="*/ 10048 h 1240971"/>
              <a:gd name="connsiteX245" fmla="*/ 813980 w 5737264"/>
              <a:gd name="connsiteY245" fmla="*/ 0 h 1240971"/>
              <a:gd name="connsiteX246" fmla="*/ 743641 w 5737264"/>
              <a:gd name="connsiteY246" fmla="*/ 5024 h 1240971"/>
              <a:gd name="connsiteX247" fmla="*/ 582867 w 5737264"/>
              <a:gd name="connsiteY247" fmla="*/ 15072 h 1240971"/>
              <a:gd name="connsiteX248" fmla="*/ 432142 w 5737264"/>
              <a:gd name="connsiteY248" fmla="*/ 5024 h 1240971"/>
              <a:gd name="connsiteX249" fmla="*/ 412046 w 5737264"/>
              <a:gd name="connsiteY249" fmla="*/ 0 h 1240971"/>
              <a:gd name="connsiteX250" fmla="*/ 281417 w 5737264"/>
              <a:gd name="connsiteY250" fmla="*/ 10048 h 1240971"/>
              <a:gd name="connsiteX251" fmla="*/ 261320 w 5737264"/>
              <a:gd name="connsiteY251" fmla="*/ 15072 h 1240971"/>
              <a:gd name="connsiteX252" fmla="*/ 100547 w 5737264"/>
              <a:gd name="connsiteY252" fmla="*/ 20097 h 1240971"/>
              <a:gd name="connsiteX253" fmla="*/ 5087 w 5737264"/>
              <a:gd name="connsiteY253" fmla="*/ 30145 h 1240971"/>
              <a:gd name="connsiteX0" fmla="*/ 5087 w 5737264"/>
              <a:gd name="connsiteY0" fmla="*/ 30145 h 1240971"/>
              <a:gd name="connsiteX1" fmla="*/ 15136 w 5737264"/>
              <a:gd name="connsiteY1" fmla="*/ 115556 h 1240971"/>
              <a:gd name="connsiteX2" fmla="*/ 20160 w 5737264"/>
              <a:gd name="connsiteY2" fmla="*/ 150725 h 1240971"/>
              <a:gd name="connsiteX3" fmla="*/ 25184 w 5737264"/>
              <a:gd name="connsiteY3" fmla="*/ 236136 h 1240971"/>
              <a:gd name="connsiteX4" fmla="*/ 35232 w 5737264"/>
              <a:gd name="connsiteY4" fmla="*/ 311499 h 1240971"/>
              <a:gd name="connsiteX5" fmla="*/ 40256 w 5737264"/>
              <a:gd name="connsiteY5" fmla="*/ 783771 h 1240971"/>
              <a:gd name="connsiteX6" fmla="*/ 45281 w 5737264"/>
              <a:gd name="connsiteY6" fmla="*/ 864158 h 1240971"/>
              <a:gd name="connsiteX7" fmla="*/ 35232 w 5737264"/>
              <a:gd name="connsiteY7" fmla="*/ 1034980 h 1240971"/>
              <a:gd name="connsiteX8" fmla="*/ 25184 w 5737264"/>
              <a:gd name="connsiteY8" fmla="*/ 1100294 h 1240971"/>
              <a:gd name="connsiteX9" fmla="*/ 20160 w 5737264"/>
              <a:gd name="connsiteY9" fmla="*/ 1150536 h 1240971"/>
              <a:gd name="connsiteX10" fmla="*/ 25184 w 5737264"/>
              <a:gd name="connsiteY10" fmla="*/ 1170633 h 1240971"/>
              <a:gd name="connsiteX11" fmla="*/ 35232 w 5737264"/>
              <a:gd name="connsiteY11" fmla="*/ 1160584 h 1240971"/>
              <a:gd name="connsiteX12" fmla="*/ 55329 w 5737264"/>
              <a:gd name="connsiteY12" fmla="*/ 1100294 h 1240971"/>
              <a:gd name="connsiteX13" fmla="*/ 60353 w 5737264"/>
              <a:gd name="connsiteY13" fmla="*/ 1085222 h 1240971"/>
              <a:gd name="connsiteX14" fmla="*/ 70402 w 5737264"/>
              <a:gd name="connsiteY14" fmla="*/ 1075173 h 1240971"/>
              <a:gd name="connsiteX15" fmla="*/ 95522 w 5737264"/>
              <a:gd name="connsiteY15" fmla="*/ 1045028 h 1240971"/>
              <a:gd name="connsiteX16" fmla="*/ 110595 w 5737264"/>
              <a:gd name="connsiteY16" fmla="*/ 1040004 h 1240971"/>
              <a:gd name="connsiteX17" fmla="*/ 135716 w 5737264"/>
              <a:gd name="connsiteY17" fmla="*/ 1019908 h 1240971"/>
              <a:gd name="connsiteX18" fmla="*/ 150788 w 5737264"/>
              <a:gd name="connsiteY18" fmla="*/ 1009859 h 1240971"/>
              <a:gd name="connsiteX19" fmla="*/ 175909 w 5737264"/>
              <a:gd name="connsiteY19" fmla="*/ 994787 h 1240971"/>
              <a:gd name="connsiteX20" fmla="*/ 216103 w 5737264"/>
              <a:gd name="connsiteY20" fmla="*/ 984738 h 1240971"/>
              <a:gd name="connsiteX21" fmla="*/ 286441 w 5737264"/>
              <a:gd name="connsiteY21" fmla="*/ 994787 h 1240971"/>
              <a:gd name="connsiteX22" fmla="*/ 301514 w 5737264"/>
              <a:gd name="connsiteY22" fmla="*/ 1004835 h 1240971"/>
              <a:gd name="connsiteX23" fmla="*/ 321610 w 5737264"/>
              <a:gd name="connsiteY23" fmla="*/ 1034980 h 1240971"/>
              <a:gd name="connsiteX24" fmla="*/ 356780 w 5737264"/>
              <a:gd name="connsiteY24" fmla="*/ 1065125 h 1240971"/>
              <a:gd name="connsiteX25" fmla="*/ 366828 w 5737264"/>
              <a:gd name="connsiteY25" fmla="*/ 1080198 h 1240971"/>
              <a:gd name="connsiteX26" fmla="*/ 381900 w 5737264"/>
              <a:gd name="connsiteY26" fmla="*/ 1085222 h 1240971"/>
              <a:gd name="connsiteX27" fmla="*/ 396973 w 5737264"/>
              <a:gd name="connsiteY27" fmla="*/ 1095270 h 1240971"/>
              <a:gd name="connsiteX28" fmla="*/ 407021 w 5737264"/>
              <a:gd name="connsiteY28" fmla="*/ 1105319 h 1240971"/>
              <a:gd name="connsiteX29" fmla="*/ 422094 w 5737264"/>
              <a:gd name="connsiteY29" fmla="*/ 1110343 h 1240971"/>
              <a:gd name="connsiteX30" fmla="*/ 437166 w 5737264"/>
              <a:gd name="connsiteY30" fmla="*/ 1120391 h 1240971"/>
              <a:gd name="connsiteX31" fmla="*/ 467311 w 5737264"/>
              <a:gd name="connsiteY31" fmla="*/ 1130439 h 1240971"/>
              <a:gd name="connsiteX32" fmla="*/ 522577 w 5737264"/>
              <a:gd name="connsiteY32" fmla="*/ 1115367 h 1240971"/>
              <a:gd name="connsiteX33" fmla="*/ 552722 w 5737264"/>
              <a:gd name="connsiteY33" fmla="*/ 1075173 h 1240971"/>
              <a:gd name="connsiteX34" fmla="*/ 567795 w 5737264"/>
              <a:gd name="connsiteY34" fmla="*/ 1070149 h 1240971"/>
              <a:gd name="connsiteX35" fmla="*/ 582867 w 5737264"/>
              <a:gd name="connsiteY35" fmla="*/ 1060101 h 1240971"/>
              <a:gd name="connsiteX36" fmla="*/ 638133 w 5737264"/>
              <a:gd name="connsiteY36" fmla="*/ 1045028 h 1240971"/>
              <a:gd name="connsiteX37" fmla="*/ 653206 w 5737264"/>
              <a:gd name="connsiteY37" fmla="*/ 1040004 h 1240971"/>
              <a:gd name="connsiteX38" fmla="*/ 693399 w 5737264"/>
              <a:gd name="connsiteY38" fmla="*/ 1045028 h 1240971"/>
              <a:gd name="connsiteX39" fmla="*/ 723544 w 5737264"/>
              <a:gd name="connsiteY39" fmla="*/ 1055077 h 1240971"/>
              <a:gd name="connsiteX40" fmla="*/ 733593 w 5737264"/>
              <a:gd name="connsiteY40" fmla="*/ 1065125 h 1240971"/>
              <a:gd name="connsiteX41" fmla="*/ 768762 w 5737264"/>
              <a:gd name="connsiteY41" fmla="*/ 1080198 h 1240971"/>
              <a:gd name="connsiteX42" fmla="*/ 803931 w 5737264"/>
              <a:gd name="connsiteY42" fmla="*/ 1105319 h 1240971"/>
              <a:gd name="connsiteX43" fmla="*/ 834076 w 5737264"/>
              <a:gd name="connsiteY43" fmla="*/ 1130439 h 1240971"/>
              <a:gd name="connsiteX44" fmla="*/ 869246 w 5737264"/>
              <a:gd name="connsiteY44" fmla="*/ 1140488 h 1240971"/>
              <a:gd name="connsiteX45" fmla="*/ 909439 w 5737264"/>
              <a:gd name="connsiteY45" fmla="*/ 1175657 h 1240971"/>
              <a:gd name="connsiteX46" fmla="*/ 939584 w 5737264"/>
              <a:gd name="connsiteY46" fmla="*/ 1185705 h 1240971"/>
              <a:gd name="connsiteX47" fmla="*/ 979777 w 5737264"/>
              <a:gd name="connsiteY47" fmla="*/ 1180681 h 1240971"/>
              <a:gd name="connsiteX48" fmla="*/ 989826 w 5737264"/>
              <a:gd name="connsiteY48" fmla="*/ 1170633 h 1240971"/>
              <a:gd name="connsiteX49" fmla="*/ 1004898 w 5737264"/>
              <a:gd name="connsiteY49" fmla="*/ 1150536 h 1240971"/>
              <a:gd name="connsiteX50" fmla="*/ 1014947 w 5737264"/>
              <a:gd name="connsiteY50" fmla="*/ 1120391 h 1240971"/>
              <a:gd name="connsiteX51" fmla="*/ 1040067 w 5737264"/>
              <a:gd name="connsiteY51" fmla="*/ 1095270 h 1240971"/>
              <a:gd name="connsiteX52" fmla="*/ 1050116 w 5737264"/>
              <a:gd name="connsiteY52" fmla="*/ 1085222 h 1240971"/>
              <a:gd name="connsiteX53" fmla="*/ 1075237 w 5737264"/>
              <a:gd name="connsiteY53" fmla="*/ 1065125 h 1240971"/>
              <a:gd name="connsiteX54" fmla="*/ 1090309 w 5737264"/>
              <a:gd name="connsiteY54" fmla="*/ 1050053 h 1240971"/>
              <a:gd name="connsiteX55" fmla="*/ 1120454 w 5737264"/>
              <a:gd name="connsiteY55" fmla="*/ 1040004 h 1240971"/>
              <a:gd name="connsiteX56" fmla="*/ 1135527 w 5737264"/>
              <a:gd name="connsiteY56" fmla="*/ 1034980 h 1240971"/>
              <a:gd name="connsiteX57" fmla="*/ 1160648 w 5737264"/>
              <a:gd name="connsiteY57" fmla="*/ 1019908 h 1240971"/>
              <a:gd name="connsiteX58" fmla="*/ 1175720 w 5737264"/>
              <a:gd name="connsiteY58" fmla="*/ 1014883 h 1240971"/>
              <a:gd name="connsiteX59" fmla="*/ 1195817 w 5737264"/>
              <a:gd name="connsiteY59" fmla="*/ 1004835 h 1240971"/>
              <a:gd name="connsiteX60" fmla="*/ 1281228 w 5737264"/>
              <a:gd name="connsiteY60" fmla="*/ 1014883 h 1240971"/>
              <a:gd name="connsiteX61" fmla="*/ 1296300 w 5737264"/>
              <a:gd name="connsiteY61" fmla="*/ 1024932 h 1240971"/>
              <a:gd name="connsiteX62" fmla="*/ 1311373 w 5737264"/>
              <a:gd name="connsiteY62" fmla="*/ 1029956 h 1240971"/>
              <a:gd name="connsiteX63" fmla="*/ 1326446 w 5737264"/>
              <a:gd name="connsiteY63" fmla="*/ 1060101 h 1240971"/>
              <a:gd name="connsiteX64" fmla="*/ 1341518 w 5737264"/>
              <a:gd name="connsiteY64" fmla="*/ 1065125 h 1240971"/>
              <a:gd name="connsiteX65" fmla="*/ 1356591 w 5737264"/>
              <a:gd name="connsiteY65" fmla="*/ 1075173 h 1240971"/>
              <a:gd name="connsiteX66" fmla="*/ 1396784 w 5737264"/>
              <a:gd name="connsiteY66" fmla="*/ 1090246 h 1240971"/>
              <a:gd name="connsiteX67" fmla="*/ 1447026 w 5737264"/>
              <a:gd name="connsiteY67" fmla="*/ 1105319 h 1240971"/>
              <a:gd name="connsiteX68" fmla="*/ 1462098 w 5737264"/>
              <a:gd name="connsiteY68" fmla="*/ 1110343 h 1240971"/>
              <a:gd name="connsiteX69" fmla="*/ 1497267 w 5737264"/>
              <a:gd name="connsiteY69" fmla="*/ 1120391 h 1240971"/>
              <a:gd name="connsiteX70" fmla="*/ 1552533 w 5737264"/>
              <a:gd name="connsiteY70" fmla="*/ 1115367 h 1240971"/>
              <a:gd name="connsiteX71" fmla="*/ 1567606 w 5737264"/>
              <a:gd name="connsiteY71" fmla="*/ 1110343 h 1240971"/>
              <a:gd name="connsiteX72" fmla="*/ 1587703 w 5737264"/>
              <a:gd name="connsiteY72" fmla="*/ 1090246 h 1240971"/>
              <a:gd name="connsiteX73" fmla="*/ 1637944 w 5737264"/>
              <a:gd name="connsiteY73" fmla="*/ 1050053 h 1240971"/>
              <a:gd name="connsiteX74" fmla="*/ 1653017 w 5737264"/>
              <a:gd name="connsiteY74" fmla="*/ 1029956 h 1240971"/>
              <a:gd name="connsiteX75" fmla="*/ 1688186 w 5737264"/>
              <a:gd name="connsiteY75" fmla="*/ 1019908 h 1240971"/>
              <a:gd name="connsiteX76" fmla="*/ 1788670 w 5737264"/>
              <a:gd name="connsiteY76" fmla="*/ 1029956 h 1240971"/>
              <a:gd name="connsiteX77" fmla="*/ 1818815 w 5737264"/>
              <a:gd name="connsiteY77" fmla="*/ 1040004 h 1240971"/>
              <a:gd name="connsiteX78" fmla="*/ 1853984 w 5737264"/>
              <a:gd name="connsiteY78" fmla="*/ 1050053 h 1240971"/>
              <a:gd name="connsiteX79" fmla="*/ 1869056 w 5737264"/>
              <a:gd name="connsiteY79" fmla="*/ 1060101 h 1240971"/>
              <a:gd name="connsiteX80" fmla="*/ 1894177 w 5737264"/>
              <a:gd name="connsiteY80" fmla="*/ 1065125 h 1240971"/>
              <a:gd name="connsiteX81" fmla="*/ 1949443 w 5737264"/>
              <a:gd name="connsiteY81" fmla="*/ 1085222 h 1240971"/>
              <a:gd name="connsiteX82" fmla="*/ 1969540 w 5737264"/>
              <a:gd name="connsiteY82" fmla="*/ 1090246 h 1240971"/>
              <a:gd name="connsiteX83" fmla="*/ 2014758 w 5737264"/>
              <a:gd name="connsiteY83" fmla="*/ 1110343 h 1240971"/>
              <a:gd name="connsiteX84" fmla="*/ 2039878 w 5737264"/>
              <a:gd name="connsiteY84" fmla="*/ 1125415 h 1240971"/>
              <a:gd name="connsiteX85" fmla="*/ 2120265 w 5737264"/>
              <a:gd name="connsiteY85" fmla="*/ 1120391 h 1240971"/>
              <a:gd name="connsiteX86" fmla="*/ 2130314 w 5737264"/>
              <a:gd name="connsiteY86" fmla="*/ 1110343 h 1240971"/>
              <a:gd name="connsiteX87" fmla="*/ 2155435 w 5737264"/>
              <a:gd name="connsiteY87" fmla="*/ 1100294 h 1240971"/>
              <a:gd name="connsiteX88" fmla="*/ 2190604 w 5737264"/>
              <a:gd name="connsiteY88" fmla="*/ 1070149 h 1240971"/>
              <a:gd name="connsiteX89" fmla="*/ 2230797 w 5737264"/>
              <a:gd name="connsiteY89" fmla="*/ 1040004 h 1240971"/>
              <a:gd name="connsiteX90" fmla="*/ 2245870 w 5737264"/>
              <a:gd name="connsiteY90" fmla="*/ 1034980 h 1240971"/>
              <a:gd name="connsiteX91" fmla="*/ 2270991 w 5737264"/>
              <a:gd name="connsiteY91" fmla="*/ 1019908 h 1240971"/>
              <a:gd name="connsiteX92" fmla="*/ 2301136 w 5737264"/>
              <a:gd name="connsiteY92" fmla="*/ 994787 h 1240971"/>
              <a:gd name="connsiteX93" fmla="*/ 2316208 w 5737264"/>
              <a:gd name="connsiteY93" fmla="*/ 989763 h 1240971"/>
              <a:gd name="connsiteX94" fmla="*/ 2396595 w 5737264"/>
              <a:gd name="connsiteY94" fmla="*/ 984738 h 1240971"/>
              <a:gd name="connsiteX95" fmla="*/ 2426740 w 5737264"/>
              <a:gd name="connsiteY95" fmla="*/ 989763 h 1240971"/>
              <a:gd name="connsiteX96" fmla="*/ 2461909 w 5737264"/>
              <a:gd name="connsiteY96" fmla="*/ 1024932 h 1240971"/>
              <a:gd name="connsiteX97" fmla="*/ 2476982 w 5737264"/>
              <a:gd name="connsiteY97" fmla="*/ 1029956 h 1240971"/>
              <a:gd name="connsiteX98" fmla="*/ 2487030 w 5737264"/>
              <a:gd name="connsiteY98" fmla="*/ 1045028 h 1240971"/>
              <a:gd name="connsiteX99" fmla="*/ 2497078 w 5737264"/>
              <a:gd name="connsiteY99" fmla="*/ 1055077 h 1240971"/>
              <a:gd name="connsiteX100" fmla="*/ 2532248 w 5737264"/>
              <a:gd name="connsiteY100" fmla="*/ 1095270 h 1240971"/>
              <a:gd name="connsiteX101" fmla="*/ 2567417 w 5737264"/>
              <a:gd name="connsiteY101" fmla="*/ 1135464 h 1240971"/>
              <a:gd name="connsiteX102" fmla="*/ 2582489 w 5737264"/>
              <a:gd name="connsiteY102" fmla="*/ 1145512 h 1240971"/>
              <a:gd name="connsiteX103" fmla="*/ 2622683 w 5737264"/>
              <a:gd name="connsiteY103" fmla="*/ 1170633 h 1240971"/>
              <a:gd name="connsiteX104" fmla="*/ 2657852 w 5737264"/>
              <a:gd name="connsiteY104" fmla="*/ 1160584 h 1240971"/>
              <a:gd name="connsiteX105" fmla="*/ 2682973 w 5737264"/>
              <a:gd name="connsiteY105" fmla="*/ 1145512 h 1240971"/>
              <a:gd name="connsiteX106" fmla="*/ 2713118 w 5737264"/>
              <a:gd name="connsiteY106" fmla="*/ 1130439 h 1240971"/>
              <a:gd name="connsiteX107" fmla="*/ 2728191 w 5737264"/>
              <a:gd name="connsiteY107" fmla="*/ 1120391 h 1240971"/>
              <a:gd name="connsiteX108" fmla="*/ 2748287 w 5737264"/>
              <a:gd name="connsiteY108" fmla="*/ 1115367 h 1240971"/>
              <a:gd name="connsiteX109" fmla="*/ 2778432 w 5737264"/>
              <a:gd name="connsiteY109" fmla="*/ 1105319 h 1240971"/>
              <a:gd name="connsiteX110" fmla="*/ 2868867 w 5737264"/>
              <a:gd name="connsiteY110" fmla="*/ 1075173 h 1240971"/>
              <a:gd name="connsiteX111" fmla="*/ 2893988 w 5737264"/>
              <a:gd name="connsiteY111" fmla="*/ 1070149 h 1240971"/>
              <a:gd name="connsiteX112" fmla="*/ 2919109 w 5737264"/>
              <a:gd name="connsiteY112" fmla="*/ 1075173 h 1240971"/>
              <a:gd name="connsiteX113" fmla="*/ 2934182 w 5737264"/>
              <a:gd name="connsiteY113" fmla="*/ 1080198 h 1240971"/>
              <a:gd name="connsiteX114" fmla="*/ 2944230 w 5737264"/>
              <a:gd name="connsiteY114" fmla="*/ 1110343 h 1240971"/>
              <a:gd name="connsiteX115" fmla="*/ 2959303 w 5737264"/>
              <a:gd name="connsiteY115" fmla="*/ 1125415 h 1240971"/>
              <a:gd name="connsiteX116" fmla="*/ 2979399 w 5737264"/>
              <a:gd name="connsiteY116" fmla="*/ 1155560 h 1240971"/>
              <a:gd name="connsiteX117" fmla="*/ 2994472 w 5737264"/>
              <a:gd name="connsiteY117" fmla="*/ 1160584 h 1240971"/>
              <a:gd name="connsiteX118" fmla="*/ 3014569 w 5737264"/>
              <a:gd name="connsiteY118" fmla="*/ 1180681 h 1240971"/>
              <a:gd name="connsiteX119" fmla="*/ 3024617 w 5737264"/>
              <a:gd name="connsiteY119" fmla="*/ 1190730 h 1240971"/>
              <a:gd name="connsiteX120" fmla="*/ 3069835 w 5737264"/>
              <a:gd name="connsiteY120" fmla="*/ 1215850 h 1240971"/>
              <a:gd name="connsiteX121" fmla="*/ 3099980 w 5737264"/>
              <a:gd name="connsiteY121" fmla="*/ 1230923 h 1240971"/>
              <a:gd name="connsiteX122" fmla="*/ 3130125 w 5737264"/>
              <a:gd name="connsiteY122" fmla="*/ 1240971 h 1240971"/>
              <a:gd name="connsiteX123" fmla="*/ 3177985 w 5737264"/>
              <a:gd name="connsiteY123" fmla="*/ 1207372 h 1240971"/>
              <a:gd name="connsiteX124" fmla="*/ 3229535 w 5737264"/>
              <a:gd name="connsiteY124" fmla="*/ 1178561 h 1240971"/>
              <a:gd name="connsiteX125" fmla="*/ 3281634 w 5737264"/>
              <a:gd name="connsiteY125" fmla="*/ 1153440 h 1240971"/>
              <a:gd name="connsiteX126" fmla="*/ 3310995 w 5737264"/>
              <a:gd name="connsiteY126" fmla="*/ 1145512 h 1240971"/>
              <a:gd name="connsiteX127" fmla="*/ 3351188 w 5737264"/>
              <a:gd name="connsiteY127" fmla="*/ 1140488 h 1240971"/>
              <a:gd name="connsiteX128" fmla="*/ 3406454 w 5737264"/>
              <a:gd name="connsiteY128" fmla="*/ 1155560 h 1240971"/>
              <a:gd name="connsiteX129" fmla="*/ 3426551 w 5737264"/>
              <a:gd name="connsiteY129" fmla="*/ 1165609 h 1240971"/>
              <a:gd name="connsiteX130" fmla="*/ 3441624 w 5737264"/>
              <a:gd name="connsiteY130" fmla="*/ 1175657 h 1240971"/>
              <a:gd name="connsiteX131" fmla="*/ 3456696 w 5737264"/>
              <a:gd name="connsiteY131" fmla="*/ 1180681 h 1240971"/>
              <a:gd name="connsiteX132" fmla="*/ 3466744 w 5737264"/>
              <a:gd name="connsiteY132" fmla="*/ 1195754 h 1240971"/>
              <a:gd name="connsiteX133" fmla="*/ 3527035 w 5737264"/>
              <a:gd name="connsiteY133" fmla="*/ 1200778 h 1240971"/>
              <a:gd name="connsiteX134" fmla="*/ 3542107 w 5737264"/>
              <a:gd name="connsiteY134" fmla="*/ 1190730 h 1240971"/>
              <a:gd name="connsiteX135" fmla="*/ 3567228 w 5737264"/>
              <a:gd name="connsiteY135" fmla="*/ 1180681 h 1240971"/>
              <a:gd name="connsiteX136" fmla="*/ 3587325 w 5737264"/>
              <a:gd name="connsiteY136" fmla="*/ 1150536 h 1240971"/>
              <a:gd name="connsiteX137" fmla="*/ 3617470 w 5737264"/>
              <a:gd name="connsiteY137" fmla="*/ 1125415 h 1240971"/>
              <a:gd name="connsiteX138" fmla="*/ 3632542 w 5737264"/>
              <a:gd name="connsiteY138" fmla="*/ 1105319 h 1240971"/>
              <a:gd name="connsiteX139" fmla="*/ 3662687 w 5737264"/>
              <a:gd name="connsiteY139" fmla="*/ 1085222 h 1240971"/>
              <a:gd name="connsiteX140" fmla="*/ 3697856 w 5737264"/>
              <a:gd name="connsiteY140" fmla="*/ 1070149 h 1240971"/>
              <a:gd name="connsiteX141" fmla="*/ 3707905 w 5737264"/>
              <a:gd name="connsiteY141" fmla="*/ 1060101 h 1240971"/>
              <a:gd name="connsiteX142" fmla="*/ 3743074 w 5737264"/>
              <a:gd name="connsiteY142" fmla="*/ 1047148 h 1240971"/>
              <a:gd name="connsiteX143" fmla="*/ 3799125 w 5737264"/>
              <a:gd name="connsiteY143" fmla="*/ 1043982 h 1240971"/>
              <a:gd name="connsiteX144" fmla="*/ 3859651 w 5737264"/>
              <a:gd name="connsiteY144" fmla="*/ 1072033 h 1240971"/>
              <a:gd name="connsiteX145" fmla="*/ 3902226 w 5737264"/>
              <a:gd name="connsiteY145" fmla="*/ 1101367 h 1240971"/>
              <a:gd name="connsiteX146" fmla="*/ 3958041 w 5737264"/>
              <a:gd name="connsiteY146" fmla="*/ 1142346 h 1240971"/>
              <a:gd name="connsiteX147" fmla="*/ 4019404 w 5737264"/>
              <a:gd name="connsiteY147" fmla="*/ 1165609 h 1240971"/>
              <a:gd name="connsiteX148" fmla="*/ 4064621 w 5737264"/>
              <a:gd name="connsiteY148" fmla="*/ 1150536 h 1240971"/>
              <a:gd name="connsiteX149" fmla="*/ 4079694 w 5737264"/>
              <a:gd name="connsiteY149" fmla="*/ 1125415 h 1240971"/>
              <a:gd name="connsiteX150" fmla="*/ 4099791 w 5737264"/>
              <a:gd name="connsiteY150" fmla="*/ 1105319 h 1240971"/>
              <a:gd name="connsiteX151" fmla="*/ 4129936 w 5737264"/>
              <a:gd name="connsiteY151" fmla="*/ 1075173 h 1240971"/>
              <a:gd name="connsiteX152" fmla="*/ 4150032 w 5737264"/>
              <a:gd name="connsiteY152" fmla="*/ 1040004 h 1240971"/>
              <a:gd name="connsiteX153" fmla="*/ 4160081 w 5737264"/>
              <a:gd name="connsiteY153" fmla="*/ 1019908 h 1240971"/>
              <a:gd name="connsiteX154" fmla="*/ 4165105 w 5737264"/>
              <a:gd name="connsiteY154" fmla="*/ 1004835 h 1240971"/>
              <a:gd name="connsiteX155" fmla="*/ 4185202 w 5737264"/>
              <a:gd name="connsiteY155" fmla="*/ 984738 h 1240971"/>
              <a:gd name="connsiteX156" fmla="*/ 4200274 w 5737264"/>
              <a:gd name="connsiteY156" fmla="*/ 979714 h 1240971"/>
              <a:gd name="connsiteX157" fmla="*/ 4235443 w 5737264"/>
              <a:gd name="connsiteY157" fmla="*/ 954593 h 1240971"/>
              <a:gd name="connsiteX158" fmla="*/ 4275637 w 5737264"/>
              <a:gd name="connsiteY158" fmla="*/ 934497 h 1240971"/>
              <a:gd name="connsiteX159" fmla="*/ 4310806 w 5737264"/>
              <a:gd name="connsiteY159" fmla="*/ 914400 h 1240971"/>
              <a:gd name="connsiteX160" fmla="*/ 4325878 w 5737264"/>
              <a:gd name="connsiteY160" fmla="*/ 904352 h 1240971"/>
              <a:gd name="connsiteX161" fmla="*/ 4362094 w 5737264"/>
              <a:gd name="connsiteY161" fmla="*/ 909114 h 1240971"/>
              <a:gd name="connsiteX162" fmla="*/ 4417099 w 5737264"/>
              <a:gd name="connsiteY162" fmla="*/ 946141 h 1240971"/>
              <a:gd name="connsiteX163" fmla="*/ 4462316 w 5737264"/>
              <a:gd name="connsiteY163" fmla="*/ 1006955 h 1240971"/>
              <a:gd name="connsiteX164" fmla="*/ 4531320 w 5737264"/>
              <a:gd name="connsiteY164" fmla="*/ 1037650 h 1240971"/>
              <a:gd name="connsiteX165" fmla="*/ 4597184 w 5737264"/>
              <a:gd name="connsiteY165" fmla="*/ 969666 h 1240971"/>
              <a:gd name="connsiteX166" fmla="*/ 4617281 w 5737264"/>
              <a:gd name="connsiteY166" fmla="*/ 959617 h 1240971"/>
              <a:gd name="connsiteX167" fmla="*/ 4632353 w 5737264"/>
              <a:gd name="connsiteY167" fmla="*/ 944545 h 1240971"/>
              <a:gd name="connsiteX168" fmla="*/ 4652450 w 5737264"/>
              <a:gd name="connsiteY168" fmla="*/ 934497 h 1240971"/>
              <a:gd name="connsiteX169" fmla="*/ 4672547 w 5737264"/>
              <a:gd name="connsiteY169" fmla="*/ 919424 h 1240971"/>
              <a:gd name="connsiteX170" fmla="*/ 4737861 w 5737264"/>
              <a:gd name="connsiteY170" fmla="*/ 884255 h 1240971"/>
              <a:gd name="connsiteX171" fmla="*/ 4762982 w 5737264"/>
              <a:gd name="connsiteY171" fmla="*/ 879231 h 1240971"/>
              <a:gd name="connsiteX172" fmla="*/ 4778054 w 5737264"/>
              <a:gd name="connsiteY172" fmla="*/ 874206 h 1240971"/>
              <a:gd name="connsiteX173" fmla="*/ 4819294 w 5737264"/>
              <a:gd name="connsiteY173" fmla="*/ 873944 h 1240971"/>
              <a:gd name="connsiteX174" fmla="*/ 4877465 w 5737264"/>
              <a:gd name="connsiteY174" fmla="*/ 895638 h 1240971"/>
              <a:gd name="connsiteX175" fmla="*/ 4935347 w 5737264"/>
              <a:gd name="connsiteY175" fmla="*/ 934523 h 1240971"/>
              <a:gd name="connsiteX176" fmla="*/ 4995402 w 5737264"/>
              <a:gd name="connsiteY176" fmla="*/ 1006746 h 1240971"/>
              <a:gd name="connsiteX177" fmla="*/ 5024762 w 5737264"/>
              <a:gd name="connsiteY177" fmla="*/ 1051963 h 1240971"/>
              <a:gd name="connsiteX178" fmla="*/ 5092223 w 5737264"/>
              <a:gd name="connsiteY178" fmla="*/ 1016506 h 1240971"/>
              <a:gd name="connsiteX179" fmla="*/ 5144322 w 5737264"/>
              <a:gd name="connsiteY179" fmla="*/ 948261 h 1240971"/>
              <a:gd name="connsiteX180" fmla="*/ 5189252 w 5737264"/>
              <a:gd name="connsiteY180" fmla="*/ 886112 h 1240971"/>
              <a:gd name="connsiteX181" fmla="*/ 5226279 w 5737264"/>
              <a:gd name="connsiteY181" fmla="*/ 856230 h 1240971"/>
              <a:gd name="connsiteX182" fmla="*/ 5260637 w 5737264"/>
              <a:gd name="connsiteY182" fmla="*/ 822918 h 1240971"/>
              <a:gd name="connsiteX183" fmla="*/ 5295282 w 5737264"/>
              <a:gd name="connsiteY183" fmla="*/ 800440 h 1240971"/>
              <a:gd name="connsiteX184" fmla="*/ 5334430 w 5737264"/>
              <a:gd name="connsiteY184" fmla="*/ 794893 h 1240971"/>
              <a:gd name="connsiteX185" fmla="*/ 5412174 w 5737264"/>
              <a:gd name="connsiteY185" fmla="*/ 824252 h 1240971"/>
              <a:gd name="connsiteX186" fmla="*/ 5431197 w 5737264"/>
              <a:gd name="connsiteY186" fmla="*/ 768699 h 1240971"/>
              <a:gd name="connsiteX187" fmla="*/ 5441246 w 5737264"/>
              <a:gd name="connsiteY187" fmla="*/ 753626 h 1240971"/>
              <a:gd name="connsiteX188" fmla="*/ 5456318 w 5737264"/>
              <a:gd name="connsiteY188" fmla="*/ 708409 h 1240971"/>
              <a:gd name="connsiteX189" fmla="*/ 5466366 w 5737264"/>
              <a:gd name="connsiteY189" fmla="*/ 683288 h 1240971"/>
              <a:gd name="connsiteX190" fmla="*/ 5476415 w 5737264"/>
              <a:gd name="connsiteY190" fmla="*/ 643094 h 1240971"/>
              <a:gd name="connsiteX191" fmla="*/ 5491487 w 5737264"/>
              <a:gd name="connsiteY191" fmla="*/ 617973 h 1240971"/>
              <a:gd name="connsiteX192" fmla="*/ 5506560 w 5737264"/>
              <a:gd name="connsiteY192" fmla="*/ 572756 h 1240971"/>
              <a:gd name="connsiteX193" fmla="*/ 5526656 w 5737264"/>
              <a:gd name="connsiteY193" fmla="*/ 522514 h 1240971"/>
              <a:gd name="connsiteX194" fmla="*/ 5546753 w 5737264"/>
              <a:gd name="connsiteY194" fmla="*/ 467248 h 1240971"/>
              <a:gd name="connsiteX195" fmla="*/ 5556802 w 5737264"/>
              <a:gd name="connsiteY195" fmla="*/ 411982 h 1240971"/>
              <a:gd name="connsiteX196" fmla="*/ 5566850 w 5737264"/>
              <a:gd name="connsiteY196" fmla="*/ 381837 h 1240971"/>
              <a:gd name="connsiteX197" fmla="*/ 5576898 w 5737264"/>
              <a:gd name="connsiteY197" fmla="*/ 356716 h 1240971"/>
              <a:gd name="connsiteX198" fmla="*/ 5596995 w 5737264"/>
              <a:gd name="connsiteY198" fmla="*/ 316523 h 1240971"/>
              <a:gd name="connsiteX199" fmla="*/ 5617092 w 5737264"/>
              <a:gd name="connsiteY199" fmla="*/ 246184 h 1240971"/>
              <a:gd name="connsiteX200" fmla="*/ 5622116 w 5737264"/>
              <a:gd name="connsiteY200" fmla="*/ 226088 h 1240971"/>
              <a:gd name="connsiteX201" fmla="*/ 5632164 w 5737264"/>
              <a:gd name="connsiteY201" fmla="*/ 216039 h 1240971"/>
              <a:gd name="connsiteX202" fmla="*/ 5637188 w 5737264"/>
              <a:gd name="connsiteY202" fmla="*/ 200967 h 1240971"/>
              <a:gd name="connsiteX203" fmla="*/ 5651738 w 5737264"/>
              <a:gd name="connsiteY203" fmla="*/ 190395 h 1240971"/>
              <a:gd name="connsiteX204" fmla="*/ 5673692 w 5737264"/>
              <a:gd name="connsiteY204" fmla="*/ 153892 h 1240971"/>
              <a:gd name="connsiteX205" fmla="*/ 5726602 w 5737264"/>
              <a:gd name="connsiteY205" fmla="*/ 89362 h 1240971"/>
              <a:gd name="connsiteX206" fmla="*/ 5728722 w 5737264"/>
              <a:gd name="connsiteY206" fmla="*/ 42287 h 1240971"/>
              <a:gd name="connsiteX207" fmla="*/ 5634284 w 5737264"/>
              <a:gd name="connsiteY207" fmla="*/ 25357 h 1240971"/>
              <a:gd name="connsiteX208" fmla="*/ 5536940 w 5737264"/>
              <a:gd name="connsiteY208" fmla="*/ 27214 h 1240971"/>
              <a:gd name="connsiteX209" fmla="*/ 5470369 w 5737264"/>
              <a:gd name="connsiteY209" fmla="*/ 39381 h 1240971"/>
              <a:gd name="connsiteX210" fmla="*/ 5379124 w 5737264"/>
              <a:gd name="connsiteY210" fmla="*/ 39644 h 1240971"/>
              <a:gd name="connsiteX211" fmla="*/ 5309282 w 5737264"/>
              <a:gd name="connsiteY211" fmla="*/ 42287 h 1240971"/>
              <a:gd name="connsiteX212" fmla="*/ 5238682 w 5737264"/>
              <a:gd name="connsiteY212" fmla="*/ 54455 h 1240971"/>
              <a:gd name="connsiteX213" fmla="*/ 5108892 w 5737264"/>
              <a:gd name="connsiteY213" fmla="*/ 37524 h 1240971"/>
              <a:gd name="connsiteX214" fmla="*/ 5020026 w 5737264"/>
              <a:gd name="connsiteY214" fmla="*/ 39120 h 1240971"/>
              <a:gd name="connsiteX215" fmla="*/ 4946233 w 5737264"/>
              <a:gd name="connsiteY215" fmla="*/ 41240 h 1240971"/>
              <a:gd name="connsiteX216" fmla="*/ 4823272 w 5737264"/>
              <a:gd name="connsiteY216" fmla="*/ 50242 h 1240971"/>
              <a:gd name="connsiteX217" fmla="*/ 4727577 w 5737264"/>
              <a:gd name="connsiteY217" fmla="*/ 29073 h 1240971"/>
              <a:gd name="connsiteX218" fmla="*/ 4628376 w 5737264"/>
              <a:gd name="connsiteY218" fmla="*/ 41240 h 1240971"/>
              <a:gd name="connsiteX219" fmla="*/ 4565180 w 5737264"/>
              <a:gd name="connsiteY219" fmla="*/ 46264 h 1240971"/>
              <a:gd name="connsiteX220" fmla="*/ 4417596 w 5737264"/>
              <a:gd name="connsiteY220" fmla="*/ 44406 h 1240971"/>
              <a:gd name="connsiteX221" fmla="*/ 4139984 w 5737264"/>
              <a:gd name="connsiteY221" fmla="*/ 60290 h 1240971"/>
              <a:gd name="connsiteX222" fmla="*/ 3918920 w 5737264"/>
              <a:gd name="connsiteY222" fmla="*/ 50242 h 1240971"/>
              <a:gd name="connsiteX223" fmla="*/ 3873703 w 5737264"/>
              <a:gd name="connsiteY223" fmla="*/ 45217 h 1240971"/>
              <a:gd name="connsiteX224" fmla="*/ 3687808 w 5737264"/>
              <a:gd name="connsiteY224" fmla="*/ 40193 h 1240971"/>
              <a:gd name="connsiteX225" fmla="*/ 3662687 w 5737264"/>
              <a:gd name="connsiteY225" fmla="*/ 35169 h 1240971"/>
              <a:gd name="connsiteX226" fmla="*/ 3627518 w 5737264"/>
              <a:gd name="connsiteY226" fmla="*/ 25121 h 1240971"/>
              <a:gd name="connsiteX227" fmla="*/ 3547131 w 5737264"/>
              <a:gd name="connsiteY227" fmla="*/ 20097 h 1240971"/>
              <a:gd name="connsiteX228" fmla="*/ 3310995 w 5737264"/>
              <a:gd name="connsiteY228" fmla="*/ 25121 h 1240971"/>
              <a:gd name="connsiteX229" fmla="*/ 3265777 w 5737264"/>
              <a:gd name="connsiteY229" fmla="*/ 30145 h 1240971"/>
              <a:gd name="connsiteX230" fmla="*/ 3175342 w 5737264"/>
              <a:gd name="connsiteY230" fmla="*/ 35169 h 1240971"/>
              <a:gd name="connsiteX231" fmla="*/ 2582489 w 5737264"/>
              <a:gd name="connsiteY231" fmla="*/ 45217 h 1240971"/>
              <a:gd name="connsiteX232" fmla="*/ 2255918 w 5737264"/>
              <a:gd name="connsiteY232" fmla="*/ 40193 h 1240971"/>
              <a:gd name="connsiteX233" fmla="*/ 1974564 w 5737264"/>
              <a:gd name="connsiteY233" fmla="*/ 30145 h 1240971"/>
              <a:gd name="connsiteX234" fmla="*/ 1944419 w 5737264"/>
              <a:gd name="connsiteY234" fmla="*/ 25121 h 1240971"/>
              <a:gd name="connsiteX235" fmla="*/ 1848960 w 5737264"/>
              <a:gd name="connsiteY235" fmla="*/ 20097 h 1240971"/>
              <a:gd name="connsiteX236" fmla="*/ 1768573 w 5737264"/>
              <a:gd name="connsiteY236" fmla="*/ 10048 h 1240971"/>
              <a:gd name="connsiteX237" fmla="*/ 1502292 w 5737264"/>
              <a:gd name="connsiteY237" fmla="*/ 20097 h 1240971"/>
              <a:gd name="connsiteX238" fmla="*/ 1467122 w 5737264"/>
              <a:gd name="connsiteY238" fmla="*/ 25121 h 1240971"/>
              <a:gd name="connsiteX239" fmla="*/ 1426929 w 5737264"/>
              <a:gd name="connsiteY239" fmla="*/ 30145 h 1240971"/>
              <a:gd name="connsiteX240" fmla="*/ 1341518 w 5737264"/>
              <a:gd name="connsiteY240" fmla="*/ 45217 h 1240971"/>
              <a:gd name="connsiteX241" fmla="*/ 1095333 w 5737264"/>
              <a:gd name="connsiteY241" fmla="*/ 35169 h 1240971"/>
              <a:gd name="connsiteX242" fmla="*/ 979777 w 5737264"/>
              <a:gd name="connsiteY242" fmla="*/ 20097 h 1240971"/>
              <a:gd name="connsiteX243" fmla="*/ 939584 w 5737264"/>
              <a:gd name="connsiteY243" fmla="*/ 10048 h 1240971"/>
              <a:gd name="connsiteX244" fmla="*/ 813980 w 5737264"/>
              <a:gd name="connsiteY244" fmla="*/ 0 h 1240971"/>
              <a:gd name="connsiteX245" fmla="*/ 743641 w 5737264"/>
              <a:gd name="connsiteY245" fmla="*/ 5024 h 1240971"/>
              <a:gd name="connsiteX246" fmla="*/ 582867 w 5737264"/>
              <a:gd name="connsiteY246" fmla="*/ 15072 h 1240971"/>
              <a:gd name="connsiteX247" fmla="*/ 432142 w 5737264"/>
              <a:gd name="connsiteY247" fmla="*/ 5024 h 1240971"/>
              <a:gd name="connsiteX248" fmla="*/ 412046 w 5737264"/>
              <a:gd name="connsiteY248" fmla="*/ 0 h 1240971"/>
              <a:gd name="connsiteX249" fmla="*/ 281417 w 5737264"/>
              <a:gd name="connsiteY249" fmla="*/ 10048 h 1240971"/>
              <a:gd name="connsiteX250" fmla="*/ 261320 w 5737264"/>
              <a:gd name="connsiteY250" fmla="*/ 15072 h 1240971"/>
              <a:gd name="connsiteX251" fmla="*/ 100547 w 5737264"/>
              <a:gd name="connsiteY251" fmla="*/ 20097 h 1240971"/>
              <a:gd name="connsiteX252" fmla="*/ 5087 w 5737264"/>
              <a:gd name="connsiteY252" fmla="*/ 30145 h 1240971"/>
              <a:gd name="connsiteX0" fmla="*/ 5087 w 5737264"/>
              <a:gd name="connsiteY0" fmla="*/ 30145 h 1252962"/>
              <a:gd name="connsiteX1" fmla="*/ 15136 w 5737264"/>
              <a:gd name="connsiteY1" fmla="*/ 115556 h 1252962"/>
              <a:gd name="connsiteX2" fmla="*/ 20160 w 5737264"/>
              <a:gd name="connsiteY2" fmla="*/ 150725 h 1252962"/>
              <a:gd name="connsiteX3" fmla="*/ 25184 w 5737264"/>
              <a:gd name="connsiteY3" fmla="*/ 236136 h 1252962"/>
              <a:gd name="connsiteX4" fmla="*/ 35232 w 5737264"/>
              <a:gd name="connsiteY4" fmla="*/ 311499 h 1252962"/>
              <a:gd name="connsiteX5" fmla="*/ 40256 w 5737264"/>
              <a:gd name="connsiteY5" fmla="*/ 783771 h 1252962"/>
              <a:gd name="connsiteX6" fmla="*/ 45281 w 5737264"/>
              <a:gd name="connsiteY6" fmla="*/ 864158 h 1252962"/>
              <a:gd name="connsiteX7" fmla="*/ 35232 w 5737264"/>
              <a:gd name="connsiteY7" fmla="*/ 1034980 h 1252962"/>
              <a:gd name="connsiteX8" fmla="*/ 25184 w 5737264"/>
              <a:gd name="connsiteY8" fmla="*/ 1100294 h 1252962"/>
              <a:gd name="connsiteX9" fmla="*/ 20160 w 5737264"/>
              <a:gd name="connsiteY9" fmla="*/ 1150536 h 1252962"/>
              <a:gd name="connsiteX10" fmla="*/ 25184 w 5737264"/>
              <a:gd name="connsiteY10" fmla="*/ 1170633 h 1252962"/>
              <a:gd name="connsiteX11" fmla="*/ 35232 w 5737264"/>
              <a:gd name="connsiteY11" fmla="*/ 1160584 h 1252962"/>
              <a:gd name="connsiteX12" fmla="*/ 55329 w 5737264"/>
              <a:gd name="connsiteY12" fmla="*/ 1100294 h 1252962"/>
              <a:gd name="connsiteX13" fmla="*/ 60353 w 5737264"/>
              <a:gd name="connsiteY13" fmla="*/ 1085222 h 1252962"/>
              <a:gd name="connsiteX14" fmla="*/ 70402 w 5737264"/>
              <a:gd name="connsiteY14" fmla="*/ 1075173 h 1252962"/>
              <a:gd name="connsiteX15" fmla="*/ 95522 w 5737264"/>
              <a:gd name="connsiteY15" fmla="*/ 1045028 h 1252962"/>
              <a:gd name="connsiteX16" fmla="*/ 110595 w 5737264"/>
              <a:gd name="connsiteY16" fmla="*/ 1040004 h 1252962"/>
              <a:gd name="connsiteX17" fmla="*/ 135716 w 5737264"/>
              <a:gd name="connsiteY17" fmla="*/ 1019908 h 1252962"/>
              <a:gd name="connsiteX18" fmla="*/ 150788 w 5737264"/>
              <a:gd name="connsiteY18" fmla="*/ 1009859 h 1252962"/>
              <a:gd name="connsiteX19" fmla="*/ 175909 w 5737264"/>
              <a:gd name="connsiteY19" fmla="*/ 994787 h 1252962"/>
              <a:gd name="connsiteX20" fmla="*/ 216103 w 5737264"/>
              <a:gd name="connsiteY20" fmla="*/ 984738 h 1252962"/>
              <a:gd name="connsiteX21" fmla="*/ 286441 w 5737264"/>
              <a:gd name="connsiteY21" fmla="*/ 994787 h 1252962"/>
              <a:gd name="connsiteX22" fmla="*/ 301514 w 5737264"/>
              <a:gd name="connsiteY22" fmla="*/ 1004835 h 1252962"/>
              <a:gd name="connsiteX23" fmla="*/ 321610 w 5737264"/>
              <a:gd name="connsiteY23" fmla="*/ 1034980 h 1252962"/>
              <a:gd name="connsiteX24" fmla="*/ 356780 w 5737264"/>
              <a:gd name="connsiteY24" fmla="*/ 1065125 h 1252962"/>
              <a:gd name="connsiteX25" fmla="*/ 366828 w 5737264"/>
              <a:gd name="connsiteY25" fmla="*/ 1080198 h 1252962"/>
              <a:gd name="connsiteX26" fmla="*/ 381900 w 5737264"/>
              <a:gd name="connsiteY26" fmla="*/ 1085222 h 1252962"/>
              <a:gd name="connsiteX27" fmla="*/ 396973 w 5737264"/>
              <a:gd name="connsiteY27" fmla="*/ 1095270 h 1252962"/>
              <a:gd name="connsiteX28" fmla="*/ 407021 w 5737264"/>
              <a:gd name="connsiteY28" fmla="*/ 1105319 h 1252962"/>
              <a:gd name="connsiteX29" fmla="*/ 422094 w 5737264"/>
              <a:gd name="connsiteY29" fmla="*/ 1110343 h 1252962"/>
              <a:gd name="connsiteX30" fmla="*/ 437166 w 5737264"/>
              <a:gd name="connsiteY30" fmla="*/ 1120391 h 1252962"/>
              <a:gd name="connsiteX31" fmla="*/ 467311 w 5737264"/>
              <a:gd name="connsiteY31" fmla="*/ 1130439 h 1252962"/>
              <a:gd name="connsiteX32" fmla="*/ 522577 w 5737264"/>
              <a:gd name="connsiteY32" fmla="*/ 1115367 h 1252962"/>
              <a:gd name="connsiteX33" fmla="*/ 552722 w 5737264"/>
              <a:gd name="connsiteY33" fmla="*/ 1075173 h 1252962"/>
              <a:gd name="connsiteX34" fmla="*/ 567795 w 5737264"/>
              <a:gd name="connsiteY34" fmla="*/ 1070149 h 1252962"/>
              <a:gd name="connsiteX35" fmla="*/ 582867 w 5737264"/>
              <a:gd name="connsiteY35" fmla="*/ 1060101 h 1252962"/>
              <a:gd name="connsiteX36" fmla="*/ 638133 w 5737264"/>
              <a:gd name="connsiteY36" fmla="*/ 1045028 h 1252962"/>
              <a:gd name="connsiteX37" fmla="*/ 653206 w 5737264"/>
              <a:gd name="connsiteY37" fmla="*/ 1040004 h 1252962"/>
              <a:gd name="connsiteX38" fmla="*/ 693399 w 5737264"/>
              <a:gd name="connsiteY38" fmla="*/ 1045028 h 1252962"/>
              <a:gd name="connsiteX39" fmla="*/ 723544 w 5737264"/>
              <a:gd name="connsiteY39" fmla="*/ 1055077 h 1252962"/>
              <a:gd name="connsiteX40" fmla="*/ 733593 w 5737264"/>
              <a:gd name="connsiteY40" fmla="*/ 1065125 h 1252962"/>
              <a:gd name="connsiteX41" fmla="*/ 768762 w 5737264"/>
              <a:gd name="connsiteY41" fmla="*/ 1080198 h 1252962"/>
              <a:gd name="connsiteX42" fmla="*/ 803931 w 5737264"/>
              <a:gd name="connsiteY42" fmla="*/ 1105319 h 1252962"/>
              <a:gd name="connsiteX43" fmla="*/ 834076 w 5737264"/>
              <a:gd name="connsiteY43" fmla="*/ 1130439 h 1252962"/>
              <a:gd name="connsiteX44" fmla="*/ 869246 w 5737264"/>
              <a:gd name="connsiteY44" fmla="*/ 1140488 h 1252962"/>
              <a:gd name="connsiteX45" fmla="*/ 909439 w 5737264"/>
              <a:gd name="connsiteY45" fmla="*/ 1175657 h 1252962"/>
              <a:gd name="connsiteX46" fmla="*/ 939584 w 5737264"/>
              <a:gd name="connsiteY46" fmla="*/ 1185705 h 1252962"/>
              <a:gd name="connsiteX47" fmla="*/ 979777 w 5737264"/>
              <a:gd name="connsiteY47" fmla="*/ 1180681 h 1252962"/>
              <a:gd name="connsiteX48" fmla="*/ 989826 w 5737264"/>
              <a:gd name="connsiteY48" fmla="*/ 1170633 h 1252962"/>
              <a:gd name="connsiteX49" fmla="*/ 1004898 w 5737264"/>
              <a:gd name="connsiteY49" fmla="*/ 1150536 h 1252962"/>
              <a:gd name="connsiteX50" fmla="*/ 1014947 w 5737264"/>
              <a:gd name="connsiteY50" fmla="*/ 1120391 h 1252962"/>
              <a:gd name="connsiteX51" fmla="*/ 1040067 w 5737264"/>
              <a:gd name="connsiteY51" fmla="*/ 1095270 h 1252962"/>
              <a:gd name="connsiteX52" fmla="*/ 1050116 w 5737264"/>
              <a:gd name="connsiteY52" fmla="*/ 1085222 h 1252962"/>
              <a:gd name="connsiteX53" fmla="*/ 1075237 w 5737264"/>
              <a:gd name="connsiteY53" fmla="*/ 1065125 h 1252962"/>
              <a:gd name="connsiteX54" fmla="*/ 1090309 w 5737264"/>
              <a:gd name="connsiteY54" fmla="*/ 1050053 h 1252962"/>
              <a:gd name="connsiteX55" fmla="*/ 1120454 w 5737264"/>
              <a:gd name="connsiteY55" fmla="*/ 1040004 h 1252962"/>
              <a:gd name="connsiteX56" fmla="*/ 1135527 w 5737264"/>
              <a:gd name="connsiteY56" fmla="*/ 1034980 h 1252962"/>
              <a:gd name="connsiteX57" fmla="*/ 1160648 w 5737264"/>
              <a:gd name="connsiteY57" fmla="*/ 1019908 h 1252962"/>
              <a:gd name="connsiteX58" fmla="*/ 1175720 w 5737264"/>
              <a:gd name="connsiteY58" fmla="*/ 1014883 h 1252962"/>
              <a:gd name="connsiteX59" fmla="*/ 1195817 w 5737264"/>
              <a:gd name="connsiteY59" fmla="*/ 1004835 h 1252962"/>
              <a:gd name="connsiteX60" fmla="*/ 1281228 w 5737264"/>
              <a:gd name="connsiteY60" fmla="*/ 1014883 h 1252962"/>
              <a:gd name="connsiteX61" fmla="*/ 1296300 w 5737264"/>
              <a:gd name="connsiteY61" fmla="*/ 1024932 h 1252962"/>
              <a:gd name="connsiteX62" fmla="*/ 1311373 w 5737264"/>
              <a:gd name="connsiteY62" fmla="*/ 1029956 h 1252962"/>
              <a:gd name="connsiteX63" fmla="*/ 1326446 w 5737264"/>
              <a:gd name="connsiteY63" fmla="*/ 1060101 h 1252962"/>
              <a:gd name="connsiteX64" fmla="*/ 1341518 w 5737264"/>
              <a:gd name="connsiteY64" fmla="*/ 1065125 h 1252962"/>
              <a:gd name="connsiteX65" fmla="*/ 1356591 w 5737264"/>
              <a:gd name="connsiteY65" fmla="*/ 1075173 h 1252962"/>
              <a:gd name="connsiteX66" fmla="*/ 1396784 w 5737264"/>
              <a:gd name="connsiteY66" fmla="*/ 1090246 h 1252962"/>
              <a:gd name="connsiteX67" fmla="*/ 1447026 w 5737264"/>
              <a:gd name="connsiteY67" fmla="*/ 1105319 h 1252962"/>
              <a:gd name="connsiteX68" fmla="*/ 1462098 w 5737264"/>
              <a:gd name="connsiteY68" fmla="*/ 1110343 h 1252962"/>
              <a:gd name="connsiteX69" fmla="*/ 1497267 w 5737264"/>
              <a:gd name="connsiteY69" fmla="*/ 1120391 h 1252962"/>
              <a:gd name="connsiteX70" fmla="*/ 1552533 w 5737264"/>
              <a:gd name="connsiteY70" fmla="*/ 1115367 h 1252962"/>
              <a:gd name="connsiteX71" fmla="*/ 1567606 w 5737264"/>
              <a:gd name="connsiteY71" fmla="*/ 1110343 h 1252962"/>
              <a:gd name="connsiteX72" fmla="*/ 1587703 w 5737264"/>
              <a:gd name="connsiteY72" fmla="*/ 1090246 h 1252962"/>
              <a:gd name="connsiteX73" fmla="*/ 1637944 w 5737264"/>
              <a:gd name="connsiteY73" fmla="*/ 1050053 h 1252962"/>
              <a:gd name="connsiteX74" fmla="*/ 1653017 w 5737264"/>
              <a:gd name="connsiteY74" fmla="*/ 1029956 h 1252962"/>
              <a:gd name="connsiteX75" fmla="*/ 1688186 w 5737264"/>
              <a:gd name="connsiteY75" fmla="*/ 1019908 h 1252962"/>
              <a:gd name="connsiteX76" fmla="*/ 1788670 w 5737264"/>
              <a:gd name="connsiteY76" fmla="*/ 1029956 h 1252962"/>
              <a:gd name="connsiteX77" fmla="*/ 1818815 w 5737264"/>
              <a:gd name="connsiteY77" fmla="*/ 1040004 h 1252962"/>
              <a:gd name="connsiteX78" fmla="*/ 1853984 w 5737264"/>
              <a:gd name="connsiteY78" fmla="*/ 1050053 h 1252962"/>
              <a:gd name="connsiteX79" fmla="*/ 1869056 w 5737264"/>
              <a:gd name="connsiteY79" fmla="*/ 1060101 h 1252962"/>
              <a:gd name="connsiteX80" fmla="*/ 1894177 w 5737264"/>
              <a:gd name="connsiteY80" fmla="*/ 1065125 h 1252962"/>
              <a:gd name="connsiteX81" fmla="*/ 1949443 w 5737264"/>
              <a:gd name="connsiteY81" fmla="*/ 1085222 h 1252962"/>
              <a:gd name="connsiteX82" fmla="*/ 1969540 w 5737264"/>
              <a:gd name="connsiteY82" fmla="*/ 1090246 h 1252962"/>
              <a:gd name="connsiteX83" fmla="*/ 2014758 w 5737264"/>
              <a:gd name="connsiteY83" fmla="*/ 1110343 h 1252962"/>
              <a:gd name="connsiteX84" fmla="*/ 2039878 w 5737264"/>
              <a:gd name="connsiteY84" fmla="*/ 1125415 h 1252962"/>
              <a:gd name="connsiteX85" fmla="*/ 2120265 w 5737264"/>
              <a:gd name="connsiteY85" fmla="*/ 1120391 h 1252962"/>
              <a:gd name="connsiteX86" fmla="*/ 2130314 w 5737264"/>
              <a:gd name="connsiteY86" fmla="*/ 1110343 h 1252962"/>
              <a:gd name="connsiteX87" fmla="*/ 2155435 w 5737264"/>
              <a:gd name="connsiteY87" fmla="*/ 1100294 h 1252962"/>
              <a:gd name="connsiteX88" fmla="*/ 2190604 w 5737264"/>
              <a:gd name="connsiteY88" fmla="*/ 1070149 h 1252962"/>
              <a:gd name="connsiteX89" fmla="*/ 2230797 w 5737264"/>
              <a:gd name="connsiteY89" fmla="*/ 1040004 h 1252962"/>
              <a:gd name="connsiteX90" fmla="*/ 2245870 w 5737264"/>
              <a:gd name="connsiteY90" fmla="*/ 1034980 h 1252962"/>
              <a:gd name="connsiteX91" fmla="*/ 2270991 w 5737264"/>
              <a:gd name="connsiteY91" fmla="*/ 1019908 h 1252962"/>
              <a:gd name="connsiteX92" fmla="*/ 2301136 w 5737264"/>
              <a:gd name="connsiteY92" fmla="*/ 994787 h 1252962"/>
              <a:gd name="connsiteX93" fmla="*/ 2316208 w 5737264"/>
              <a:gd name="connsiteY93" fmla="*/ 989763 h 1252962"/>
              <a:gd name="connsiteX94" fmla="*/ 2396595 w 5737264"/>
              <a:gd name="connsiteY94" fmla="*/ 984738 h 1252962"/>
              <a:gd name="connsiteX95" fmla="*/ 2426740 w 5737264"/>
              <a:gd name="connsiteY95" fmla="*/ 989763 h 1252962"/>
              <a:gd name="connsiteX96" fmla="*/ 2461909 w 5737264"/>
              <a:gd name="connsiteY96" fmla="*/ 1024932 h 1252962"/>
              <a:gd name="connsiteX97" fmla="*/ 2476982 w 5737264"/>
              <a:gd name="connsiteY97" fmla="*/ 1029956 h 1252962"/>
              <a:gd name="connsiteX98" fmla="*/ 2487030 w 5737264"/>
              <a:gd name="connsiteY98" fmla="*/ 1045028 h 1252962"/>
              <a:gd name="connsiteX99" fmla="*/ 2497078 w 5737264"/>
              <a:gd name="connsiteY99" fmla="*/ 1055077 h 1252962"/>
              <a:gd name="connsiteX100" fmla="*/ 2532248 w 5737264"/>
              <a:gd name="connsiteY100" fmla="*/ 1095270 h 1252962"/>
              <a:gd name="connsiteX101" fmla="*/ 2567417 w 5737264"/>
              <a:gd name="connsiteY101" fmla="*/ 1135464 h 1252962"/>
              <a:gd name="connsiteX102" fmla="*/ 2582489 w 5737264"/>
              <a:gd name="connsiteY102" fmla="*/ 1145512 h 1252962"/>
              <a:gd name="connsiteX103" fmla="*/ 2622683 w 5737264"/>
              <a:gd name="connsiteY103" fmla="*/ 1170633 h 1252962"/>
              <a:gd name="connsiteX104" fmla="*/ 2657852 w 5737264"/>
              <a:gd name="connsiteY104" fmla="*/ 1160584 h 1252962"/>
              <a:gd name="connsiteX105" fmla="*/ 2682973 w 5737264"/>
              <a:gd name="connsiteY105" fmla="*/ 1145512 h 1252962"/>
              <a:gd name="connsiteX106" fmla="*/ 2713118 w 5737264"/>
              <a:gd name="connsiteY106" fmla="*/ 1130439 h 1252962"/>
              <a:gd name="connsiteX107" fmla="*/ 2728191 w 5737264"/>
              <a:gd name="connsiteY107" fmla="*/ 1120391 h 1252962"/>
              <a:gd name="connsiteX108" fmla="*/ 2748287 w 5737264"/>
              <a:gd name="connsiteY108" fmla="*/ 1115367 h 1252962"/>
              <a:gd name="connsiteX109" fmla="*/ 2778432 w 5737264"/>
              <a:gd name="connsiteY109" fmla="*/ 1105319 h 1252962"/>
              <a:gd name="connsiteX110" fmla="*/ 2868867 w 5737264"/>
              <a:gd name="connsiteY110" fmla="*/ 1075173 h 1252962"/>
              <a:gd name="connsiteX111" fmla="*/ 2893988 w 5737264"/>
              <a:gd name="connsiteY111" fmla="*/ 1070149 h 1252962"/>
              <a:gd name="connsiteX112" fmla="*/ 2919109 w 5737264"/>
              <a:gd name="connsiteY112" fmla="*/ 1075173 h 1252962"/>
              <a:gd name="connsiteX113" fmla="*/ 2934182 w 5737264"/>
              <a:gd name="connsiteY113" fmla="*/ 1080198 h 1252962"/>
              <a:gd name="connsiteX114" fmla="*/ 2944230 w 5737264"/>
              <a:gd name="connsiteY114" fmla="*/ 1110343 h 1252962"/>
              <a:gd name="connsiteX115" fmla="*/ 2959303 w 5737264"/>
              <a:gd name="connsiteY115" fmla="*/ 1125415 h 1252962"/>
              <a:gd name="connsiteX116" fmla="*/ 2979399 w 5737264"/>
              <a:gd name="connsiteY116" fmla="*/ 1155560 h 1252962"/>
              <a:gd name="connsiteX117" fmla="*/ 2994472 w 5737264"/>
              <a:gd name="connsiteY117" fmla="*/ 1160584 h 1252962"/>
              <a:gd name="connsiteX118" fmla="*/ 3014569 w 5737264"/>
              <a:gd name="connsiteY118" fmla="*/ 1180681 h 1252962"/>
              <a:gd name="connsiteX119" fmla="*/ 3024617 w 5737264"/>
              <a:gd name="connsiteY119" fmla="*/ 1190730 h 1252962"/>
              <a:gd name="connsiteX120" fmla="*/ 3069835 w 5737264"/>
              <a:gd name="connsiteY120" fmla="*/ 1215850 h 1252962"/>
              <a:gd name="connsiteX121" fmla="*/ 3076168 w 5737264"/>
              <a:gd name="connsiteY121" fmla="*/ 1252354 h 1252962"/>
              <a:gd name="connsiteX122" fmla="*/ 3130125 w 5737264"/>
              <a:gd name="connsiteY122" fmla="*/ 1240971 h 1252962"/>
              <a:gd name="connsiteX123" fmla="*/ 3177985 w 5737264"/>
              <a:gd name="connsiteY123" fmla="*/ 1207372 h 1252962"/>
              <a:gd name="connsiteX124" fmla="*/ 3229535 w 5737264"/>
              <a:gd name="connsiteY124" fmla="*/ 1178561 h 1252962"/>
              <a:gd name="connsiteX125" fmla="*/ 3281634 w 5737264"/>
              <a:gd name="connsiteY125" fmla="*/ 1153440 h 1252962"/>
              <a:gd name="connsiteX126" fmla="*/ 3310995 w 5737264"/>
              <a:gd name="connsiteY126" fmla="*/ 1145512 h 1252962"/>
              <a:gd name="connsiteX127" fmla="*/ 3351188 w 5737264"/>
              <a:gd name="connsiteY127" fmla="*/ 1140488 h 1252962"/>
              <a:gd name="connsiteX128" fmla="*/ 3406454 w 5737264"/>
              <a:gd name="connsiteY128" fmla="*/ 1155560 h 1252962"/>
              <a:gd name="connsiteX129" fmla="*/ 3426551 w 5737264"/>
              <a:gd name="connsiteY129" fmla="*/ 1165609 h 1252962"/>
              <a:gd name="connsiteX130" fmla="*/ 3441624 w 5737264"/>
              <a:gd name="connsiteY130" fmla="*/ 1175657 h 1252962"/>
              <a:gd name="connsiteX131" fmla="*/ 3456696 w 5737264"/>
              <a:gd name="connsiteY131" fmla="*/ 1180681 h 1252962"/>
              <a:gd name="connsiteX132" fmla="*/ 3466744 w 5737264"/>
              <a:gd name="connsiteY132" fmla="*/ 1195754 h 1252962"/>
              <a:gd name="connsiteX133" fmla="*/ 3527035 w 5737264"/>
              <a:gd name="connsiteY133" fmla="*/ 1200778 h 1252962"/>
              <a:gd name="connsiteX134" fmla="*/ 3542107 w 5737264"/>
              <a:gd name="connsiteY134" fmla="*/ 1190730 h 1252962"/>
              <a:gd name="connsiteX135" fmla="*/ 3567228 w 5737264"/>
              <a:gd name="connsiteY135" fmla="*/ 1180681 h 1252962"/>
              <a:gd name="connsiteX136" fmla="*/ 3587325 w 5737264"/>
              <a:gd name="connsiteY136" fmla="*/ 1150536 h 1252962"/>
              <a:gd name="connsiteX137" fmla="*/ 3617470 w 5737264"/>
              <a:gd name="connsiteY137" fmla="*/ 1125415 h 1252962"/>
              <a:gd name="connsiteX138" fmla="*/ 3632542 w 5737264"/>
              <a:gd name="connsiteY138" fmla="*/ 1105319 h 1252962"/>
              <a:gd name="connsiteX139" fmla="*/ 3662687 w 5737264"/>
              <a:gd name="connsiteY139" fmla="*/ 1085222 h 1252962"/>
              <a:gd name="connsiteX140" fmla="*/ 3697856 w 5737264"/>
              <a:gd name="connsiteY140" fmla="*/ 1070149 h 1252962"/>
              <a:gd name="connsiteX141" fmla="*/ 3707905 w 5737264"/>
              <a:gd name="connsiteY141" fmla="*/ 1060101 h 1252962"/>
              <a:gd name="connsiteX142" fmla="*/ 3743074 w 5737264"/>
              <a:gd name="connsiteY142" fmla="*/ 1047148 h 1252962"/>
              <a:gd name="connsiteX143" fmla="*/ 3799125 w 5737264"/>
              <a:gd name="connsiteY143" fmla="*/ 1043982 h 1252962"/>
              <a:gd name="connsiteX144" fmla="*/ 3859651 w 5737264"/>
              <a:gd name="connsiteY144" fmla="*/ 1072033 h 1252962"/>
              <a:gd name="connsiteX145" fmla="*/ 3902226 w 5737264"/>
              <a:gd name="connsiteY145" fmla="*/ 1101367 h 1252962"/>
              <a:gd name="connsiteX146" fmla="*/ 3958041 w 5737264"/>
              <a:gd name="connsiteY146" fmla="*/ 1142346 h 1252962"/>
              <a:gd name="connsiteX147" fmla="*/ 4019404 w 5737264"/>
              <a:gd name="connsiteY147" fmla="*/ 1165609 h 1252962"/>
              <a:gd name="connsiteX148" fmla="*/ 4064621 w 5737264"/>
              <a:gd name="connsiteY148" fmla="*/ 1150536 h 1252962"/>
              <a:gd name="connsiteX149" fmla="*/ 4079694 w 5737264"/>
              <a:gd name="connsiteY149" fmla="*/ 1125415 h 1252962"/>
              <a:gd name="connsiteX150" fmla="*/ 4099791 w 5737264"/>
              <a:gd name="connsiteY150" fmla="*/ 1105319 h 1252962"/>
              <a:gd name="connsiteX151" fmla="*/ 4129936 w 5737264"/>
              <a:gd name="connsiteY151" fmla="*/ 1075173 h 1252962"/>
              <a:gd name="connsiteX152" fmla="*/ 4150032 w 5737264"/>
              <a:gd name="connsiteY152" fmla="*/ 1040004 h 1252962"/>
              <a:gd name="connsiteX153" fmla="*/ 4160081 w 5737264"/>
              <a:gd name="connsiteY153" fmla="*/ 1019908 h 1252962"/>
              <a:gd name="connsiteX154" fmla="*/ 4165105 w 5737264"/>
              <a:gd name="connsiteY154" fmla="*/ 1004835 h 1252962"/>
              <a:gd name="connsiteX155" fmla="*/ 4185202 w 5737264"/>
              <a:gd name="connsiteY155" fmla="*/ 984738 h 1252962"/>
              <a:gd name="connsiteX156" fmla="*/ 4200274 w 5737264"/>
              <a:gd name="connsiteY156" fmla="*/ 979714 h 1252962"/>
              <a:gd name="connsiteX157" fmla="*/ 4235443 w 5737264"/>
              <a:gd name="connsiteY157" fmla="*/ 954593 h 1252962"/>
              <a:gd name="connsiteX158" fmla="*/ 4275637 w 5737264"/>
              <a:gd name="connsiteY158" fmla="*/ 934497 h 1252962"/>
              <a:gd name="connsiteX159" fmla="*/ 4310806 w 5737264"/>
              <a:gd name="connsiteY159" fmla="*/ 914400 h 1252962"/>
              <a:gd name="connsiteX160" fmla="*/ 4325878 w 5737264"/>
              <a:gd name="connsiteY160" fmla="*/ 904352 h 1252962"/>
              <a:gd name="connsiteX161" fmla="*/ 4362094 w 5737264"/>
              <a:gd name="connsiteY161" fmla="*/ 909114 h 1252962"/>
              <a:gd name="connsiteX162" fmla="*/ 4417099 w 5737264"/>
              <a:gd name="connsiteY162" fmla="*/ 946141 h 1252962"/>
              <a:gd name="connsiteX163" fmla="*/ 4462316 w 5737264"/>
              <a:gd name="connsiteY163" fmla="*/ 1006955 h 1252962"/>
              <a:gd name="connsiteX164" fmla="*/ 4531320 w 5737264"/>
              <a:gd name="connsiteY164" fmla="*/ 1037650 h 1252962"/>
              <a:gd name="connsiteX165" fmla="*/ 4597184 w 5737264"/>
              <a:gd name="connsiteY165" fmla="*/ 969666 h 1252962"/>
              <a:gd name="connsiteX166" fmla="*/ 4617281 w 5737264"/>
              <a:gd name="connsiteY166" fmla="*/ 959617 h 1252962"/>
              <a:gd name="connsiteX167" fmla="*/ 4632353 w 5737264"/>
              <a:gd name="connsiteY167" fmla="*/ 944545 h 1252962"/>
              <a:gd name="connsiteX168" fmla="*/ 4652450 w 5737264"/>
              <a:gd name="connsiteY168" fmla="*/ 934497 h 1252962"/>
              <a:gd name="connsiteX169" fmla="*/ 4672547 w 5737264"/>
              <a:gd name="connsiteY169" fmla="*/ 919424 h 1252962"/>
              <a:gd name="connsiteX170" fmla="*/ 4737861 w 5737264"/>
              <a:gd name="connsiteY170" fmla="*/ 884255 h 1252962"/>
              <a:gd name="connsiteX171" fmla="*/ 4762982 w 5737264"/>
              <a:gd name="connsiteY171" fmla="*/ 879231 h 1252962"/>
              <a:gd name="connsiteX172" fmla="*/ 4778054 w 5737264"/>
              <a:gd name="connsiteY172" fmla="*/ 874206 h 1252962"/>
              <a:gd name="connsiteX173" fmla="*/ 4819294 w 5737264"/>
              <a:gd name="connsiteY173" fmla="*/ 873944 h 1252962"/>
              <a:gd name="connsiteX174" fmla="*/ 4877465 w 5737264"/>
              <a:gd name="connsiteY174" fmla="*/ 895638 h 1252962"/>
              <a:gd name="connsiteX175" fmla="*/ 4935347 w 5737264"/>
              <a:gd name="connsiteY175" fmla="*/ 934523 h 1252962"/>
              <a:gd name="connsiteX176" fmla="*/ 4995402 w 5737264"/>
              <a:gd name="connsiteY176" fmla="*/ 1006746 h 1252962"/>
              <a:gd name="connsiteX177" fmla="*/ 5024762 w 5737264"/>
              <a:gd name="connsiteY177" fmla="*/ 1051963 h 1252962"/>
              <a:gd name="connsiteX178" fmla="*/ 5092223 w 5737264"/>
              <a:gd name="connsiteY178" fmla="*/ 1016506 h 1252962"/>
              <a:gd name="connsiteX179" fmla="*/ 5144322 w 5737264"/>
              <a:gd name="connsiteY179" fmla="*/ 948261 h 1252962"/>
              <a:gd name="connsiteX180" fmla="*/ 5189252 w 5737264"/>
              <a:gd name="connsiteY180" fmla="*/ 886112 h 1252962"/>
              <a:gd name="connsiteX181" fmla="*/ 5226279 w 5737264"/>
              <a:gd name="connsiteY181" fmla="*/ 856230 h 1252962"/>
              <a:gd name="connsiteX182" fmla="*/ 5260637 w 5737264"/>
              <a:gd name="connsiteY182" fmla="*/ 822918 h 1252962"/>
              <a:gd name="connsiteX183" fmla="*/ 5295282 w 5737264"/>
              <a:gd name="connsiteY183" fmla="*/ 800440 h 1252962"/>
              <a:gd name="connsiteX184" fmla="*/ 5334430 w 5737264"/>
              <a:gd name="connsiteY184" fmla="*/ 794893 h 1252962"/>
              <a:gd name="connsiteX185" fmla="*/ 5412174 w 5737264"/>
              <a:gd name="connsiteY185" fmla="*/ 824252 h 1252962"/>
              <a:gd name="connsiteX186" fmla="*/ 5431197 w 5737264"/>
              <a:gd name="connsiteY186" fmla="*/ 768699 h 1252962"/>
              <a:gd name="connsiteX187" fmla="*/ 5441246 w 5737264"/>
              <a:gd name="connsiteY187" fmla="*/ 753626 h 1252962"/>
              <a:gd name="connsiteX188" fmla="*/ 5456318 w 5737264"/>
              <a:gd name="connsiteY188" fmla="*/ 708409 h 1252962"/>
              <a:gd name="connsiteX189" fmla="*/ 5466366 w 5737264"/>
              <a:gd name="connsiteY189" fmla="*/ 683288 h 1252962"/>
              <a:gd name="connsiteX190" fmla="*/ 5476415 w 5737264"/>
              <a:gd name="connsiteY190" fmla="*/ 643094 h 1252962"/>
              <a:gd name="connsiteX191" fmla="*/ 5491487 w 5737264"/>
              <a:gd name="connsiteY191" fmla="*/ 617973 h 1252962"/>
              <a:gd name="connsiteX192" fmla="*/ 5506560 w 5737264"/>
              <a:gd name="connsiteY192" fmla="*/ 572756 h 1252962"/>
              <a:gd name="connsiteX193" fmla="*/ 5526656 w 5737264"/>
              <a:gd name="connsiteY193" fmla="*/ 522514 h 1252962"/>
              <a:gd name="connsiteX194" fmla="*/ 5546753 w 5737264"/>
              <a:gd name="connsiteY194" fmla="*/ 467248 h 1252962"/>
              <a:gd name="connsiteX195" fmla="*/ 5556802 w 5737264"/>
              <a:gd name="connsiteY195" fmla="*/ 411982 h 1252962"/>
              <a:gd name="connsiteX196" fmla="*/ 5566850 w 5737264"/>
              <a:gd name="connsiteY196" fmla="*/ 381837 h 1252962"/>
              <a:gd name="connsiteX197" fmla="*/ 5576898 w 5737264"/>
              <a:gd name="connsiteY197" fmla="*/ 356716 h 1252962"/>
              <a:gd name="connsiteX198" fmla="*/ 5596995 w 5737264"/>
              <a:gd name="connsiteY198" fmla="*/ 316523 h 1252962"/>
              <a:gd name="connsiteX199" fmla="*/ 5617092 w 5737264"/>
              <a:gd name="connsiteY199" fmla="*/ 246184 h 1252962"/>
              <a:gd name="connsiteX200" fmla="*/ 5622116 w 5737264"/>
              <a:gd name="connsiteY200" fmla="*/ 226088 h 1252962"/>
              <a:gd name="connsiteX201" fmla="*/ 5632164 w 5737264"/>
              <a:gd name="connsiteY201" fmla="*/ 216039 h 1252962"/>
              <a:gd name="connsiteX202" fmla="*/ 5637188 w 5737264"/>
              <a:gd name="connsiteY202" fmla="*/ 200967 h 1252962"/>
              <a:gd name="connsiteX203" fmla="*/ 5651738 w 5737264"/>
              <a:gd name="connsiteY203" fmla="*/ 190395 h 1252962"/>
              <a:gd name="connsiteX204" fmla="*/ 5673692 w 5737264"/>
              <a:gd name="connsiteY204" fmla="*/ 153892 h 1252962"/>
              <a:gd name="connsiteX205" fmla="*/ 5726602 w 5737264"/>
              <a:gd name="connsiteY205" fmla="*/ 89362 h 1252962"/>
              <a:gd name="connsiteX206" fmla="*/ 5728722 w 5737264"/>
              <a:gd name="connsiteY206" fmla="*/ 42287 h 1252962"/>
              <a:gd name="connsiteX207" fmla="*/ 5634284 w 5737264"/>
              <a:gd name="connsiteY207" fmla="*/ 25357 h 1252962"/>
              <a:gd name="connsiteX208" fmla="*/ 5536940 w 5737264"/>
              <a:gd name="connsiteY208" fmla="*/ 27214 h 1252962"/>
              <a:gd name="connsiteX209" fmla="*/ 5470369 w 5737264"/>
              <a:gd name="connsiteY209" fmla="*/ 39381 h 1252962"/>
              <a:gd name="connsiteX210" fmla="*/ 5379124 w 5737264"/>
              <a:gd name="connsiteY210" fmla="*/ 39644 h 1252962"/>
              <a:gd name="connsiteX211" fmla="*/ 5309282 w 5737264"/>
              <a:gd name="connsiteY211" fmla="*/ 42287 h 1252962"/>
              <a:gd name="connsiteX212" fmla="*/ 5238682 w 5737264"/>
              <a:gd name="connsiteY212" fmla="*/ 54455 h 1252962"/>
              <a:gd name="connsiteX213" fmla="*/ 5108892 w 5737264"/>
              <a:gd name="connsiteY213" fmla="*/ 37524 h 1252962"/>
              <a:gd name="connsiteX214" fmla="*/ 5020026 w 5737264"/>
              <a:gd name="connsiteY214" fmla="*/ 39120 h 1252962"/>
              <a:gd name="connsiteX215" fmla="*/ 4946233 w 5737264"/>
              <a:gd name="connsiteY215" fmla="*/ 41240 h 1252962"/>
              <a:gd name="connsiteX216" fmla="*/ 4823272 w 5737264"/>
              <a:gd name="connsiteY216" fmla="*/ 50242 h 1252962"/>
              <a:gd name="connsiteX217" fmla="*/ 4727577 w 5737264"/>
              <a:gd name="connsiteY217" fmla="*/ 29073 h 1252962"/>
              <a:gd name="connsiteX218" fmla="*/ 4628376 w 5737264"/>
              <a:gd name="connsiteY218" fmla="*/ 41240 h 1252962"/>
              <a:gd name="connsiteX219" fmla="*/ 4565180 w 5737264"/>
              <a:gd name="connsiteY219" fmla="*/ 46264 h 1252962"/>
              <a:gd name="connsiteX220" fmla="*/ 4417596 w 5737264"/>
              <a:gd name="connsiteY220" fmla="*/ 44406 h 1252962"/>
              <a:gd name="connsiteX221" fmla="*/ 4139984 w 5737264"/>
              <a:gd name="connsiteY221" fmla="*/ 60290 h 1252962"/>
              <a:gd name="connsiteX222" fmla="*/ 3918920 w 5737264"/>
              <a:gd name="connsiteY222" fmla="*/ 50242 h 1252962"/>
              <a:gd name="connsiteX223" fmla="*/ 3873703 w 5737264"/>
              <a:gd name="connsiteY223" fmla="*/ 45217 h 1252962"/>
              <a:gd name="connsiteX224" fmla="*/ 3687808 w 5737264"/>
              <a:gd name="connsiteY224" fmla="*/ 40193 h 1252962"/>
              <a:gd name="connsiteX225" fmla="*/ 3662687 w 5737264"/>
              <a:gd name="connsiteY225" fmla="*/ 35169 h 1252962"/>
              <a:gd name="connsiteX226" fmla="*/ 3627518 w 5737264"/>
              <a:gd name="connsiteY226" fmla="*/ 25121 h 1252962"/>
              <a:gd name="connsiteX227" fmla="*/ 3547131 w 5737264"/>
              <a:gd name="connsiteY227" fmla="*/ 20097 h 1252962"/>
              <a:gd name="connsiteX228" fmla="*/ 3310995 w 5737264"/>
              <a:gd name="connsiteY228" fmla="*/ 25121 h 1252962"/>
              <a:gd name="connsiteX229" fmla="*/ 3265777 w 5737264"/>
              <a:gd name="connsiteY229" fmla="*/ 30145 h 1252962"/>
              <a:gd name="connsiteX230" fmla="*/ 3175342 w 5737264"/>
              <a:gd name="connsiteY230" fmla="*/ 35169 h 1252962"/>
              <a:gd name="connsiteX231" fmla="*/ 2582489 w 5737264"/>
              <a:gd name="connsiteY231" fmla="*/ 45217 h 1252962"/>
              <a:gd name="connsiteX232" fmla="*/ 2255918 w 5737264"/>
              <a:gd name="connsiteY232" fmla="*/ 40193 h 1252962"/>
              <a:gd name="connsiteX233" fmla="*/ 1974564 w 5737264"/>
              <a:gd name="connsiteY233" fmla="*/ 30145 h 1252962"/>
              <a:gd name="connsiteX234" fmla="*/ 1944419 w 5737264"/>
              <a:gd name="connsiteY234" fmla="*/ 25121 h 1252962"/>
              <a:gd name="connsiteX235" fmla="*/ 1848960 w 5737264"/>
              <a:gd name="connsiteY235" fmla="*/ 20097 h 1252962"/>
              <a:gd name="connsiteX236" fmla="*/ 1768573 w 5737264"/>
              <a:gd name="connsiteY236" fmla="*/ 10048 h 1252962"/>
              <a:gd name="connsiteX237" fmla="*/ 1502292 w 5737264"/>
              <a:gd name="connsiteY237" fmla="*/ 20097 h 1252962"/>
              <a:gd name="connsiteX238" fmla="*/ 1467122 w 5737264"/>
              <a:gd name="connsiteY238" fmla="*/ 25121 h 1252962"/>
              <a:gd name="connsiteX239" fmla="*/ 1426929 w 5737264"/>
              <a:gd name="connsiteY239" fmla="*/ 30145 h 1252962"/>
              <a:gd name="connsiteX240" fmla="*/ 1341518 w 5737264"/>
              <a:gd name="connsiteY240" fmla="*/ 45217 h 1252962"/>
              <a:gd name="connsiteX241" fmla="*/ 1095333 w 5737264"/>
              <a:gd name="connsiteY241" fmla="*/ 35169 h 1252962"/>
              <a:gd name="connsiteX242" fmla="*/ 979777 w 5737264"/>
              <a:gd name="connsiteY242" fmla="*/ 20097 h 1252962"/>
              <a:gd name="connsiteX243" fmla="*/ 939584 w 5737264"/>
              <a:gd name="connsiteY243" fmla="*/ 10048 h 1252962"/>
              <a:gd name="connsiteX244" fmla="*/ 813980 w 5737264"/>
              <a:gd name="connsiteY244" fmla="*/ 0 h 1252962"/>
              <a:gd name="connsiteX245" fmla="*/ 743641 w 5737264"/>
              <a:gd name="connsiteY245" fmla="*/ 5024 h 1252962"/>
              <a:gd name="connsiteX246" fmla="*/ 582867 w 5737264"/>
              <a:gd name="connsiteY246" fmla="*/ 15072 h 1252962"/>
              <a:gd name="connsiteX247" fmla="*/ 432142 w 5737264"/>
              <a:gd name="connsiteY247" fmla="*/ 5024 h 1252962"/>
              <a:gd name="connsiteX248" fmla="*/ 412046 w 5737264"/>
              <a:gd name="connsiteY248" fmla="*/ 0 h 1252962"/>
              <a:gd name="connsiteX249" fmla="*/ 281417 w 5737264"/>
              <a:gd name="connsiteY249" fmla="*/ 10048 h 1252962"/>
              <a:gd name="connsiteX250" fmla="*/ 261320 w 5737264"/>
              <a:gd name="connsiteY250" fmla="*/ 15072 h 1252962"/>
              <a:gd name="connsiteX251" fmla="*/ 100547 w 5737264"/>
              <a:gd name="connsiteY251" fmla="*/ 20097 h 1252962"/>
              <a:gd name="connsiteX252" fmla="*/ 5087 w 5737264"/>
              <a:gd name="connsiteY252" fmla="*/ 30145 h 1252962"/>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49443 w 5737264"/>
              <a:gd name="connsiteY81" fmla="*/ 1085222 h 1252696"/>
              <a:gd name="connsiteX82" fmla="*/ 1969540 w 5737264"/>
              <a:gd name="connsiteY82" fmla="*/ 1090246 h 1252696"/>
              <a:gd name="connsiteX83" fmla="*/ 2014758 w 5737264"/>
              <a:gd name="connsiteY83" fmla="*/ 1110343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68867 w 5737264"/>
              <a:gd name="connsiteY110" fmla="*/ 1075173 h 1252696"/>
              <a:gd name="connsiteX111" fmla="*/ 2893988 w 5737264"/>
              <a:gd name="connsiteY111" fmla="*/ 1070149 h 1252696"/>
              <a:gd name="connsiteX112" fmla="*/ 2919109 w 5737264"/>
              <a:gd name="connsiteY112" fmla="*/ 1075173 h 1252696"/>
              <a:gd name="connsiteX113" fmla="*/ 2934182 w 5737264"/>
              <a:gd name="connsiteY113" fmla="*/ 1080198 h 1252696"/>
              <a:gd name="connsiteX114" fmla="*/ 2944230 w 5737264"/>
              <a:gd name="connsiteY114" fmla="*/ 1110343 h 1252696"/>
              <a:gd name="connsiteX115" fmla="*/ 2959303 w 5737264"/>
              <a:gd name="connsiteY115" fmla="*/ 1125415 h 1252696"/>
              <a:gd name="connsiteX116" fmla="*/ 2979399 w 5737264"/>
              <a:gd name="connsiteY116" fmla="*/ 1155560 h 1252696"/>
              <a:gd name="connsiteX117" fmla="*/ 2994472 w 5737264"/>
              <a:gd name="connsiteY117" fmla="*/ 1160584 h 1252696"/>
              <a:gd name="connsiteX118" fmla="*/ 3014569 w 5737264"/>
              <a:gd name="connsiteY118" fmla="*/ 1180681 h 1252696"/>
              <a:gd name="connsiteX119" fmla="*/ 3024617 w 5737264"/>
              <a:gd name="connsiteY119" fmla="*/ 1190730 h 1252696"/>
              <a:gd name="connsiteX120" fmla="*/ 3038878 w 5737264"/>
              <a:gd name="connsiteY120" fmla="*/ 1222994 h 1252696"/>
              <a:gd name="connsiteX121" fmla="*/ 3076168 w 5737264"/>
              <a:gd name="connsiteY121" fmla="*/ 1252354 h 1252696"/>
              <a:gd name="connsiteX122" fmla="*/ 3130125 w 5737264"/>
              <a:gd name="connsiteY122" fmla="*/ 1240971 h 1252696"/>
              <a:gd name="connsiteX123" fmla="*/ 3177985 w 5737264"/>
              <a:gd name="connsiteY123" fmla="*/ 1207372 h 1252696"/>
              <a:gd name="connsiteX124" fmla="*/ 3229535 w 5737264"/>
              <a:gd name="connsiteY124" fmla="*/ 1178561 h 1252696"/>
              <a:gd name="connsiteX125" fmla="*/ 3281634 w 5737264"/>
              <a:gd name="connsiteY125" fmla="*/ 1153440 h 1252696"/>
              <a:gd name="connsiteX126" fmla="*/ 3310995 w 5737264"/>
              <a:gd name="connsiteY126" fmla="*/ 1145512 h 1252696"/>
              <a:gd name="connsiteX127" fmla="*/ 3351188 w 5737264"/>
              <a:gd name="connsiteY127" fmla="*/ 1140488 h 1252696"/>
              <a:gd name="connsiteX128" fmla="*/ 3406454 w 5737264"/>
              <a:gd name="connsiteY128" fmla="*/ 1155560 h 1252696"/>
              <a:gd name="connsiteX129" fmla="*/ 3426551 w 5737264"/>
              <a:gd name="connsiteY129" fmla="*/ 1165609 h 1252696"/>
              <a:gd name="connsiteX130" fmla="*/ 3441624 w 5737264"/>
              <a:gd name="connsiteY130" fmla="*/ 1175657 h 1252696"/>
              <a:gd name="connsiteX131" fmla="*/ 3456696 w 5737264"/>
              <a:gd name="connsiteY131" fmla="*/ 1180681 h 1252696"/>
              <a:gd name="connsiteX132" fmla="*/ 3466744 w 5737264"/>
              <a:gd name="connsiteY132" fmla="*/ 1195754 h 1252696"/>
              <a:gd name="connsiteX133" fmla="*/ 3527035 w 5737264"/>
              <a:gd name="connsiteY133" fmla="*/ 1200778 h 1252696"/>
              <a:gd name="connsiteX134" fmla="*/ 3542107 w 5737264"/>
              <a:gd name="connsiteY134" fmla="*/ 1190730 h 1252696"/>
              <a:gd name="connsiteX135" fmla="*/ 3567228 w 5737264"/>
              <a:gd name="connsiteY135" fmla="*/ 1180681 h 1252696"/>
              <a:gd name="connsiteX136" fmla="*/ 3587325 w 5737264"/>
              <a:gd name="connsiteY136" fmla="*/ 1150536 h 1252696"/>
              <a:gd name="connsiteX137" fmla="*/ 3617470 w 5737264"/>
              <a:gd name="connsiteY137" fmla="*/ 1125415 h 1252696"/>
              <a:gd name="connsiteX138" fmla="*/ 3632542 w 5737264"/>
              <a:gd name="connsiteY138" fmla="*/ 1105319 h 1252696"/>
              <a:gd name="connsiteX139" fmla="*/ 3662687 w 5737264"/>
              <a:gd name="connsiteY139" fmla="*/ 1085222 h 1252696"/>
              <a:gd name="connsiteX140" fmla="*/ 3697856 w 5737264"/>
              <a:gd name="connsiteY140" fmla="*/ 1070149 h 1252696"/>
              <a:gd name="connsiteX141" fmla="*/ 3707905 w 5737264"/>
              <a:gd name="connsiteY141" fmla="*/ 1060101 h 1252696"/>
              <a:gd name="connsiteX142" fmla="*/ 3743074 w 5737264"/>
              <a:gd name="connsiteY142" fmla="*/ 1047148 h 1252696"/>
              <a:gd name="connsiteX143" fmla="*/ 3799125 w 5737264"/>
              <a:gd name="connsiteY143" fmla="*/ 1043982 h 1252696"/>
              <a:gd name="connsiteX144" fmla="*/ 3859651 w 5737264"/>
              <a:gd name="connsiteY144" fmla="*/ 1072033 h 1252696"/>
              <a:gd name="connsiteX145" fmla="*/ 3902226 w 5737264"/>
              <a:gd name="connsiteY145" fmla="*/ 1101367 h 1252696"/>
              <a:gd name="connsiteX146" fmla="*/ 3958041 w 5737264"/>
              <a:gd name="connsiteY146" fmla="*/ 1142346 h 1252696"/>
              <a:gd name="connsiteX147" fmla="*/ 4019404 w 5737264"/>
              <a:gd name="connsiteY147" fmla="*/ 1165609 h 1252696"/>
              <a:gd name="connsiteX148" fmla="*/ 4064621 w 5737264"/>
              <a:gd name="connsiteY148" fmla="*/ 1150536 h 1252696"/>
              <a:gd name="connsiteX149" fmla="*/ 4079694 w 5737264"/>
              <a:gd name="connsiteY149" fmla="*/ 1125415 h 1252696"/>
              <a:gd name="connsiteX150" fmla="*/ 4099791 w 5737264"/>
              <a:gd name="connsiteY150" fmla="*/ 1105319 h 1252696"/>
              <a:gd name="connsiteX151" fmla="*/ 4129936 w 5737264"/>
              <a:gd name="connsiteY151" fmla="*/ 1075173 h 1252696"/>
              <a:gd name="connsiteX152" fmla="*/ 4150032 w 5737264"/>
              <a:gd name="connsiteY152" fmla="*/ 1040004 h 1252696"/>
              <a:gd name="connsiteX153" fmla="*/ 4160081 w 5737264"/>
              <a:gd name="connsiteY153" fmla="*/ 1019908 h 1252696"/>
              <a:gd name="connsiteX154" fmla="*/ 4165105 w 5737264"/>
              <a:gd name="connsiteY154" fmla="*/ 1004835 h 1252696"/>
              <a:gd name="connsiteX155" fmla="*/ 4185202 w 5737264"/>
              <a:gd name="connsiteY155" fmla="*/ 984738 h 1252696"/>
              <a:gd name="connsiteX156" fmla="*/ 4200274 w 5737264"/>
              <a:gd name="connsiteY156" fmla="*/ 979714 h 1252696"/>
              <a:gd name="connsiteX157" fmla="*/ 4235443 w 5737264"/>
              <a:gd name="connsiteY157" fmla="*/ 954593 h 1252696"/>
              <a:gd name="connsiteX158" fmla="*/ 4275637 w 5737264"/>
              <a:gd name="connsiteY158" fmla="*/ 934497 h 1252696"/>
              <a:gd name="connsiteX159" fmla="*/ 4310806 w 5737264"/>
              <a:gd name="connsiteY159" fmla="*/ 914400 h 1252696"/>
              <a:gd name="connsiteX160" fmla="*/ 4325878 w 5737264"/>
              <a:gd name="connsiteY160" fmla="*/ 904352 h 1252696"/>
              <a:gd name="connsiteX161" fmla="*/ 4362094 w 5737264"/>
              <a:gd name="connsiteY161" fmla="*/ 909114 h 1252696"/>
              <a:gd name="connsiteX162" fmla="*/ 4417099 w 5737264"/>
              <a:gd name="connsiteY162" fmla="*/ 946141 h 1252696"/>
              <a:gd name="connsiteX163" fmla="*/ 4462316 w 5737264"/>
              <a:gd name="connsiteY163" fmla="*/ 1006955 h 1252696"/>
              <a:gd name="connsiteX164" fmla="*/ 4531320 w 5737264"/>
              <a:gd name="connsiteY164" fmla="*/ 1037650 h 1252696"/>
              <a:gd name="connsiteX165" fmla="*/ 4597184 w 5737264"/>
              <a:gd name="connsiteY165" fmla="*/ 969666 h 1252696"/>
              <a:gd name="connsiteX166" fmla="*/ 4617281 w 5737264"/>
              <a:gd name="connsiteY166" fmla="*/ 959617 h 1252696"/>
              <a:gd name="connsiteX167" fmla="*/ 4632353 w 5737264"/>
              <a:gd name="connsiteY167" fmla="*/ 944545 h 1252696"/>
              <a:gd name="connsiteX168" fmla="*/ 4652450 w 5737264"/>
              <a:gd name="connsiteY168" fmla="*/ 934497 h 1252696"/>
              <a:gd name="connsiteX169" fmla="*/ 4672547 w 5737264"/>
              <a:gd name="connsiteY169" fmla="*/ 919424 h 1252696"/>
              <a:gd name="connsiteX170" fmla="*/ 4737861 w 5737264"/>
              <a:gd name="connsiteY170" fmla="*/ 884255 h 1252696"/>
              <a:gd name="connsiteX171" fmla="*/ 4762982 w 5737264"/>
              <a:gd name="connsiteY171" fmla="*/ 879231 h 1252696"/>
              <a:gd name="connsiteX172" fmla="*/ 4778054 w 5737264"/>
              <a:gd name="connsiteY172" fmla="*/ 874206 h 1252696"/>
              <a:gd name="connsiteX173" fmla="*/ 4819294 w 5737264"/>
              <a:gd name="connsiteY173" fmla="*/ 873944 h 1252696"/>
              <a:gd name="connsiteX174" fmla="*/ 4877465 w 5737264"/>
              <a:gd name="connsiteY174" fmla="*/ 895638 h 1252696"/>
              <a:gd name="connsiteX175" fmla="*/ 4935347 w 5737264"/>
              <a:gd name="connsiteY175" fmla="*/ 934523 h 1252696"/>
              <a:gd name="connsiteX176" fmla="*/ 4995402 w 5737264"/>
              <a:gd name="connsiteY176" fmla="*/ 1006746 h 1252696"/>
              <a:gd name="connsiteX177" fmla="*/ 5024762 w 5737264"/>
              <a:gd name="connsiteY177" fmla="*/ 1051963 h 1252696"/>
              <a:gd name="connsiteX178" fmla="*/ 5092223 w 5737264"/>
              <a:gd name="connsiteY178" fmla="*/ 1016506 h 1252696"/>
              <a:gd name="connsiteX179" fmla="*/ 5144322 w 5737264"/>
              <a:gd name="connsiteY179" fmla="*/ 948261 h 1252696"/>
              <a:gd name="connsiteX180" fmla="*/ 5189252 w 5737264"/>
              <a:gd name="connsiteY180" fmla="*/ 886112 h 1252696"/>
              <a:gd name="connsiteX181" fmla="*/ 5226279 w 5737264"/>
              <a:gd name="connsiteY181" fmla="*/ 856230 h 1252696"/>
              <a:gd name="connsiteX182" fmla="*/ 5260637 w 5737264"/>
              <a:gd name="connsiteY182" fmla="*/ 822918 h 1252696"/>
              <a:gd name="connsiteX183" fmla="*/ 5295282 w 5737264"/>
              <a:gd name="connsiteY183" fmla="*/ 800440 h 1252696"/>
              <a:gd name="connsiteX184" fmla="*/ 5334430 w 5737264"/>
              <a:gd name="connsiteY184" fmla="*/ 794893 h 1252696"/>
              <a:gd name="connsiteX185" fmla="*/ 5412174 w 5737264"/>
              <a:gd name="connsiteY185" fmla="*/ 824252 h 1252696"/>
              <a:gd name="connsiteX186" fmla="*/ 5431197 w 5737264"/>
              <a:gd name="connsiteY186" fmla="*/ 768699 h 1252696"/>
              <a:gd name="connsiteX187" fmla="*/ 5441246 w 5737264"/>
              <a:gd name="connsiteY187" fmla="*/ 753626 h 1252696"/>
              <a:gd name="connsiteX188" fmla="*/ 5456318 w 5737264"/>
              <a:gd name="connsiteY188" fmla="*/ 708409 h 1252696"/>
              <a:gd name="connsiteX189" fmla="*/ 5466366 w 5737264"/>
              <a:gd name="connsiteY189" fmla="*/ 683288 h 1252696"/>
              <a:gd name="connsiteX190" fmla="*/ 5476415 w 5737264"/>
              <a:gd name="connsiteY190" fmla="*/ 643094 h 1252696"/>
              <a:gd name="connsiteX191" fmla="*/ 5491487 w 5737264"/>
              <a:gd name="connsiteY191" fmla="*/ 617973 h 1252696"/>
              <a:gd name="connsiteX192" fmla="*/ 5506560 w 5737264"/>
              <a:gd name="connsiteY192" fmla="*/ 572756 h 1252696"/>
              <a:gd name="connsiteX193" fmla="*/ 5526656 w 5737264"/>
              <a:gd name="connsiteY193" fmla="*/ 522514 h 1252696"/>
              <a:gd name="connsiteX194" fmla="*/ 5546753 w 5737264"/>
              <a:gd name="connsiteY194" fmla="*/ 467248 h 1252696"/>
              <a:gd name="connsiteX195" fmla="*/ 5556802 w 5737264"/>
              <a:gd name="connsiteY195" fmla="*/ 411982 h 1252696"/>
              <a:gd name="connsiteX196" fmla="*/ 5566850 w 5737264"/>
              <a:gd name="connsiteY196" fmla="*/ 381837 h 1252696"/>
              <a:gd name="connsiteX197" fmla="*/ 5576898 w 5737264"/>
              <a:gd name="connsiteY197" fmla="*/ 356716 h 1252696"/>
              <a:gd name="connsiteX198" fmla="*/ 5596995 w 5737264"/>
              <a:gd name="connsiteY198" fmla="*/ 316523 h 1252696"/>
              <a:gd name="connsiteX199" fmla="*/ 5617092 w 5737264"/>
              <a:gd name="connsiteY199" fmla="*/ 246184 h 1252696"/>
              <a:gd name="connsiteX200" fmla="*/ 5622116 w 5737264"/>
              <a:gd name="connsiteY200" fmla="*/ 226088 h 1252696"/>
              <a:gd name="connsiteX201" fmla="*/ 5632164 w 5737264"/>
              <a:gd name="connsiteY201" fmla="*/ 216039 h 1252696"/>
              <a:gd name="connsiteX202" fmla="*/ 5637188 w 5737264"/>
              <a:gd name="connsiteY202" fmla="*/ 200967 h 1252696"/>
              <a:gd name="connsiteX203" fmla="*/ 5651738 w 5737264"/>
              <a:gd name="connsiteY203" fmla="*/ 190395 h 1252696"/>
              <a:gd name="connsiteX204" fmla="*/ 5673692 w 5737264"/>
              <a:gd name="connsiteY204" fmla="*/ 153892 h 1252696"/>
              <a:gd name="connsiteX205" fmla="*/ 5726602 w 5737264"/>
              <a:gd name="connsiteY205" fmla="*/ 89362 h 1252696"/>
              <a:gd name="connsiteX206" fmla="*/ 5728722 w 5737264"/>
              <a:gd name="connsiteY206" fmla="*/ 42287 h 1252696"/>
              <a:gd name="connsiteX207" fmla="*/ 5634284 w 5737264"/>
              <a:gd name="connsiteY207" fmla="*/ 25357 h 1252696"/>
              <a:gd name="connsiteX208" fmla="*/ 5536940 w 5737264"/>
              <a:gd name="connsiteY208" fmla="*/ 27214 h 1252696"/>
              <a:gd name="connsiteX209" fmla="*/ 5470369 w 5737264"/>
              <a:gd name="connsiteY209" fmla="*/ 39381 h 1252696"/>
              <a:gd name="connsiteX210" fmla="*/ 5379124 w 5737264"/>
              <a:gd name="connsiteY210" fmla="*/ 39644 h 1252696"/>
              <a:gd name="connsiteX211" fmla="*/ 5309282 w 5737264"/>
              <a:gd name="connsiteY211" fmla="*/ 42287 h 1252696"/>
              <a:gd name="connsiteX212" fmla="*/ 5238682 w 5737264"/>
              <a:gd name="connsiteY212" fmla="*/ 54455 h 1252696"/>
              <a:gd name="connsiteX213" fmla="*/ 5108892 w 5737264"/>
              <a:gd name="connsiteY213" fmla="*/ 37524 h 1252696"/>
              <a:gd name="connsiteX214" fmla="*/ 5020026 w 5737264"/>
              <a:gd name="connsiteY214" fmla="*/ 39120 h 1252696"/>
              <a:gd name="connsiteX215" fmla="*/ 4946233 w 5737264"/>
              <a:gd name="connsiteY215" fmla="*/ 41240 h 1252696"/>
              <a:gd name="connsiteX216" fmla="*/ 4823272 w 5737264"/>
              <a:gd name="connsiteY216" fmla="*/ 50242 h 1252696"/>
              <a:gd name="connsiteX217" fmla="*/ 4727577 w 5737264"/>
              <a:gd name="connsiteY217" fmla="*/ 29073 h 1252696"/>
              <a:gd name="connsiteX218" fmla="*/ 4628376 w 5737264"/>
              <a:gd name="connsiteY218" fmla="*/ 41240 h 1252696"/>
              <a:gd name="connsiteX219" fmla="*/ 4565180 w 5737264"/>
              <a:gd name="connsiteY219" fmla="*/ 46264 h 1252696"/>
              <a:gd name="connsiteX220" fmla="*/ 4417596 w 5737264"/>
              <a:gd name="connsiteY220" fmla="*/ 44406 h 1252696"/>
              <a:gd name="connsiteX221" fmla="*/ 4139984 w 5737264"/>
              <a:gd name="connsiteY221" fmla="*/ 60290 h 1252696"/>
              <a:gd name="connsiteX222" fmla="*/ 3918920 w 5737264"/>
              <a:gd name="connsiteY222" fmla="*/ 50242 h 1252696"/>
              <a:gd name="connsiteX223" fmla="*/ 3873703 w 5737264"/>
              <a:gd name="connsiteY223" fmla="*/ 45217 h 1252696"/>
              <a:gd name="connsiteX224" fmla="*/ 3687808 w 5737264"/>
              <a:gd name="connsiteY224" fmla="*/ 40193 h 1252696"/>
              <a:gd name="connsiteX225" fmla="*/ 3662687 w 5737264"/>
              <a:gd name="connsiteY225" fmla="*/ 35169 h 1252696"/>
              <a:gd name="connsiteX226" fmla="*/ 3627518 w 5737264"/>
              <a:gd name="connsiteY226" fmla="*/ 25121 h 1252696"/>
              <a:gd name="connsiteX227" fmla="*/ 3547131 w 5737264"/>
              <a:gd name="connsiteY227" fmla="*/ 20097 h 1252696"/>
              <a:gd name="connsiteX228" fmla="*/ 3310995 w 5737264"/>
              <a:gd name="connsiteY228" fmla="*/ 25121 h 1252696"/>
              <a:gd name="connsiteX229" fmla="*/ 3265777 w 5737264"/>
              <a:gd name="connsiteY229" fmla="*/ 30145 h 1252696"/>
              <a:gd name="connsiteX230" fmla="*/ 3175342 w 5737264"/>
              <a:gd name="connsiteY230" fmla="*/ 35169 h 1252696"/>
              <a:gd name="connsiteX231" fmla="*/ 2582489 w 5737264"/>
              <a:gd name="connsiteY231" fmla="*/ 45217 h 1252696"/>
              <a:gd name="connsiteX232" fmla="*/ 2255918 w 5737264"/>
              <a:gd name="connsiteY232" fmla="*/ 40193 h 1252696"/>
              <a:gd name="connsiteX233" fmla="*/ 1974564 w 5737264"/>
              <a:gd name="connsiteY233" fmla="*/ 30145 h 1252696"/>
              <a:gd name="connsiteX234" fmla="*/ 1944419 w 5737264"/>
              <a:gd name="connsiteY234" fmla="*/ 25121 h 1252696"/>
              <a:gd name="connsiteX235" fmla="*/ 1848960 w 5737264"/>
              <a:gd name="connsiteY235" fmla="*/ 20097 h 1252696"/>
              <a:gd name="connsiteX236" fmla="*/ 1768573 w 5737264"/>
              <a:gd name="connsiteY236" fmla="*/ 10048 h 1252696"/>
              <a:gd name="connsiteX237" fmla="*/ 1502292 w 5737264"/>
              <a:gd name="connsiteY237" fmla="*/ 20097 h 1252696"/>
              <a:gd name="connsiteX238" fmla="*/ 1467122 w 5737264"/>
              <a:gd name="connsiteY238" fmla="*/ 25121 h 1252696"/>
              <a:gd name="connsiteX239" fmla="*/ 1426929 w 5737264"/>
              <a:gd name="connsiteY239" fmla="*/ 30145 h 1252696"/>
              <a:gd name="connsiteX240" fmla="*/ 1341518 w 5737264"/>
              <a:gd name="connsiteY240" fmla="*/ 45217 h 1252696"/>
              <a:gd name="connsiteX241" fmla="*/ 1095333 w 5737264"/>
              <a:gd name="connsiteY241" fmla="*/ 35169 h 1252696"/>
              <a:gd name="connsiteX242" fmla="*/ 979777 w 5737264"/>
              <a:gd name="connsiteY242" fmla="*/ 20097 h 1252696"/>
              <a:gd name="connsiteX243" fmla="*/ 939584 w 5737264"/>
              <a:gd name="connsiteY243" fmla="*/ 10048 h 1252696"/>
              <a:gd name="connsiteX244" fmla="*/ 813980 w 5737264"/>
              <a:gd name="connsiteY244" fmla="*/ 0 h 1252696"/>
              <a:gd name="connsiteX245" fmla="*/ 743641 w 5737264"/>
              <a:gd name="connsiteY245" fmla="*/ 5024 h 1252696"/>
              <a:gd name="connsiteX246" fmla="*/ 582867 w 5737264"/>
              <a:gd name="connsiteY246" fmla="*/ 15072 h 1252696"/>
              <a:gd name="connsiteX247" fmla="*/ 432142 w 5737264"/>
              <a:gd name="connsiteY247" fmla="*/ 5024 h 1252696"/>
              <a:gd name="connsiteX248" fmla="*/ 412046 w 5737264"/>
              <a:gd name="connsiteY248" fmla="*/ 0 h 1252696"/>
              <a:gd name="connsiteX249" fmla="*/ 281417 w 5737264"/>
              <a:gd name="connsiteY249" fmla="*/ 10048 h 1252696"/>
              <a:gd name="connsiteX250" fmla="*/ 261320 w 5737264"/>
              <a:gd name="connsiteY250" fmla="*/ 15072 h 1252696"/>
              <a:gd name="connsiteX251" fmla="*/ 100547 w 5737264"/>
              <a:gd name="connsiteY251" fmla="*/ 20097 h 1252696"/>
              <a:gd name="connsiteX252" fmla="*/ 5087 w 5737264"/>
              <a:gd name="connsiteY252"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49443 w 5737264"/>
              <a:gd name="connsiteY81" fmla="*/ 1085222 h 1252696"/>
              <a:gd name="connsiteX82" fmla="*/ 1969540 w 5737264"/>
              <a:gd name="connsiteY82" fmla="*/ 1090246 h 1252696"/>
              <a:gd name="connsiteX83" fmla="*/ 2014758 w 5737264"/>
              <a:gd name="connsiteY83" fmla="*/ 1110343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68867 w 5737264"/>
              <a:gd name="connsiteY110" fmla="*/ 1075173 h 1252696"/>
              <a:gd name="connsiteX111" fmla="*/ 2893988 w 5737264"/>
              <a:gd name="connsiteY111" fmla="*/ 1070149 h 1252696"/>
              <a:gd name="connsiteX112" fmla="*/ 2919109 w 5737264"/>
              <a:gd name="connsiteY112" fmla="*/ 1075173 h 1252696"/>
              <a:gd name="connsiteX113" fmla="*/ 2944230 w 5737264"/>
              <a:gd name="connsiteY113" fmla="*/ 1110343 h 1252696"/>
              <a:gd name="connsiteX114" fmla="*/ 2959303 w 5737264"/>
              <a:gd name="connsiteY114" fmla="*/ 1125415 h 1252696"/>
              <a:gd name="connsiteX115" fmla="*/ 2979399 w 5737264"/>
              <a:gd name="connsiteY115" fmla="*/ 1155560 h 1252696"/>
              <a:gd name="connsiteX116" fmla="*/ 2994472 w 5737264"/>
              <a:gd name="connsiteY116" fmla="*/ 1160584 h 1252696"/>
              <a:gd name="connsiteX117" fmla="*/ 3014569 w 5737264"/>
              <a:gd name="connsiteY117" fmla="*/ 1180681 h 1252696"/>
              <a:gd name="connsiteX118" fmla="*/ 3024617 w 5737264"/>
              <a:gd name="connsiteY118" fmla="*/ 1190730 h 1252696"/>
              <a:gd name="connsiteX119" fmla="*/ 3038878 w 5737264"/>
              <a:gd name="connsiteY119" fmla="*/ 1222994 h 1252696"/>
              <a:gd name="connsiteX120" fmla="*/ 3076168 w 5737264"/>
              <a:gd name="connsiteY120" fmla="*/ 1252354 h 1252696"/>
              <a:gd name="connsiteX121" fmla="*/ 3130125 w 5737264"/>
              <a:gd name="connsiteY121" fmla="*/ 1240971 h 1252696"/>
              <a:gd name="connsiteX122" fmla="*/ 3177985 w 5737264"/>
              <a:gd name="connsiteY122" fmla="*/ 1207372 h 1252696"/>
              <a:gd name="connsiteX123" fmla="*/ 3229535 w 5737264"/>
              <a:gd name="connsiteY123" fmla="*/ 1178561 h 1252696"/>
              <a:gd name="connsiteX124" fmla="*/ 3281634 w 5737264"/>
              <a:gd name="connsiteY124" fmla="*/ 1153440 h 1252696"/>
              <a:gd name="connsiteX125" fmla="*/ 3310995 w 5737264"/>
              <a:gd name="connsiteY125" fmla="*/ 1145512 h 1252696"/>
              <a:gd name="connsiteX126" fmla="*/ 3351188 w 5737264"/>
              <a:gd name="connsiteY126" fmla="*/ 1140488 h 1252696"/>
              <a:gd name="connsiteX127" fmla="*/ 3406454 w 5737264"/>
              <a:gd name="connsiteY127" fmla="*/ 1155560 h 1252696"/>
              <a:gd name="connsiteX128" fmla="*/ 3426551 w 5737264"/>
              <a:gd name="connsiteY128" fmla="*/ 1165609 h 1252696"/>
              <a:gd name="connsiteX129" fmla="*/ 3441624 w 5737264"/>
              <a:gd name="connsiteY129" fmla="*/ 1175657 h 1252696"/>
              <a:gd name="connsiteX130" fmla="*/ 3456696 w 5737264"/>
              <a:gd name="connsiteY130" fmla="*/ 1180681 h 1252696"/>
              <a:gd name="connsiteX131" fmla="*/ 3466744 w 5737264"/>
              <a:gd name="connsiteY131" fmla="*/ 1195754 h 1252696"/>
              <a:gd name="connsiteX132" fmla="*/ 3527035 w 5737264"/>
              <a:gd name="connsiteY132" fmla="*/ 1200778 h 1252696"/>
              <a:gd name="connsiteX133" fmla="*/ 3542107 w 5737264"/>
              <a:gd name="connsiteY133" fmla="*/ 1190730 h 1252696"/>
              <a:gd name="connsiteX134" fmla="*/ 3567228 w 5737264"/>
              <a:gd name="connsiteY134" fmla="*/ 1180681 h 1252696"/>
              <a:gd name="connsiteX135" fmla="*/ 3587325 w 5737264"/>
              <a:gd name="connsiteY135" fmla="*/ 1150536 h 1252696"/>
              <a:gd name="connsiteX136" fmla="*/ 3617470 w 5737264"/>
              <a:gd name="connsiteY136" fmla="*/ 1125415 h 1252696"/>
              <a:gd name="connsiteX137" fmla="*/ 3632542 w 5737264"/>
              <a:gd name="connsiteY137" fmla="*/ 1105319 h 1252696"/>
              <a:gd name="connsiteX138" fmla="*/ 3662687 w 5737264"/>
              <a:gd name="connsiteY138" fmla="*/ 1085222 h 1252696"/>
              <a:gd name="connsiteX139" fmla="*/ 3697856 w 5737264"/>
              <a:gd name="connsiteY139" fmla="*/ 1070149 h 1252696"/>
              <a:gd name="connsiteX140" fmla="*/ 3707905 w 5737264"/>
              <a:gd name="connsiteY140" fmla="*/ 1060101 h 1252696"/>
              <a:gd name="connsiteX141" fmla="*/ 3743074 w 5737264"/>
              <a:gd name="connsiteY141" fmla="*/ 1047148 h 1252696"/>
              <a:gd name="connsiteX142" fmla="*/ 3799125 w 5737264"/>
              <a:gd name="connsiteY142" fmla="*/ 1043982 h 1252696"/>
              <a:gd name="connsiteX143" fmla="*/ 3859651 w 5737264"/>
              <a:gd name="connsiteY143" fmla="*/ 1072033 h 1252696"/>
              <a:gd name="connsiteX144" fmla="*/ 3902226 w 5737264"/>
              <a:gd name="connsiteY144" fmla="*/ 1101367 h 1252696"/>
              <a:gd name="connsiteX145" fmla="*/ 3958041 w 5737264"/>
              <a:gd name="connsiteY145" fmla="*/ 1142346 h 1252696"/>
              <a:gd name="connsiteX146" fmla="*/ 4019404 w 5737264"/>
              <a:gd name="connsiteY146" fmla="*/ 1165609 h 1252696"/>
              <a:gd name="connsiteX147" fmla="*/ 4064621 w 5737264"/>
              <a:gd name="connsiteY147" fmla="*/ 1150536 h 1252696"/>
              <a:gd name="connsiteX148" fmla="*/ 4079694 w 5737264"/>
              <a:gd name="connsiteY148" fmla="*/ 1125415 h 1252696"/>
              <a:gd name="connsiteX149" fmla="*/ 4099791 w 5737264"/>
              <a:gd name="connsiteY149" fmla="*/ 1105319 h 1252696"/>
              <a:gd name="connsiteX150" fmla="*/ 4129936 w 5737264"/>
              <a:gd name="connsiteY150" fmla="*/ 1075173 h 1252696"/>
              <a:gd name="connsiteX151" fmla="*/ 4150032 w 5737264"/>
              <a:gd name="connsiteY151" fmla="*/ 1040004 h 1252696"/>
              <a:gd name="connsiteX152" fmla="*/ 4160081 w 5737264"/>
              <a:gd name="connsiteY152" fmla="*/ 1019908 h 1252696"/>
              <a:gd name="connsiteX153" fmla="*/ 4165105 w 5737264"/>
              <a:gd name="connsiteY153" fmla="*/ 1004835 h 1252696"/>
              <a:gd name="connsiteX154" fmla="*/ 4185202 w 5737264"/>
              <a:gd name="connsiteY154" fmla="*/ 984738 h 1252696"/>
              <a:gd name="connsiteX155" fmla="*/ 4200274 w 5737264"/>
              <a:gd name="connsiteY155" fmla="*/ 979714 h 1252696"/>
              <a:gd name="connsiteX156" fmla="*/ 4235443 w 5737264"/>
              <a:gd name="connsiteY156" fmla="*/ 954593 h 1252696"/>
              <a:gd name="connsiteX157" fmla="*/ 4275637 w 5737264"/>
              <a:gd name="connsiteY157" fmla="*/ 934497 h 1252696"/>
              <a:gd name="connsiteX158" fmla="*/ 4310806 w 5737264"/>
              <a:gd name="connsiteY158" fmla="*/ 914400 h 1252696"/>
              <a:gd name="connsiteX159" fmla="*/ 4325878 w 5737264"/>
              <a:gd name="connsiteY159" fmla="*/ 904352 h 1252696"/>
              <a:gd name="connsiteX160" fmla="*/ 4362094 w 5737264"/>
              <a:gd name="connsiteY160" fmla="*/ 909114 h 1252696"/>
              <a:gd name="connsiteX161" fmla="*/ 4417099 w 5737264"/>
              <a:gd name="connsiteY161" fmla="*/ 946141 h 1252696"/>
              <a:gd name="connsiteX162" fmla="*/ 4462316 w 5737264"/>
              <a:gd name="connsiteY162" fmla="*/ 1006955 h 1252696"/>
              <a:gd name="connsiteX163" fmla="*/ 4531320 w 5737264"/>
              <a:gd name="connsiteY163" fmla="*/ 1037650 h 1252696"/>
              <a:gd name="connsiteX164" fmla="*/ 4597184 w 5737264"/>
              <a:gd name="connsiteY164" fmla="*/ 969666 h 1252696"/>
              <a:gd name="connsiteX165" fmla="*/ 4617281 w 5737264"/>
              <a:gd name="connsiteY165" fmla="*/ 959617 h 1252696"/>
              <a:gd name="connsiteX166" fmla="*/ 4632353 w 5737264"/>
              <a:gd name="connsiteY166" fmla="*/ 944545 h 1252696"/>
              <a:gd name="connsiteX167" fmla="*/ 4652450 w 5737264"/>
              <a:gd name="connsiteY167" fmla="*/ 934497 h 1252696"/>
              <a:gd name="connsiteX168" fmla="*/ 4672547 w 5737264"/>
              <a:gd name="connsiteY168" fmla="*/ 919424 h 1252696"/>
              <a:gd name="connsiteX169" fmla="*/ 4737861 w 5737264"/>
              <a:gd name="connsiteY169" fmla="*/ 884255 h 1252696"/>
              <a:gd name="connsiteX170" fmla="*/ 4762982 w 5737264"/>
              <a:gd name="connsiteY170" fmla="*/ 879231 h 1252696"/>
              <a:gd name="connsiteX171" fmla="*/ 4778054 w 5737264"/>
              <a:gd name="connsiteY171" fmla="*/ 874206 h 1252696"/>
              <a:gd name="connsiteX172" fmla="*/ 4819294 w 5737264"/>
              <a:gd name="connsiteY172" fmla="*/ 873944 h 1252696"/>
              <a:gd name="connsiteX173" fmla="*/ 4877465 w 5737264"/>
              <a:gd name="connsiteY173" fmla="*/ 895638 h 1252696"/>
              <a:gd name="connsiteX174" fmla="*/ 4935347 w 5737264"/>
              <a:gd name="connsiteY174" fmla="*/ 934523 h 1252696"/>
              <a:gd name="connsiteX175" fmla="*/ 4995402 w 5737264"/>
              <a:gd name="connsiteY175" fmla="*/ 1006746 h 1252696"/>
              <a:gd name="connsiteX176" fmla="*/ 5024762 w 5737264"/>
              <a:gd name="connsiteY176" fmla="*/ 1051963 h 1252696"/>
              <a:gd name="connsiteX177" fmla="*/ 5092223 w 5737264"/>
              <a:gd name="connsiteY177" fmla="*/ 1016506 h 1252696"/>
              <a:gd name="connsiteX178" fmla="*/ 5144322 w 5737264"/>
              <a:gd name="connsiteY178" fmla="*/ 948261 h 1252696"/>
              <a:gd name="connsiteX179" fmla="*/ 5189252 w 5737264"/>
              <a:gd name="connsiteY179" fmla="*/ 886112 h 1252696"/>
              <a:gd name="connsiteX180" fmla="*/ 5226279 w 5737264"/>
              <a:gd name="connsiteY180" fmla="*/ 856230 h 1252696"/>
              <a:gd name="connsiteX181" fmla="*/ 5260637 w 5737264"/>
              <a:gd name="connsiteY181" fmla="*/ 822918 h 1252696"/>
              <a:gd name="connsiteX182" fmla="*/ 5295282 w 5737264"/>
              <a:gd name="connsiteY182" fmla="*/ 800440 h 1252696"/>
              <a:gd name="connsiteX183" fmla="*/ 5334430 w 5737264"/>
              <a:gd name="connsiteY183" fmla="*/ 794893 h 1252696"/>
              <a:gd name="connsiteX184" fmla="*/ 5412174 w 5737264"/>
              <a:gd name="connsiteY184" fmla="*/ 824252 h 1252696"/>
              <a:gd name="connsiteX185" fmla="*/ 5431197 w 5737264"/>
              <a:gd name="connsiteY185" fmla="*/ 768699 h 1252696"/>
              <a:gd name="connsiteX186" fmla="*/ 5441246 w 5737264"/>
              <a:gd name="connsiteY186" fmla="*/ 753626 h 1252696"/>
              <a:gd name="connsiteX187" fmla="*/ 5456318 w 5737264"/>
              <a:gd name="connsiteY187" fmla="*/ 708409 h 1252696"/>
              <a:gd name="connsiteX188" fmla="*/ 5466366 w 5737264"/>
              <a:gd name="connsiteY188" fmla="*/ 683288 h 1252696"/>
              <a:gd name="connsiteX189" fmla="*/ 5476415 w 5737264"/>
              <a:gd name="connsiteY189" fmla="*/ 643094 h 1252696"/>
              <a:gd name="connsiteX190" fmla="*/ 5491487 w 5737264"/>
              <a:gd name="connsiteY190" fmla="*/ 617973 h 1252696"/>
              <a:gd name="connsiteX191" fmla="*/ 5506560 w 5737264"/>
              <a:gd name="connsiteY191" fmla="*/ 572756 h 1252696"/>
              <a:gd name="connsiteX192" fmla="*/ 5526656 w 5737264"/>
              <a:gd name="connsiteY192" fmla="*/ 522514 h 1252696"/>
              <a:gd name="connsiteX193" fmla="*/ 5546753 w 5737264"/>
              <a:gd name="connsiteY193" fmla="*/ 467248 h 1252696"/>
              <a:gd name="connsiteX194" fmla="*/ 5556802 w 5737264"/>
              <a:gd name="connsiteY194" fmla="*/ 411982 h 1252696"/>
              <a:gd name="connsiteX195" fmla="*/ 5566850 w 5737264"/>
              <a:gd name="connsiteY195" fmla="*/ 381837 h 1252696"/>
              <a:gd name="connsiteX196" fmla="*/ 5576898 w 5737264"/>
              <a:gd name="connsiteY196" fmla="*/ 356716 h 1252696"/>
              <a:gd name="connsiteX197" fmla="*/ 5596995 w 5737264"/>
              <a:gd name="connsiteY197" fmla="*/ 316523 h 1252696"/>
              <a:gd name="connsiteX198" fmla="*/ 5617092 w 5737264"/>
              <a:gd name="connsiteY198" fmla="*/ 246184 h 1252696"/>
              <a:gd name="connsiteX199" fmla="*/ 5622116 w 5737264"/>
              <a:gd name="connsiteY199" fmla="*/ 226088 h 1252696"/>
              <a:gd name="connsiteX200" fmla="*/ 5632164 w 5737264"/>
              <a:gd name="connsiteY200" fmla="*/ 216039 h 1252696"/>
              <a:gd name="connsiteX201" fmla="*/ 5637188 w 5737264"/>
              <a:gd name="connsiteY201" fmla="*/ 200967 h 1252696"/>
              <a:gd name="connsiteX202" fmla="*/ 5651738 w 5737264"/>
              <a:gd name="connsiteY202" fmla="*/ 190395 h 1252696"/>
              <a:gd name="connsiteX203" fmla="*/ 5673692 w 5737264"/>
              <a:gd name="connsiteY203" fmla="*/ 153892 h 1252696"/>
              <a:gd name="connsiteX204" fmla="*/ 5726602 w 5737264"/>
              <a:gd name="connsiteY204" fmla="*/ 89362 h 1252696"/>
              <a:gd name="connsiteX205" fmla="*/ 5728722 w 5737264"/>
              <a:gd name="connsiteY205" fmla="*/ 42287 h 1252696"/>
              <a:gd name="connsiteX206" fmla="*/ 5634284 w 5737264"/>
              <a:gd name="connsiteY206" fmla="*/ 25357 h 1252696"/>
              <a:gd name="connsiteX207" fmla="*/ 5536940 w 5737264"/>
              <a:gd name="connsiteY207" fmla="*/ 27214 h 1252696"/>
              <a:gd name="connsiteX208" fmla="*/ 5470369 w 5737264"/>
              <a:gd name="connsiteY208" fmla="*/ 39381 h 1252696"/>
              <a:gd name="connsiteX209" fmla="*/ 5379124 w 5737264"/>
              <a:gd name="connsiteY209" fmla="*/ 39644 h 1252696"/>
              <a:gd name="connsiteX210" fmla="*/ 5309282 w 5737264"/>
              <a:gd name="connsiteY210" fmla="*/ 42287 h 1252696"/>
              <a:gd name="connsiteX211" fmla="*/ 5238682 w 5737264"/>
              <a:gd name="connsiteY211" fmla="*/ 54455 h 1252696"/>
              <a:gd name="connsiteX212" fmla="*/ 5108892 w 5737264"/>
              <a:gd name="connsiteY212" fmla="*/ 37524 h 1252696"/>
              <a:gd name="connsiteX213" fmla="*/ 5020026 w 5737264"/>
              <a:gd name="connsiteY213" fmla="*/ 39120 h 1252696"/>
              <a:gd name="connsiteX214" fmla="*/ 4946233 w 5737264"/>
              <a:gd name="connsiteY214" fmla="*/ 41240 h 1252696"/>
              <a:gd name="connsiteX215" fmla="*/ 4823272 w 5737264"/>
              <a:gd name="connsiteY215" fmla="*/ 50242 h 1252696"/>
              <a:gd name="connsiteX216" fmla="*/ 4727577 w 5737264"/>
              <a:gd name="connsiteY216" fmla="*/ 29073 h 1252696"/>
              <a:gd name="connsiteX217" fmla="*/ 4628376 w 5737264"/>
              <a:gd name="connsiteY217" fmla="*/ 41240 h 1252696"/>
              <a:gd name="connsiteX218" fmla="*/ 4565180 w 5737264"/>
              <a:gd name="connsiteY218" fmla="*/ 46264 h 1252696"/>
              <a:gd name="connsiteX219" fmla="*/ 4417596 w 5737264"/>
              <a:gd name="connsiteY219" fmla="*/ 44406 h 1252696"/>
              <a:gd name="connsiteX220" fmla="*/ 4139984 w 5737264"/>
              <a:gd name="connsiteY220" fmla="*/ 60290 h 1252696"/>
              <a:gd name="connsiteX221" fmla="*/ 3918920 w 5737264"/>
              <a:gd name="connsiteY221" fmla="*/ 50242 h 1252696"/>
              <a:gd name="connsiteX222" fmla="*/ 3873703 w 5737264"/>
              <a:gd name="connsiteY222" fmla="*/ 45217 h 1252696"/>
              <a:gd name="connsiteX223" fmla="*/ 3687808 w 5737264"/>
              <a:gd name="connsiteY223" fmla="*/ 40193 h 1252696"/>
              <a:gd name="connsiteX224" fmla="*/ 3662687 w 5737264"/>
              <a:gd name="connsiteY224" fmla="*/ 35169 h 1252696"/>
              <a:gd name="connsiteX225" fmla="*/ 3627518 w 5737264"/>
              <a:gd name="connsiteY225" fmla="*/ 25121 h 1252696"/>
              <a:gd name="connsiteX226" fmla="*/ 3547131 w 5737264"/>
              <a:gd name="connsiteY226" fmla="*/ 20097 h 1252696"/>
              <a:gd name="connsiteX227" fmla="*/ 3310995 w 5737264"/>
              <a:gd name="connsiteY227" fmla="*/ 25121 h 1252696"/>
              <a:gd name="connsiteX228" fmla="*/ 3265777 w 5737264"/>
              <a:gd name="connsiteY228" fmla="*/ 30145 h 1252696"/>
              <a:gd name="connsiteX229" fmla="*/ 3175342 w 5737264"/>
              <a:gd name="connsiteY229" fmla="*/ 35169 h 1252696"/>
              <a:gd name="connsiteX230" fmla="*/ 2582489 w 5737264"/>
              <a:gd name="connsiteY230" fmla="*/ 45217 h 1252696"/>
              <a:gd name="connsiteX231" fmla="*/ 2255918 w 5737264"/>
              <a:gd name="connsiteY231" fmla="*/ 40193 h 1252696"/>
              <a:gd name="connsiteX232" fmla="*/ 1974564 w 5737264"/>
              <a:gd name="connsiteY232" fmla="*/ 30145 h 1252696"/>
              <a:gd name="connsiteX233" fmla="*/ 1944419 w 5737264"/>
              <a:gd name="connsiteY233" fmla="*/ 25121 h 1252696"/>
              <a:gd name="connsiteX234" fmla="*/ 1848960 w 5737264"/>
              <a:gd name="connsiteY234" fmla="*/ 20097 h 1252696"/>
              <a:gd name="connsiteX235" fmla="*/ 1768573 w 5737264"/>
              <a:gd name="connsiteY235" fmla="*/ 10048 h 1252696"/>
              <a:gd name="connsiteX236" fmla="*/ 1502292 w 5737264"/>
              <a:gd name="connsiteY236" fmla="*/ 20097 h 1252696"/>
              <a:gd name="connsiteX237" fmla="*/ 1467122 w 5737264"/>
              <a:gd name="connsiteY237" fmla="*/ 25121 h 1252696"/>
              <a:gd name="connsiteX238" fmla="*/ 1426929 w 5737264"/>
              <a:gd name="connsiteY238" fmla="*/ 30145 h 1252696"/>
              <a:gd name="connsiteX239" fmla="*/ 1341518 w 5737264"/>
              <a:gd name="connsiteY239" fmla="*/ 45217 h 1252696"/>
              <a:gd name="connsiteX240" fmla="*/ 1095333 w 5737264"/>
              <a:gd name="connsiteY240" fmla="*/ 35169 h 1252696"/>
              <a:gd name="connsiteX241" fmla="*/ 979777 w 5737264"/>
              <a:gd name="connsiteY241" fmla="*/ 20097 h 1252696"/>
              <a:gd name="connsiteX242" fmla="*/ 939584 w 5737264"/>
              <a:gd name="connsiteY242" fmla="*/ 10048 h 1252696"/>
              <a:gd name="connsiteX243" fmla="*/ 813980 w 5737264"/>
              <a:gd name="connsiteY243" fmla="*/ 0 h 1252696"/>
              <a:gd name="connsiteX244" fmla="*/ 743641 w 5737264"/>
              <a:gd name="connsiteY244" fmla="*/ 5024 h 1252696"/>
              <a:gd name="connsiteX245" fmla="*/ 582867 w 5737264"/>
              <a:gd name="connsiteY245" fmla="*/ 15072 h 1252696"/>
              <a:gd name="connsiteX246" fmla="*/ 432142 w 5737264"/>
              <a:gd name="connsiteY246" fmla="*/ 5024 h 1252696"/>
              <a:gd name="connsiteX247" fmla="*/ 412046 w 5737264"/>
              <a:gd name="connsiteY247" fmla="*/ 0 h 1252696"/>
              <a:gd name="connsiteX248" fmla="*/ 281417 w 5737264"/>
              <a:gd name="connsiteY248" fmla="*/ 10048 h 1252696"/>
              <a:gd name="connsiteX249" fmla="*/ 261320 w 5737264"/>
              <a:gd name="connsiteY249" fmla="*/ 15072 h 1252696"/>
              <a:gd name="connsiteX250" fmla="*/ 100547 w 5737264"/>
              <a:gd name="connsiteY250" fmla="*/ 20097 h 1252696"/>
              <a:gd name="connsiteX251" fmla="*/ 5087 w 5737264"/>
              <a:gd name="connsiteY251"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49443 w 5737264"/>
              <a:gd name="connsiteY81" fmla="*/ 1085222 h 1252696"/>
              <a:gd name="connsiteX82" fmla="*/ 1969540 w 5737264"/>
              <a:gd name="connsiteY82" fmla="*/ 1090246 h 1252696"/>
              <a:gd name="connsiteX83" fmla="*/ 2014758 w 5737264"/>
              <a:gd name="connsiteY83" fmla="*/ 1110343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68867 w 5737264"/>
              <a:gd name="connsiteY110" fmla="*/ 1075173 h 1252696"/>
              <a:gd name="connsiteX111" fmla="*/ 2893988 w 5737264"/>
              <a:gd name="connsiteY111" fmla="*/ 1070149 h 1252696"/>
              <a:gd name="connsiteX112" fmla="*/ 2919109 w 5737264"/>
              <a:gd name="connsiteY112" fmla="*/ 1075173 h 1252696"/>
              <a:gd name="connsiteX113" fmla="*/ 2959303 w 5737264"/>
              <a:gd name="connsiteY113" fmla="*/ 1125415 h 1252696"/>
              <a:gd name="connsiteX114" fmla="*/ 2979399 w 5737264"/>
              <a:gd name="connsiteY114" fmla="*/ 1155560 h 1252696"/>
              <a:gd name="connsiteX115" fmla="*/ 2994472 w 5737264"/>
              <a:gd name="connsiteY115" fmla="*/ 1160584 h 1252696"/>
              <a:gd name="connsiteX116" fmla="*/ 3014569 w 5737264"/>
              <a:gd name="connsiteY116" fmla="*/ 1180681 h 1252696"/>
              <a:gd name="connsiteX117" fmla="*/ 3024617 w 5737264"/>
              <a:gd name="connsiteY117" fmla="*/ 1190730 h 1252696"/>
              <a:gd name="connsiteX118" fmla="*/ 3038878 w 5737264"/>
              <a:gd name="connsiteY118" fmla="*/ 1222994 h 1252696"/>
              <a:gd name="connsiteX119" fmla="*/ 3076168 w 5737264"/>
              <a:gd name="connsiteY119" fmla="*/ 1252354 h 1252696"/>
              <a:gd name="connsiteX120" fmla="*/ 3130125 w 5737264"/>
              <a:gd name="connsiteY120" fmla="*/ 1240971 h 1252696"/>
              <a:gd name="connsiteX121" fmla="*/ 3177985 w 5737264"/>
              <a:gd name="connsiteY121" fmla="*/ 1207372 h 1252696"/>
              <a:gd name="connsiteX122" fmla="*/ 3229535 w 5737264"/>
              <a:gd name="connsiteY122" fmla="*/ 1178561 h 1252696"/>
              <a:gd name="connsiteX123" fmla="*/ 3281634 w 5737264"/>
              <a:gd name="connsiteY123" fmla="*/ 1153440 h 1252696"/>
              <a:gd name="connsiteX124" fmla="*/ 3310995 w 5737264"/>
              <a:gd name="connsiteY124" fmla="*/ 1145512 h 1252696"/>
              <a:gd name="connsiteX125" fmla="*/ 3351188 w 5737264"/>
              <a:gd name="connsiteY125" fmla="*/ 1140488 h 1252696"/>
              <a:gd name="connsiteX126" fmla="*/ 3406454 w 5737264"/>
              <a:gd name="connsiteY126" fmla="*/ 1155560 h 1252696"/>
              <a:gd name="connsiteX127" fmla="*/ 3426551 w 5737264"/>
              <a:gd name="connsiteY127" fmla="*/ 1165609 h 1252696"/>
              <a:gd name="connsiteX128" fmla="*/ 3441624 w 5737264"/>
              <a:gd name="connsiteY128" fmla="*/ 1175657 h 1252696"/>
              <a:gd name="connsiteX129" fmla="*/ 3456696 w 5737264"/>
              <a:gd name="connsiteY129" fmla="*/ 1180681 h 1252696"/>
              <a:gd name="connsiteX130" fmla="*/ 3466744 w 5737264"/>
              <a:gd name="connsiteY130" fmla="*/ 1195754 h 1252696"/>
              <a:gd name="connsiteX131" fmla="*/ 3527035 w 5737264"/>
              <a:gd name="connsiteY131" fmla="*/ 1200778 h 1252696"/>
              <a:gd name="connsiteX132" fmla="*/ 3542107 w 5737264"/>
              <a:gd name="connsiteY132" fmla="*/ 1190730 h 1252696"/>
              <a:gd name="connsiteX133" fmla="*/ 3567228 w 5737264"/>
              <a:gd name="connsiteY133" fmla="*/ 1180681 h 1252696"/>
              <a:gd name="connsiteX134" fmla="*/ 3587325 w 5737264"/>
              <a:gd name="connsiteY134" fmla="*/ 1150536 h 1252696"/>
              <a:gd name="connsiteX135" fmla="*/ 3617470 w 5737264"/>
              <a:gd name="connsiteY135" fmla="*/ 1125415 h 1252696"/>
              <a:gd name="connsiteX136" fmla="*/ 3632542 w 5737264"/>
              <a:gd name="connsiteY136" fmla="*/ 1105319 h 1252696"/>
              <a:gd name="connsiteX137" fmla="*/ 3662687 w 5737264"/>
              <a:gd name="connsiteY137" fmla="*/ 1085222 h 1252696"/>
              <a:gd name="connsiteX138" fmla="*/ 3697856 w 5737264"/>
              <a:gd name="connsiteY138" fmla="*/ 1070149 h 1252696"/>
              <a:gd name="connsiteX139" fmla="*/ 3707905 w 5737264"/>
              <a:gd name="connsiteY139" fmla="*/ 1060101 h 1252696"/>
              <a:gd name="connsiteX140" fmla="*/ 3743074 w 5737264"/>
              <a:gd name="connsiteY140" fmla="*/ 1047148 h 1252696"/>
              <a:gd name="connsiteX141" fmla="*/ 3799125 w 5737264"/>
              <a:gd name="connsiteY141" fmla="*/ 1043982 h 1252696"/>
              <a:gd name="connsiteX142" fmla="*/ 3859651 w 5737264"/>
              <a:gd name="connsiteY142" fmla="*/ 1072033 h 1252696"/>
              <a:gd name="connsiteX143" fmla="*/ 3902226 w 5737264"/>
              <a:gd name="connsiteY143" fmla="*/ 1101367 h 1252696"/>
              <a:gd name="connsiteX144" fmla="*/ 3958041 w 5737264"/>
              <a:gd name="connsiteY144" fmla="*/ 1142346 h 1252696"/>
              <a:gd name="connsiteX145" fmla="*/ 4019404 w 5737264"/>
              <a:gd name="connsiteY145" fmla="*/ 1165609 h 1252696"/>
              <a:gd name="connsiteX146" fmla="*/ 4064621 w 5737264"/>
              <a:gd name="connsiteY146" fmla="*/ 1150536 h 1252696"/>
              <a:gd name="connsiteX147" fmla="*/ 4079694 w 5737264"/>
              <a:gd name="connsiteY147" fmla="*/ 1125415 h 1252696"/>
              <a:gd name="connsiteX148" fmla="*/ 4099791 w 5737264"/>
              <a:gd name="connsiteY148" fmla="*/ 1105319 h 1252696"/>
              <a:gd name="connsiteX149" fmla="*/ 4129936 w 5737264"/>
              <a:gd name="connsiteY149" fmla="*/ 1075173 h 1252696"/>
              <a:gd name="connsiteX150" fmla="*/ 4150032 w 5737264"/>
              <a:gd name="connsiteY150" fmla="*/ 1040004 h 1252696"/>
              <a:gd name="connsiteX151" fmla="*/ 4160081 w 5737264"/>
              <a:gd name="connsiteY151" fmla="*/ 1019908 h 1252696"/>
              <a:gd name="connsiteX152" fmla="*/ 4165105 w 5737264"/>
              <a:gd name="connsiteY152" fmla="*/ 1004835 h 1252696"/>
              <a:gd name="connsiteX153" fmla="*/ 4185202 w 5737264"/>
              <a:gd name="connsiteY153" fmla="*/ 984738 h 1252696"/>
              <a:gd name="connsiteX154" fmla="*/ 4200274 w 5737264"/>
              <a:gd name="connsiteY154" fmla="*/ 979714 h 1252696"/>
              <a:gd name="connsiteX155" fmla="*/ 4235443 w 5737264"/>
              <a:gd name="connsiteY155" fmla="*/ 954593 h 1252696"/>
              <a:gd name="connsiteX156" fmla="*/ 4275637 w 5737264"/>
              <a:gd name="connsiteY156" fmla="*/ 934497 h 1252696"/>
              <a:gd name="connsiteX157" fmla="*/ 4310806 w 5737264"/>
              <a:gd name="connsiteY157" fmla="*/ 914400 h 1252696"/>
              <a:gd name="connsiteX158" fmla="*/ 4325878 w 5737264"/>
              <a:gd name="connsiteY158" fmla="*/ 904352 h 1252696"/>
              <a:gd name="connsiteX159" fmla="*/ 4362094 w 5737264"/>
              <a:gd name="connsiteY159" fmla="*/ 909114 h 1252696"/>
              <a:gd name="connsiteX160" fmla="*/ 4417099 w 5737264"/>
              <a:gd name="connsiteY160" fmla="*/ 946141 h 1252696"/>
              <a:gd name="connsiteX161" fmla="*/ 4462316 w 5737264"/>
              <a:gd name="connsiteY161" fmla="*/ 1006955 h 1252696"/>
              <a:gd name="connsiteX162" fmla="*/ 4531320 w 5737264"/>
              <a:gd name="connsiteY162" fmla="*/ 1037650 h 1252696"/>
              <a:gd name="connsiteX163" fmla="*/ 4597184 w 5737264"/>
              <a:gd name="connsiteY163" fmla="*/ 969666 h 1252696"/>
              <a:gd name="connsiteX164" fmla="*/ 4617281 w 5737264"/>
              <a:gd name="connsiteY164" fmla="*/ 959617 h 1252696"/>
              <a:gd name="connsiteX165" fmla="*/ 4632353 w 5737264"/>
              <a:gd name="connsiteY165" fmla="*/ 944545 h 1252696"/>
              <a:gd name="connsiteX166" fmla="*/ 4652450 w 5737264"/>
              <a:gd name="connsiteY166" fmla="*/ 934497 h 1252696"/>
              <a:gd name="connsiteX167" fmla="*/ 4672547 w 5737264"/>
              <a:gd name="connsiteY167" fmla="*/ 919424 h 1252696"/>
              <a:gd name="connsiteX168" fmla="*/ 4737861 w 5737264"/>
              <a:gd name="connsiteY168" fmla="*/ 884255 h 1252696"/>
              <a:gd name="connsiteX169" fmla="*/ 4762982 w 5737264"/>
              <a:gd name="connsiteY169" fmla="*/ 879231 h 1252696"/>
              <a:gd name="connsiteX170" fmla="*/ 4778054 w 5737264"/>
              <a:gd name="connsiteY170" fmla="*/ 874206 h 1252696"/>
              <a:gd name="connsiteX171" fmla="*/ 4819294 w 5737264"/>
              <a:gd name="connsiteY171" fmla="*/ 873944 h 1252696"/>
              <a:gd name="connsiteX172" fmla="*/ 4877465 w 5737264"/>
              <a:gd name="connsiteY172" fmla="*/ 895638 h 1252696"/>
              <a:gd name="connsiteX173" fmla="*/ 4935347 w 5737264"/>
              <a:gd name="connsiteY173" fmla="*/ 934523 h 1252696"/>
              <a:gd name="connsiteX174" fmla="*/ 4995402 w 5737264"/>
              <a:gd name="connsiteY174" fmla="*/ 1006746 h 1252696"/>
              <a:gd name="connsiteX175" fmla="*/ 5024762 w 5737264"/>
              <a:gd name="connsiteY175" fmla="*/ 1051963 h 1252696"/>
              <a:gd name="connsiteX176" fmla="*/ 5092223 w 5737264"/>
              <a:gd name="connsiteY176" fmla="*/ 1016506 h 1252696"/>
              <a:gd name="connsiteX177" fmla="*/ 5144322 w 5737264"/>
              <a:gd name="connsiteY177" fmla="*/ 948261 h 1252696"/>
              <a:gd name="connsiteX178" fmla="*/ 5189252 w 5737264"/>
              <a:gd name="connsiteY178" fmla="*/ 886112 h 1252696"/>
              <a:gd name="connsiteX179" fmla="*/ 5226279 w 5737264"/>
              <a:gd name="connsiteY179" fmla="*/ 856230 h 1252696"/>
              <a:gd name="connsiteX180" fmla="*/ 5260637 w 5737264"/>
              <a:gd name="connsiteY180" fmla="*/ 822918 h 1252696"/>
              <a:gd name="connsiteX181" fmla="*/ 5295282 w 5737264"/>
              <a:gd name="connsiteY181" fmla="*/ 800440 h 1252696"/>
              <a:gd name="connsiteX182" fmla="*/ 5334430 w 5737264"/>
              <a:gd name="connsiteY182" fmla="*/ 794893 h 1252696"/>
              <a:gd name="connsiteX183" fmla="*/ 5412174 w 5737264"/>
              <a:gd name="connsiteY183" fmla="*/ 824252 h 1252696"/>
              <a:gd name="connsiteX184" fmla="*/ 5431197 w 5737264"/>
              <a:gd name="connsiteY184" fmla="*/ 768699 h 1252696"/>
              <a:gd name="connsiteX185" fmla="*/ 5441246 w 5737264"/>
              <a:gd name="connsiteY185" fmla="*/ 753626 h 1252696"/>
              <a:gd name="connsiteX186" fmla="*/ 5456318 w 5737264"/>
              <a:gd name="connsiteY186" fmla="*/ 708409 h 1252696"/>
              <a:gd name="connsiteX187" fmla="*/ 5466366 w 5737264"/>
              <a:gd name="connsiteY187" fmla="*/ 683288 h 1252696"/>
              <a:gd name="connsiteX188" fmla="*/ 5476415 w 5737264"/>
              <a:gd name="connsiteY188" fmla="*/ 643094 h 1252696"/>
              <a:gd name="connsiteX189" fmla="*/ 5491487 w 5737264"/>
              <a:gd name="connsiteY189" fmla="*/ 617973 h 1252696"/>
              <a:gd name="connsiteX190" fmla="*/ 5506560 w 5737264"/>
              <a:gd name="connsiteY190" fmla="*/ 572756 h 1252696"/>
              <a:gd name="connsiteX191" fmla="*/ 5526656 w 5737264"/>
              <a:gd name="connsiteY191" fmla="*/ 522514 h 1252696"/>
              <a:gd name="connsiteX192" fmla="*/ 5546753 w 5737264"/>
              <a:gd name="connsiteY192" fmla="*/ 467248 h 1252696"/>
              <a:gd name="connsiteX193" fmla="*/ 5556802 w 5737264"/>
              <a:gd name="connsiteY193" fmla="*/ 411982 h 1252696"/>
              <a:gd name="connsiteX194" fmla="*/ 5566850 w 5737264"/>
              <a:gd name="connsiteY194" fmla="*/ 381837 h 1252696"/>
              <a:gd name="connsiteX195" fmla="*/ 5576898 w 5737264"/>
              <a:gd name="connsiteY195" fmla="*/ 356716 h 1252696"/>
              <a:gd name="connsiteX196" fmla="*/ 5596995 w 5737264"/>
              <a:gd name="connsiteY196" fmla="*/ 316523 h 1252696"/>
              <a:gd name="connsiteX197" fmla="*/ 5617092 w 5737264"/>
              <a:gd name="connsiteY197" fmla="*/ 246184 h 1252696"/>
              <a:gd name="connsiteX198" fmla="*/ 5622116 w 5737264"/>
              <a:gd name="connsiteY198" fmla="*/ 226088 h 1252696"/>
              <a:gd name="connsiteX199" fmla="*/ 5632164 w 5737264"/>
              <a:gd name="connsiteY199" fmla="*/ 216039 h 1252696"/>
              <a:gd name="connsiteX200" fmla="*/ 5637188 w 5737264"/>
              <a:gd name="connsiteY200" fmla="*/ 200967 h 1252696"/>
              <a:gd name="connsiteX201" fmla="*/ 5651738 w 5737264"/>
              <a:gd name="connsiteY201" fmla="*/ 190395 h 1252696"/>
              <a:gd name="connsiteX202" fmla="*/ 5673692 w 5737264"/>
              <a:gd name="connsiteY202" fmla="*/ 153892 h 1252696"/>
              <a:gd name="connsiteX203" fmla="*/ 5726602 w 5737264"/>
              <a:gd name="connsiteY203" fmla="*/ 89362 h 1252696"/>
              <a:gd name="connsiteX204" fmla="*/ 5728722 w 5737264"/>
              <a:gd name="connsiteY204" fmla="*/ 42287 h 1252696"/>
              <a:gd name="connsiteX205" fmla="*/ 5634284 w 5737264"/>
              <a:gd name="connsiteY205" fmla="*/ 25357 h 1252696"/>
              <a:gd name="connsiteX206" fmla="*/ 5536940 w 5737264"/>
              <a:gd name="connsiteY206" fmla="*/ 27214 h 1252696"/>
              <a:gd name="connsiteX207" fmla="*/ 5470369 w 5737264"/>
              <a:gd name="connsiteY207" fmla="*/ 39381 h 1252696"/>
              <a:gd name="connsiteX208" fmla="*/ 5379124 w 5737264"/>
              <a:gd name="connsiteY208" fmla="*/ 39644 h 1252696"/>
              <a:gd name="connsiteX209" fmla="*/ 5309282 w 5737264"/>
              <a:gd name="connsiteY209" fmla="*/ 42287 h 1252696"/>
              <a:gd name="connsiteX210" fmla="*/ 5238682 w 5737264"/>
              <a:gd name="connsiteY210" fmla="*/ 54455 h 1252696"/>
              <a:gd name="connsiteX211" fmla="*/ 5108892 w 5737264"/>
              <a:gd name="connsiteY211" fmla="*/ 37524 h 1252696"/>
              <a:gd name="connsiteX212" fmla="*/ 5020026 w 5737264"/>
              <a:gd name="connsiteY212" fmla="*/ 39120 h 1252696"/>
              <a:gd name="connsiteX213" fmla="*/ 4946233 w 5737264"/>
              <a:gd name="connsiteY213" fmla="*/ 41240 h 1252696"/>
              <a:gd name="connsiteX214" fmla="*/ 4823272 w 5737264"/>
              <a:gd name="connsiteY214" fmla="*/ 50242 h 1252696"/>
              <a:gd name="connsiteX215" fmla="*/ 4727577 w 5737264"/>
              <a:gd name="connsiteY215" fmla="*/ 29073 h 1252696"/>
              <a:gd name="connsiteX216" fmla="*/ 4628376 w 5737264"/>
              <a:gd name="connsiteY216" fmla="*/ 41240 h 1252696"/>
              <a:gd name="connsiteX217" fmla="*/ 4565180 w 5737264"/>
              <a:gd name="connsiteY217" fmla="*/ 46264 h 1252696"/>
              <a:gd name="connsiteX218" fmla="*/ 4417596 w 5737264"/>
              <a:gd name="connsiteY218" fmla="*/ 44406 h 1252696"/>
              <a:gd name="connsiteX219" fmla="*/ 4139984 w 5737264"/>
              <a:gd name="connsiteY219" fmla="*/ 60290 h 1252696"/>
              <a:gd name="connsiteX220" fmla="*/ 3918920 w 5737264"/>
              <a:gd name="connsiteY220" fmla="*/ 50242 h 1252696"/>
              <a:gd name="connsiteX221" fmla="*/ 3873703 w 5737264"/>
              <a:gd name="connsiteY221" fmla="*/ 45217 h 1252696"/>
              <a:gd name="connsiteX222" fmla="*/ 3687808 w 5737264"/>
              <a:gd name="connsiteY222" fmla="*/ 40193 h 1252696"/>
              <a:gd name="connsiteX223" fmla="*/ 3662687 w 5737264"/>
              <a:gd name="connsiteY223" fmla="*/ 35169 h 1252696"/>
              <a:gd name="connsiteX224" fmla="*/ 3627518 w 5737264"/>
              <a:gd name="connsiteY224" fmla="*/ 25121 h 1252696"/>
              <a:gd name="connsiteX225" fmla="*/ 3547131 w 5737264"/>
              <a:gd name="connsiteY225" fmla="*/ 20097 h 1252696"/>
              <a:gd name="connsiteX226" fmla="*/ 3310995 w 5737264"/>
              <a:gd name="connsiteY226" fmla="*/ 25121 h 1252696"/>
              <a:gd name="connsiteX227" fmla="*/ 3265777 w 5737264"/>
              <a:gd name="connsiteY227" fmla="*/ 30145 h 1252696"/>
              <a:gd name="connsiteX228" fmla="*/ 3175342 w 5737264"/>
              <a:gd name="connsiteY228" fmla="*/ 35169 h 1252696"/>
              <a:gd name="connsiteX229" fmla="*/ 2582489 w 5737264"/>
              <a:gd name="connsiteY229" fmla="*/ 45217 h 1252696"/>
              <a:gd name="connsiteX230" fmla="*/ 2255918 w 5737264"/>
              <a:gd name="connsiteY230" fmla="*/ 40193 h 1252696"/>
              <a:gd name="connsiteX231" fmla="*/ 1974564 w 5737264"/>
              <a:gd name="connsiteY231" fmla="*/ 30145 h 1252696"/>
              <a:gd name="connsiteX232" fmla="*/ 1944419 w 5737264"/>
              <a:gd name="connsiteY232" fmla="*/ 25121 h 1252696"/>
              <a:gd name="connsiteX233" fmla="*/ 1848960 w 5737264"/>
              <a:gd name="connsiteY233" fmla="*/ 20097 h 1252696"/>
              <a:gd name="connsiteX234" fmla="*/ 1768573 w 5737264"/>
              <a:gd name="connsiteY234" fmla="*/ 10048 h 1252696"/>
              <a:gd name="connsiteX235" fmla="*/ 1502292 w 5737264"/>
              <a:gd name="connsiteY235" fmla="*/ 20097 h 1252696"/>
              <a:gd name="connsiteX236" fmla="*/ 1467122 w 5737264"/>
              <a:gd name="connsiteY236" fmla="*/ 25121 h 1252696"/>
              <a:gd name="connsiteX237" fmla="*/ 1426929 w 5737264"/>
              <a:gd name="connsiteY237" fmla="*/ 30145 h 1252696"/>
              <a:gd name="connsiteX238" fmla="*/ 1341518 w 5737264"/>
              <a:gd name="connsiteY238" fmla="*/ 45217 h 1252696"/>
              <a:gd name="connsiteX239" fmla="*/ 1095333 w 5737264"/>
              <a:gd name="connsiteY239" fmla="*/ 35169 h 1252696"/>
              <a:gd name="connsiteX240" fmla="*/ 979777 w 5737264"/>
              <a:gd name="connsiteY240" fmla="*/ 20097 h 1252696"/>
              <a:gd name="connsiteX241" fmla="*/ 939584 w 5737264"/>
              <a:gd name="connsiteY241" fmla="*/ 10048 h 1252696"/>
              <a:gd name="connsiteX242" fmla="*/ 813980 w 5737264"/>
              <a:gd name="connsiteY242" fmla="*/ 0 h 1252696"/>
              <a:gd name="connsiteX243" fmla="*/ 743641 w 5737264"/>
              <a:gd name="connsiteY243" fmla="*/ 5024 h 1252696"/>
              <a:gd name="connsiteX244" fmla="*/ 582867 w 5737264"/>
              <a:gd name="connsiteY244" fmla="*/ 15072 h 1252696"/>
              <a:gd name="connsiteX245" fmla="*/ 432142 w 5737264"/>
              <a:gd name="connsiteY245" fmla="*/ 5024 h 1252696"/>
              <a:gd name="connsiteX246" fmla="*/ 412046 w 5737264"/>
              <a:gd name="connsiteY246" fmla="*/ 0 h 1252696"/>
              <a:gd name="connsiteX247" fmla="*/ 281417 w 5737264"/>
              <a:gd name="connsiteY247" fmla="*/ 10048 h 1252696"/>
              <a:gd name="connsiteX248" fmla="*/ 261320 w 5737264"/>
              <a:gd name="connsiteY248" fmla="*/ 15072 h 1252696"/>
              <a:gd name="connsiteX249" fmla="*/ 100547 w 5737264"/>
              <a:gd name="connsiteY249" fmla="*/ 20097 h 1252696"/>
              <a:gd name="connsiteX250" fmla="*/ 5087 w 5737264"/>
              <a:gd name="connsiteY250"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49443 w 5737264"/>
              <a:gd name="connsiteY81" fmla="*/ 1085222 h 1252696"/>
              <a:gd name="connsiteX82" fmla="*/ 1969540 w 5737264"/>
              <a:gd name="connsiteY82" fmla="*/ 1090246 h 1252696"/>
              <a:gd name="connsiteX83" fmla="*/ 2014758 w 5737264"/>
              <a:gd name="connsiteY83" fmla="*/ 1110343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68867 w 5737264"/>
              <a:gd name="connsiteY110" fmla="*/ 1075173 h 1252696"/>
              <a:gd name="connsiteX111" fmla="*/ 2893988 w 5737264"/>
              <a:gd name="connsiteY111" fmla="*/ 1070149 h 1252696"/>
              <a:gd name="connsiteX112" fmla="*/ 2919109 w 5737264"/>
              <a:gd name="connsiteY112" fmla="*/ 1075173 h 1252696"/>
              <a:gd name="connsiteX113" fmla="*/ 2959303 w 5737264"/>
              <a:gd name="connsiteY113" fmla="*/ 1125415 h 1252696"/>
              <a:gd name="connsiteX114" fmla="*/ 2979399 w 5737264"/>
              <a:gd name="connsiteY114" fmla="*/ 1155560 h 1252696"/>
              <a:gd name="connsiteX115" fmla="*/ 3014569 w 5737264"/>
              <a:gd name="connsiteY115" fmla="*/ 1180681 h 1252696"/>
              <a:gd name="connsiteX116" fmla="*/ 3024617 w 5737264"/>
              <a:gd name="connsiteY116" fmla="*/ 1190730 h 1252696"/>
              <a:gd name="connsiteX117" fmla="*/ 3038878 w 5737264"/>
              <a:gd name="connsiteY117" fmla="*/ 1222994 h 1252696"/>
              <a:gd name="connsiteX118" fmla="*/ 3076168 w 5737264"/>
              <a:gd name="connsiteY118" fmla="*/ 1252354 h 1252696"/>
              <a:gd name="connsiteX119" fmla="*/ 3130125 w 5737264"/>
              <a:gd name="connsiteY119" fmla="*/ 1240971 h 1252696"/>
              <a:gd name="connsiteX120" fmla="*/ 3177985 w 5737264"/>
              <a:gd name="connsiteY120" fmla="*/ 1207372 h 1252696"/>
              <a:gd name="connsiteX121" fmla="*/ 3229535 w 5737264"/>
              <a:gd name="connsiteY121" fmla="*/ 1178561 h 1252696"/>
              <a:gd name="connsiteX122" fmla="*/ 3281634 w 5737264"/>
              <a:gd name="connsiteY122" fmla="*/ 1153440 h 1252696"/>
              <a:gd name="connsiteX123" fmla="*/ 3310995 w 5737264"/>
              <a:gd name="connsiteY123" fmla="*/ 1145512 h 1252696"/>
              <a:gd name="connsiteX124" fmla="*/ 3351188 w 5737264"/>
              <a:gd name="connsiteY124" fmla="*/ 1140488 h 1252696"/>
              <a:gd name="connsiteX125" fmla="*/ 3406454 w 5737264"/>
              <a:gd name="connsiteY125" fmla="*/ 1155560 h 1252696"/>
              <a:gd name="connsiteX126" fmla="*/ 3426551 w 5737264"/>
              <a:gd name="connsiteY126" fmla="*/ 1165609 h 1252696"/>
              <a:gd name="connsiteX127" fmla="*/ 3441624 w 5737264"/>
              <a:gd name="connsiteY127" fmla="*/ 1175657 h 1252696"/>
              <a:gd name="connsiteX128" fmla="*/ 3456696 w 5737264"/>
              <a:gd name="connsiteY128" fmla="*/ 1180681 h 1252696"/>
              <a:gd name="connsiteX129" fmla="*/ 3466744 w 5737264"/>
              <a:gd name="connsiteY129" fmla="*/ 1195754 h 1252696"/>
              <a:gd name="connsiteX130" fmla="*/ 3527035 w 5737264"/>
              <a:gd name="connsiteY130" fmla="*/ 1200778 h 1252696"/>
              <a:gd name="connsiteX131" fmla="*/ 3542107 w 5737264"/>
              <a:gd name="connsiteY131" fmla="*/ 1190730 h 1252696"/>
              <a:gd name="connsiteX132" fmla="*/ 3567228 w 5737264"/>
              <a:gd name="connsiteY132" fmla="*/ 1180681 h 1252696"/>
              <a:gd name="connsiteX133" fmla="*/ 3587325 w 5737264"/>
              <a:gd name="connsiteY133" fmla="*/ 1150536 h 1252696"/>
              <a:gd name="connsiteX134" fmla="*/ 3617470 w 5737264"/>
              <a:gd name="connsiteY134" fmla="*/ 1125415 h 1252696"/>
              <a:gd name="connsiteX135" fmla="*/ 3632542 w 5737264"/>
              <a:gd name="connsiteY135" fmla="*/ 1105319 h 1252696"/>
              <a:gd name="connsiteX136" fmla="*/ 3662687 w 5737264"/>
              <a:gd name="connsiteY136" fmla="*/ 1085222 h 1252696"/>
              <a:gd name="connsiteX137" fmla="*/ 3697856 w 5737264"/>
              <a:gd name="connsiteY137" fmla="*/ 1070149 h 1252696"/>
              <a:gd name="connsiteX138" fmla="*/ 3707905 w 5737264"/>
              <a:gd name="connsiteY138" fmla="*/ 1060101 h 1252696"/>
              <a:gd name="connsiteX139" fmla="*/ 3743074 w 5737264"/>
              <a:gd name="connsiteY139" fmla="*/ 1047148 h 1252696"/>
              <a:gd name="connsiteX140" fmla="*/ 3799125 w 5737264"/>
              <a:gd name="connsiteY140" fmla="*/ 1043982 h 1252696"/>
              <a:gd name="connsiteX141" fmla="*/ 3859651 w 5737264"/>
              <a:gd name="connsiteY141" fmla="*/ 1072033 h 1252696"/>
              <a:gd name="connsiteX142" fmla="*/ 3902226 w 5737264"/>
              <a:gd name="connsiteY142" fmla="*/ 1101367 h 1252696"/>
              <a:gd name="connsiteX143" fmla="*/ 3958041 w 5737264"/>
              <a:gd name="connsiteY143" fmla="*/ 1142346 h 1252696"/>
              <a:gd name="connsiteX144" fmla="*/ 4019404 w 5737264"/>
              <a:gd name="connsiteY144" fmla="*/ 1165609 h 1252696"/>
              <a:gd name="connsiteX145" fmla="*/ 4064621 w 5737264"/>
              <a:gd name="connsiteY145" fmla="*/ 1150536 h 1252696"/>
              <a:gd name="connsiteX146" fmla="*/ 4079694 w 5737264"/>
              <a:gd name="connsiteY146" fmla="*/ 1125415 h 1252696"/>
              <a:gd name="connsiteX147" fmla="*/ 4099791 w 5737264"/>
              <a:gd name="connsiteY147" fmla="*/ 1105319 h 1252696"/>
              <a:gd name="connsiteX148" fmla="*/ 4129936 w 5737264"/>
              <a:gd name="connsiteY148" fmla="*/ 1075173 h 1252696"/>
              <a:gd name="connsiteX149" fmla="*/ 4150032 w 5737264"/>
              <a:gd name="connsiteY149" fmla="*/ 1040004 h 1252696"/>
              <a:gd name="connsiteX150" fmla="*/ 4160081 w 5737264"/>
              <a:gd name="connsiteY150" fmla="*/ 1019908 h 1252696"/>
              <a:gd name="connsiteX151" fmla="*/ 4165105 w 5737264"/>
              <a:gd name="connsiteY151" fmla="*/ 1004835 h 1252696"/>
              <a:gd name="connsiteX152" fmla="*/ 4185202 w 5737264"/>
              <a:gd name="connsiteY152" fmla="*/ 984738 h 1252696"/>
              <a:gd name="connsiteX153" fmla="*/ 4200274 w 5737264"/>
              <a:gd name="connsiteY153" fmla="*/ 979714 h 1252696"/>
              <a:gd name="connsiteX154" fmla="*/ 4235443 w 5737264"/>
              <a:gd name="connsiteY154" fmla="*/ 954593 h 1252696"/>
              <a:gd name="connsiteX155" fmla="*/ 4275637 w 5737264"/>
              <a:gd name="connsiteY155" fmla="*/ 934497 h 1252696"/>
              <a:gd name="connsiteX156" fmla="*/ 4310806 w 5737264"/>
              <a:gd name="connsiteY156" fmla="*/ 914400 h 1252696"/>
              <a:gd name="connsiteX157" fmla="*/ 4325878 w 5737264"/>
              <a:gd name="connsiteY157" fmla="*/ 904352 h 1252696"/>
              <a:gd name="connsiteX158" fmla="*/ 4362094 w 5737264"/>
              <a:gd name="connsiteY158" fmla="*/ 909114 h 1252696"/>
              <a:gd name="connsiteX159" fmla="*/ 4417099 w 5737264"/>
              <a:gd name="connsiteY159" fmla="*/ 946141 h 1252696"/>
              <a:gd name="connsiteX160" fmla="*/ 4462316 w 5737264"/>
              <a:gd name="connsiteY160" fmla="*/ 1006955 h 1252696"/>
              <a:gd name="connsiteX161" fmla="*/ 4531320 w 5737264"/>
              <a:gd name="connsiteY161" fmla="*/ 1037650 h 1252696"/>
              <a:gd name="connsiteX162" fmla="*/ 4597184 w 5737264"/>
              <a:gd name="connsiteY162" fmla="*/ 969666 h 1252696"/>
              <a:gd name="connsiteX163" fmla="*/ 4617281 w 5737264"/>
              <a:gd name="connsiteY163" fmla="*/ 959617 h 1252696"/>
              <a:gd name="connsiteX164" fmla="*/ 4632353 w 5737264"/>
              <a:gd name="connsiteY164" fmla="*/ 944545 h 1252696"/>
              <a:gd name="connsiteX165" fmla="*/ 4652450 w 5737264"/>
              <a:gd name="connsiteY165" fmla="*/ 934497 h 1252696"/>
              <a:gd name="connsiteX166" fmla="*/ 4672547 w 5737264"/>
              <a:gd name="connsiteY166" fmla="*/ 919424 h 1252696"/>
              <a:gd name="connsiteX167" fmla="*/ 4737861 w 5737264"/>
              <a:gd name="connsiteY167" fmla="*/ 884255 h 1252696"/>
              <a:gd name="connsiteX168" fmla="*/ 4762982 w 5737264"/>
              <a:gd name="connsiteY168" fmla="*/ 879231 h 1252696"/>
              <a:gd name="connsiteX169" fmla="*/ 4778054 w 5737264"/>
              <a:gd name="connsiteY169" fmla="*/ 874206 h 1252696"/>
              <a:gd name="connsiteX170" fmla="*/ 4819294 w 5737264"/>
              <a:gd name="connsiteY170" fmla="*/ 873944 h 1252696"/>
              <a:gd name="connsiteX171" fmla="*/ 4877465 w 5737264"/>
              <a:gd name="connsiteY171" fmla="*/ 895638 h 1252696"/>
              <a:gd name="connsiteX172" fmla="*/ 4935347 w 5737264"/>
              <a:gd name="connsiteY172" fmla="*/ 934523 h 1252696"/>
              <a:gd name="connsiteX173" fmla="*/ 4995402 w 5737264"/>
              <a:gd name="connsiteY173" fmla="*/ 1006746 h 1252696"/>
              <a:gd name="connsiteX174" fmla="*/ 5024762 w 5737264"/>
              <a:gd name="connsiteY174" fmla="*/ 1051963 h 1252696"/>
              <a:gd name="connsiteX175" fmla="*/ 5092223 w 5737264"/>
              <a:gd name="connsiteY175" fmla="*/ 1016506 h 1252696"/>
              <a:gd name="connsiteX176" fmla="*/ 5144322 w 5737264"/>
              <a:gd name="connsiteY176" fmla="*/ 948261 h 1252696"/>
              <a:gd name="connsiteX177" fmla="*/ 5189252 w 5737264"/>
              <a:gd name="connsiteY177" fmla="*/ 886112 h 1252696"/>
              <a:gd name="connsiteX178" fmla="*/ 5226279 w 5737264"/>
              <a:gd name="connsiteY178" fmla="*/ 856230 h 1252696"/>
              <a:gd name="connsiteX179" fmla="*/ 5260637 w 5737264"/>
              <a:gd name="connsiteY179" fmla="*/ 822918 h 1252696"/>
              <a:gd name="connsiteX180" fmla="*/ 5295282 w 5737264"/>
              <a:gd name="connsiteY180" fmla="*/ 800440 h 1252696"/>
              <a:gd name="connsiteX181" fmla="*/ 5334430 w 5737264"/>
              <a:gd name="connsiteY181" fmla="*/ 794893 h 1252696"/>
              <a:gd name="connsiteX182" fmla="*/ 5412174 w 5737264"/>
              <a:gd name="connsiteY182" fmla="*/ 824252 h 1252696"/>
              <a:gd name="connsiteX183" fmla="*/ 5431197 w 5737264"/>
              <a:gd name="connsiteY183" fmla="*/ 768699 h 1252696"/>
              <a:gd name="connsiteX184" fmla="*/ 5441246 w 5737264"/>
              <a:gd name="connsiteY184" fmla="*/ 753626 h 1252696"/>
              <a:gd name="connsiteX185" fmla="*/ 5456318 w 5737264"/>
              <a:gd name="connsiteY185" fmla="*/ 708409 h 1252696"/>
              <a:gd name="connsiteX186" fmla="*/ 5466366 w 5737264"/>
              <a:gd name="connsiteY186" fmla="*/ 683288 h 1252696"/>
              <a:gd name="connsiteX187" fmla="*/ 5476415 w 5737264"/>
              <a:gd name="connsiteY187" fmla="*/ 643094 h 1252696"/>
              <a:gd name="connsiteX188" fmla="*/ 5491487 w 5737264"/>
              <a:gd name="connsiteY188" fmla="*/ 617973 h 1252696"/>
              <a:gd name="connsiteX189" fmla="*/ 5506560 w 5737264"/>
              <a:gd name="connsiteY189" fmla="*/ 572756 h 1252696"/>
              <a:gd name="connsiteX190" fmla="*/ 5526656 w 5737264"/>
              <a:gd name="connsiteY190" fmla="*/ 522514 h 1252696"/>
              <a:gd name="connsiteX191" fmla="*/ 5546753 w 5737264"/>
              <a:gd name="connsiteY191" fmla="*/ 467248 h 1252696"/>
              <a:gd name="connsiteX192" fmla="*/ 5556802 w 5737264"/>
              <a:gd name="connsiteY192" fmla="*/ 411982 h 1252696"/>
              <a:gd name="connsiteX193" fmla="*/ 5566850 w 5737264"/>
              <a:gd name="connsiteY193" fmla="*/ 381837 h 1252696"/>
              <a:gd name="connsiteX194" fmla="*/ 5576898 w 5737264"/>
              <a:gd name="connsiteY194" fmla="*/ 356716 h 1252696"/>
              <a:gd name="connsiteX195" fmla="*/ 5596995 w 5737264"/>
              <a:gd name="connsiteY195" fmla="*/ 316523 h 1252696"/>
              <a:gd name="connsiteX196" fmla="*/ 5617092 w 5737264"/>
              <a:gd name="connsiteY196" fmla="*/ 246184 h 1252696"/>
              <a:gd name="connsiteX197" fmla="*/ 5622116 w 5737264"/>
              <a:gd name="connsiteY197" fmla="*/ 226088 h 1252696"/>
              <a:gd name="connsiteX198" fmla="*/ 5632164 w 5737264"/>
              <a:gd name="connsiteY198" fmla="*/ 216039 h 1252696"/>
              <a:gd name="connsiteX199" fmla="*/ 5637188 w 5737264"/>
              <a:gd name="connsiteY199" fmla="*/ 200967 h 1252696"/>
              <a:gd name="connsiteX200" fmla="*/ 5651738 w 5737264"/>
              <a:gd name="connsiteY200" fmla="*/ 190395 h 1252696"/>
              <a:gd name="connsiteX201" fmla="*/ 5673692 w 5737264"/>
              <a:gd name="connsiteY201" fmla="*/ 153892 h 1252696"/>
              <a:gd name="connsiteX202" fmla="*/ 5726602 w 5737264"/>
              <a:gd name="connsiteY202" fmla="*/ 89362 h 1252696"/>
              <a:gd name="connsiteX203" fmla="*/ 5728722 w 5737264"/>
              <a:gd name="connsiteY203" fmla="*/ 42287 h 1252696"/>
              <a:gd name="connsiteX204" fmla="*/ 5634284 w 5737264"/>
              <a:gd name="connsiteY204" fmla="*/ 25357 h 1252696"/>
              <a:gd name="connsiteX205" fmla="*/ 5536940 w 5737264"/>
              <a:gd name="connsiteY205" fmla="*/ 27214 h 1252696"/>
              <a:gd name="connsiteX206" fmla="*/ 5470369 w 5737264"/>
              <a:gd name="connsiteY206" fmla="*/ 39381 h 1252696"/>
              <a:gd name="connsiteX207" fmla="*/ 5379124 w 5737264"/>
              <a:gd name="connsiteY207" fmla="*/ 39644 h 1252696"/>
              <a:gd name="connsiteX208" fmla="*/ 5309282 w 5737264"/>
              <a:gd name="connsiteY208" fmla="*/ 42287 h 1252696"/>
              <a:gd name="connsiteX209" fmla="*/ 5238682 w 5737264"/>
              <a:gd name="connsiteY209" fmla="*/ 54455 h 1252696"/>
              <a:gd name="connsiteX210" fmla="*/ 5108892 w 5737264"/>
              <a:gd name="connsiteY210" fmla="*/ 37524 h 1252696"/>
              <a:gd name="connsiteX211" fmla="*/ 5020026 w 5737264"/>
              <a:gd name="connsiteY211" fmla="*/ 39120 h 1252696"/>
              <a:gd name="connsiteX212" fmla="*/ 4946233 w 5737264"/>
              <a:gd name="connsiteY212" fmla="*/ 41240 h 1252696"/>
              <a:gd name="connsiteX213" fmla="*/ 4823272 w 5737264"/>
              <a:gd name="connsiteY213" fmla="*/ 50242 h 1252696"/>
              <a:gd name="connsiteX214" fmla="*/ 4727577 w 5737264"/>
              <a:gd name="connsiteY214" fmla="*/ 29073 h 1252696"/>
              <a:gd name="connsiteX215" fmla="*/ 4628376 w 5737264"/>
              <a:gd name="connsiteY215" fmla="*/ 41240 h 1252696"/>
              <a:gd name="connsiteX216" fmla="*/ 4565180 w 5737264"/>
              <a:gd name="connsiteY216" fmla="*/ 46264 h 1252696"/>
              <a:gd name="connsiteX217" fmla="*/ 4417596 w 5737264"/>
              <a:gd name="connsiteY217" fmla="*/ 44406 h 1252696"/>
              <a:gd name="connsiteX218" fmla="*/ 4139984 w 5737264"/>
              <a:gd name="connsiteY218" fmla="*/ 60290 h 1252696"/>
              <a:gd name="connsiteX219" fmla="*/ 3918920 w 5737264"/>
              <a:gd name="connsiteY219" fmla="*/ 50242 h 1252696"/>
              <a:gd name="connsiteX220" fmla="*/ 3873703 w 5737264"/>
              <a:gd name="connsiteY220" fmla="*/ 45217 h 1252696"/>
              <a:gd name="connsiteX221" fmla="*/ 3687808 w 5737264"/>
              <a:gd name="connsiteY221" fmla="*/ 40193 h 1252696"/>
              <a:gd name="connsiteX222" fmla="*/ 3662687 w 5737264"/>
              <a:gd name="connsiteY222" fmla="*/ 35169 h 1252696"/>
              <a:gd name="connsiteX223" fmla="*/ 3627518 w 5737264"/>
              <a:gd name="connsiteY223" fmla="*/ 25121 h 1252696"/>
              <a:gd name="connsiteX224" fmla="*/ 3547131 w 5737264"/>
              <a:gd name="connsiteY224" fmla="*/ 20097 h 1252696"/>
              <a:gd name="connsiteX225" fmla="*/ 3310995 w 5737264"/>
              <a:gd name="connsiteY225" fmla="*/ 25121 h 1252696"/>
              <a:gd name="connsiteX226" fmla="*/ 3265777 w 5737264"/>
              <a:gd name="connsiteY226" fmla="*/ 30145 h 1252696"/>
              <a:gd name="connsiteX227" fmla="*/ 3175342 w 5737264"/>
              <a:gd name="connsiteY227" fmla="*/ 35169 h 1252696"/>
              <a:gd name="connsiteX228" fmla="*/ 2582489 w 5737264"/>
              <a:gd name="connsiteY228" fmla="*/ 45217 h 1252696"/>
              <a:gd name="connsiteX229" fmla="*/ 2255918 w 5737264"/>
              <a:gd name="connsiteY229" fmla="*/ 40193 h 1252696"/>
              <a:gd name="connsiteX230" fmla="*/ 1974564 w 5737264"/>
              <a:gd name="connsiteY230" fmla="*/ 30145 h 1252696"/>
              <a:gd name="connsiteX231" fmla="*/ 1944419 w 5737264"/>
              <a:gd name="connsiteY231" fmla="*/ 25121 h 1252696"/>
              <a:gd name="connsiteX232" fmla="*/ 1848960 w 5737264"/>
              <a:gd name="connsiteY232" fmla="*/ 20097 h 1252696"/>
              <a:gd name="connsiteX233" fmla="*/ 1768573 w 5737264"/>
              <a:gd name="connsiteY233" fmla="*/ 10048 h 1252696"/>
              <a:gd name="connsiteX234" fmla="*/ 1502292 w 5737264"/>
              <a:gd name="connsiteY234" fmla="*/ 20097 h 1252696"/>
              <a:gd name="connsiteX235" fmla="*/ 1467122 w 5737264"/>
              <a:gd name="connsiteY235" fmla="*/ 25121 h 1252696"/>
              <a:gd name="connsiteX236" fmla="*/ 1426929 w 5737264"/>
              <a:gd name="connsiteY236" fmla="*/ 30145 h 1252696"/>
              <a:gd name="connsiteX237" fmla="*/ 1341518 w 5737264"/>
              <a:gd name="connsiteY237" fmla="*/ 45217 h 1252696"/>
              <a:gd name="connsiteX238" fmla="*/ 1095333 w 5737264"/>
              <a:gd name="connsiteY238" fmla="*/ 35169 h 1252696"/>
              <a:gd name="connsiteX239" fmla="*/ 979777 w 5737264"/>
              <a:gd name="connsiteY239" fmla="*/ 20097 h 1252696"/>
              <a:gd name="connsiteX240" fmla="*/ 939584 w 5737264"/>
              <a:gd name="connsiteY240" fmla="*/ 10048 h 1252696"/>
              <a:gd name="connsiteX241" fmla="*/ 813980 w 5737264"/>
              <a:gd name="connsiteY241" fmla="*/ 0 h 1252696"/>
              <a:gd name="connsiteX242" fmla="*/ 743641 w 5737264"/>
              <a:gd name="connsiteY242" fmla="*/ 5024 h 1252696"/>
              <a:gd name="connsiteX243" fmla="*/ 582867 w 5737264"/>
              <a:gd name="connsiteY243" fmla="*/ 15072 h 1252696"/>
              <a:gd name="connsiteX244" fmla="*/ 432142 w 5737264"/>
              <a:gd name="connsiteY244" fmla="*/ 5024 h 1252696"/>
              <a:gd name="connsiteX245" fmla="*/ 412046 w 5737264"/>
              <a:gd name="connsiteY245" fmla="*/ 0 h 1252696"/>
              <a:gd name="connsiteX246" fmla="*/ 281417 w 5737264"/>
              <a:gd name="connsiteY246" fmla="*/ 10048 h 1252696"/>
              <a:gd name="connsiteX247" fmla="*/ 261320 w 5737264"/>
              <a:gd name="connsiteY247" fmla="*/ 15072 h 1252696"/>
              <a:gd name="connsiteX248" fmla="*/ 100547 w 5737264"/>
              <a:gd name="connsiteY248" fmla="*/ 20097 h 1252696"/>
              <a:gd name="connsiteX249" fmla="*/ 5087 w 5737264"/>
              <a:gd name="connsiteY249"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49443 w 5737264"/>
              <a:gd name="connsiteY81" fmla="*/ 1085222 h 1252696"/>
              <a:gd name="connsiteX82" fmla="*/ 1969540 w 5737264"/>
              <a:gd name="connsiteY82" fmla="*/ 1090246 h 1252696"/>
              <a:gd name="connsiteX83" fmla="*/ 2014758 w 5737264"/>
              <a:gd name="connsiteY83" fmla="*/ 1110343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68867 w 5737264"/>
              <a:gd name="connsiteY110" fmla="*/ 1075173 h 1252696"/>
              <a:gd name="connsiteX111" fmla="*/ 2893988 w 5737264"/>
              <a:gd name="connsiteY111" fmla="*/ 1070149 h 1252696"/>
              <a:gd name="connsiteX112" fmla="*/ 2919109 w 5737264"/>
              <a:gd name="connsiteY112" fmla="*/ 1075173 h 1252696"/>
              <a:gd name="connsiteX113" fmla="*/ 2959303 w 5737264"/>
              <a:gd name="connsiteY113" fmla="*/ 1125415 h 1252696"/>
              <a:gd name="connsiteX114" fmla="*/ 2979399 w 5737264"/>
              <a:gd name="connsiteY114" fmla="*/ 1155560 h 1252696"/>
              <a:gd name="connsiteX115" fmla="*/ 3014569 w 5737264"/>
              <a:gd name="connsiteY115" fmla="*/ 1180681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49443 w 5737264"/>
              <a:gd name="connsiteY81" fmla="*/ 1085222 h 1252696"/>
              <a:gd name="connsiteX82" fmla="*/ 1969540 w 5737264"/>
              <a:gd name="connsiteY82" fmla="*/ 1090246 h 1252696"/>
              <a:gd name="connsiteX83" fmla="*/ 2014758 w 5737264"/>
              <a:gd name="connsiteY83" fmla="*/ 1110343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68867 w 5737264"/>
              <a:gd name="connsiteY110" fmla="*/ 1075173 h 1252696"/>
              <a:gd name="connsiteX111" fmla="*/ 2893988 w 5737264"/>
              <a:gd name="connsiteY111" fmla="*/ 1070149 h 1252696"/>
              <a:gd name="connsiteX112" fmla="*/ 2919109 w 5737264"/>
              <a:gd name="connsiteY112" fmla="*/ 1075173 h 1252696"/>
              <a:gd name="connsiteX113" fmla="*/ 2959303 w 5737264"/>
              <a:gd name="connsiteY113" fmla="*/ 1125415 h 1252696"/>
              <a:gd name="connsiteX114" fmla="*/ 2979399 w 5737264"/>
              <a:gd name="connsiteY114" fmla="*/ 1155560 h 1252696"/>
              <a:gd name="connsiteX115" fmla="*/ 2997900 w 5737264"/>
              <a:gd name="connsiteY115" fmla="*/ 1187825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49443 w 5737264"/>
              <a:gd name="connsiteY81" fmla="*/ 1085222 h 1252696"/>
              <a:gd name="connsiteX82" fmla="*/ 1969540 w 5737264"/>
              <a:gd name="connsiteY82" fmla="*/ 1090246 h 1252696"/>
              <a:gd name="connsiteX83" fmla="*/ 2014758 w 5737264"/>
              <a:gd name="connsiteY83" fmla="*/ 1110343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45055 w 5737264"/>
              <a:gd name="connsiteY110" fmla="*/ 1077554 h 1252696"/>
              <a:gd name="connsiteX111" fmla="*/ 2893988 w 5737264"/>
              <a:gd name="connsiteY111" fmla="*/ 1070149 h 1252696"/>
              <a:gd name="connsiteX112" fmla="*/ 2919109 w 5737264"/>
              <a:gd name="connsiteY112" fmla="*/ 1075173 h 1252696"/>
              <a:gd name="connsiteX113" fmla="*/ 2959303 w 5737264"/>
              <a:gd name="connsiteY113" fmla="*/ 1125415 h 1252696"/>
              <a:gd name="connsiteX114" fmla="*/ 2979399 w 5737264"/>
              <a:gd name="connsiteY114" fmla="*/ 1155560 h 1252696"/>
              <a:gd name="connsiteX115" fmla="*/ 2997900 w 5737264"/>
              <a:gd name="connsiteY115" fmla="*/ 1187825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49443 w 5737264"/>
              <a:gd name="connsiteY81" fmla="*/ 1085222 h 1252696"/>
              <a:gd name="connsiteX82" fmla="*/ 1969540 w 5737264"/>
              <a:gd name="connsiteY82" fmla="*/ 1090246 h 1252696"/>
              <a:gd name="connsiteX83" fmla="*/ 2014758 w 5737264"/>
              <a:gd name="connsiteY83" fmla="*/ 1110343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45055 w 5737264"/>
              <a:gd name="connsiteY110" fmla="*/ 1077554 h 1252696"/>
              <a:gd name="connsiteX111" fmla="*/ 2884463 w 5737264"/>
              <a:gd name="connsiteY111" fmla="*/ 1077292 h 1252696"/>
              <a:gd name="connsiteX112" fmla="*/ 2919109 w 5737264"/>
              <a:gd name="connsiteY112" fmla="*/ 1075173 h 1252696"/>
              <a:gd name="connsiteX113" fmla="*/ 2959303 w 5737264"/>
              <a:gd name="connsiteY113" fmla="*/ 1125415 h 1252696"/>
              <a:gd name="connsiteX114" fmla="*/ 2979399 w 5737264"/>
              <a:gd name="connsiteY114" fmla="*/ 1155560 h 1252696"/>
              <a:gd name="connsiteX115" fmla="*/ 2997900 w 5737264"/>
              <a:gd name="connsiteY115" fmla="*/ 1187825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49443 w 5737264"/>
              <a:gd name="connsiteY81" fmla="*/ 1085222 h 1252696"/>
              <a:gd name="connsiteX82" fmla="*/ 1969540 w 5737264"/>
              <a:gd name="connsiteY82" fmla="*/ 1090246 h 1252696"/>
              <a:gd name="connsiteX83" fmla="*/ 2014758 w 5737264"/>
              <a:gd name="connsiteY83" fmla="*/ 1110343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45055 w 5737264"/>
              <a:gd name="connsiteY110" fmla="*/ 1077554 h 1252696"/>
              <a:gd name="connsiteX111" fmla="*/ 2884463 w 5737264"/>
              <a:gd name="connsiteY111" fmla="*/ 1077292 h 1252696"/>
              <a:gd name="connsiteX112" fmla="*/ 2921490 w 5737264"/>
              <a:gd name="connsiteY112" fmla="*/ 1087079 h 1252696"/>
              <a:gd name="connsiteX113" fmla="*/ 2959303 w 5737264"/>
              <a:gd name="connsiteY113" fmla="*/ 1125415 h 1252696"/>
              <a:gd name="connsiteX114" fmla="*/ 2979399 w 5737264"/>
              <a:gd name="connsiteY114" fmla="*/ 1155560 h 1252696"/>
              <a:gd name="connsiteX115" fmla="*/ 2997900 w 5737264"/>
              <a:gd name="connsiteY115" fmla="*/ 1187825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69540 w 5737264"/>
              <a:gd name="connsiteY82" fmla="*/ 1090246 h 1252696"/>
              <a:gd name="connsiteX83" fmla="*/ 2014758 w 5737264"/>
              <a:gd name="connsiteY83" fmla="*/ 1110343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45055 w 5737264"/>
              <a:gd name="connsiteY110" fmla="*/ 1077554 h 1252696"/>
              <a:gd name="connsiteX111" fmla="*/ 2884463 w 5737264"/>
              <a:gd name="connsiteY111" fmla="*/ 1077292 h 1252696"/>
              <a:gd name="connsiteX112" fmla="*/ 2921490 w 5737264"/>
              <a:gd name="connsiteY112" fmla="*/ 1087079 h 1252696"/>
              <a:gd name="connsiteX113" fmla="*/ 2959303 w 5737264"/>
              <a:gd name="connsiteY113" fmla="*/ 1125415 h 1252696"/>
              <a:gd name="connsiteX114" fmla="*/ 2979399 w 5737264"/>
              <a:gd name="connsiteY114" fmla="*/ 1155560 h 1252696"/>
              <a:gd name="connsiteX115" fmla="*/ 2997900 w 5737264"/>
              <a:gd name="connsiteY115" fmla="*/ 1187825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10343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45055 w 5737264"/>
              <a:gd name="connsiteY110" fmla="*/ 1077554 h 1252696"/>
              <a:gd name="connsiteX111" fmla="*/ 2884463 w 5737264"/>
              <a:gd name="connsiteY111" fmla="*/ 1077292 h 1252696"/>
              <a:gd name="connsiteX112" fmla="*/ 2921490 w 5737264"/>
              <a:gd name="connsiteY112" fmla="*/ 1087079 h 1252696"/>
              <a:gd name="connsiteX113" fmla="*/ 2959303 w 5737264"/>
              <a:gd name="connsiteY113" fmla="*/ 1125415 h 1252696"/>
              <a:gd name="connsiteX114" fmla="*/ 2979399 w 5737264"/>
              <a:gd name="connsiteY114" fmla="*/ 1155560 h 1252696"/>
              <a:gd name="connsiteX115" fmla="*/ 2997900 w 5737264"/>
              <a:gd name="connsiteY115" fmla="*/ 1187825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39878 w 5737264"/>
              <a:gd name="connsiteY84" fmla="*/ 1125415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45055 w 5737264"/>
              <a:gd name="connsiteY110" fmla="*/ 1077554 h 1252696"/>
              <a:gd name="connsiteX111" fmla="*/ 2884463 w 5737264"/>
              <a:gd name="connsiteY111" fmla="*/ 1077292 h 1252696"/>
              <a:gd name="connsiteX112" fmla="*/ 2921490 w 5737264"/>
              <a:gd name="connsiteY112" fmla="*/ 1087079 h 1252696"/>
              <a:gd name="connsiteX113" fmla="*/ 2959303 w 5737264"/>
              <a:gd name="connsiteY113" fmla="*/ 1125415 h 1252696"/>
              <a:gd name="connsiteX114" fmla="*/ 2979399 w 5737264"/>
              <a:gd name="connsiteY114" fmla="*/ 1155560 h 1252696"/>
              <a:gd name="connsiteX115" fmla="*/ 2997900 w 5737264"/>
              <a:gd name="connsiteY115" fmla="*/ 1187825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5435 w 5737264"/>
              <a:gd name="connsiteY87" fmla="*/ 1100294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45055 w 5737264"/>
              <a:gd name="connsiteY110" fmla="*/ 1077554 h 1252696"/>
              <a:gd name="connsiteX111" fmla="*/ 2884463 w 5737264"/>
              <a:gd name="connsiteY111" fmla="*/ 1077292 h 1252696"/>
              <a:gd name="connsiteX112" fmla="*/ 2921490 w 5737264"/>
              <a:gd name="connsiteY112" fmla="*/ 1087079 h 1252696"/>
              <a:gd name="connsiteX113" fmla="*/ 2959303 w 5737264"/>
              <a:gd name="connsiteY113" fmla="*/ 1125415 h 1252696"/>
              <a:gd name="connsiteX114" fmla="*/ 2979399 w 5737264"/>
              <a:gd name="connsiteY114" fmla="*/ 1155560 h 1252696"/>
              <a:gd name="connsiteX115" fmla="*/ 2997900 w 5737264"/>
              <a:gd name="connsiteY115" fmla="*/ 1187825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70149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45055 w 5737264"/>
              <a:gd name="connsiteY110" fmla="*/ 1077554 h 1252696"/>
              <a:gd name="connsiteX111" fmla="*/ 2884463 w 5737264"/>
              <a:gd name="connsiteY111" fmla="*/ 1077292 h 1252696"/>
              <a:gd name="connsiteX112" fmla="*/ 2921490 w 5737264"/>
              <a:gd name="connsiteY112" fmla="*/ 1087079 h 1252696"/>
              <a:gd name="connsiteX113" fmla="*/ 2959303 w 5737264"/>
              <a:gd name="connsiteY113" fmla="*/ 1125415 h 1252696"/>
              <a:gd name="connsiteX114" fmla="*/ 2979399 w 5737264"/>
              <a:gd name="connsiteY114" fmla="*/ 1155560 h 1252696"/>
              <a:gd name="connsiteX115" fmla="*/ 2997900 w 5737264"/>
              <a:gd name="connsiteY115" fmla="*/ 1187825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48718 h 1252696"/>
              <a:gd name="connsiteX89" fmla="*/ 2230797 w 5737264"/>
              <a:gd name="connsiteY89" fmla="*/ 1040004 h 1252696"/>
              <a:gd name="connsiteX90" fmla="*/ 2245870 w 5737264"/>
              <a:gd name="connsiteY90" fmla="*/ 1034980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45055 w 5737264"/>
              <a:gd name="connsiteY110" fmla="*/ 1077554 h 1252696"/>
              <a:gd name="connsiteX111" fmla="*/ 2884463 w 5737264"/>
              <a:gd name="connsiteY111" fmla="*/ 1077292 h 1252696"/>
              <a:gd name="connsiteX112" fmla="*/ 2921490 w 5737264"/>
              <a:gd name="connsiteY112" fmla="*/ 1087079 h 1252696"/>
              <a:gd name="connsiteX113" fmla="*/ 2959303 w 5737264"/>
              <a:gd name="connsiteY113" fmla="*/ 1125415 h 1252696"/>
              <a:gd name="connsiteX114" fmla="*/ 2979399 w 5737264"/>
              <a:gd name="connsiteY114" fmla="*/ 1155560 h 1252696"/>
              <a:gd name="connsiteX115" fmla="*/ 2997900 w 5737264"/>
              <a:gd name="connsiteY115" fmla="*/ 1187825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48718 h 1252696"/>
              <a:gd name="connsiteX89" fmla="*/ 2230797 w 5737264"/>
              <a:gd name="connsiteY89" fmla="*/ 1040004 h 1252696"/>
              <a:gd name="connsiteX90" fmla="*/ 2233964 w 5737264"/>
              <a:gd name="connsiteY90" fmla="*/ 1018311 h 1252696"/>
              <a:gd name="connsiteX91" fmla="*/ 2270991 w 5737264"/>
              <a:gd name="connsiteY91" fmla="*/ 1019908 h 1252696"/>
              <a:gd name="connsiteX92" fmla="*/ 2301136 w 5737264"/>
              <a:gd name="connsiteY92" fmla="*/ 994787 h 1252696"/>
              <a:gd name="connsiteX93" fmla="*/ 2316208 w 5737264"/>
              <a:gd name="connsiteY93" fmla="*/ 989763 h 1252696"/>
              <a:gd name="connsiteX94" fmla="*/ 2396595 w 5737264"/>
              <a:gd name="connsiteY94" fmla="*/ 984738 h 1252696"/>
              <a:gd name="connsiteX95" fmla="*/ 2426740 w 5737264"/>
              <a:gd name="connsiteY95" fmla="*/ 989763 h 1252696"/>
              <a:gd name="connsiteX96" fmla="*/ 2461909 w 5737264"/>
              <a:gd name="connsiteY96" fmla="*/ 1024932 h 1252696"/>
              <a:gd name="connsiteX97" fmla="*/ 2476982 w 5737264"/>
              <a:gd name="connsiteY97" fmla="*/ 1029956 h 1252696"/>
              <a:gd name="connsiteX98" fmla="*/ 2487030 w 5737264"/>
              <a:gd name="connsiteY98" fmla="*/ 1045028 h 1252696"/>
              <a:gd name="connsiteX99" fmla="*/ 2497078 w 5737264"/>
              <a:gd name="connsiteY99" fmla="*/ 1055077 h 1252696"/>
              <a:gd name="connsiteX100" fmla="*/ 2532248 w 5737264"/>
              <a:gd name="connsiteY100" fmla="*/ 1095270 h 1252696"/>
              <a:gd name="connsiteX101" fmla="*/ 2567417 w 5737264"/>
              <a:gd name="connsiteY101" fmla="*/ 1135464 h 1252696"/>
              <a:gd name="connsiteX102" fmla="*/ 2582489 w 5737264"/>
              <a:gd name="connsiteY102" fmla="*/ 1145512 h 1252696"/>
              <a:gd name="connsiteX103" fmla="*/ 2622683 w 5737264"/>
              <a:gd name="connsiteY103" fmla="*/ 1170633 h 1252696"/>
              <a:gd name="connsiteX104" fmla="*/ 2657852 w 5737264"/>
              <a:gd name="connsiteY104" fmla="*/ 1160584 h 1252696"/>
              <a:gd name="connsiteX105" fmla="*/ 2682973 w 5737264"/>
              <a:gd name="connsiteY105" fmla="*/ 1145512 h 1252696"/>
              <a:gd name="connsiteX106" fmla="*/ 2713118 w 5737264"/>
              <a:gd name="connsiteY106" fmla="*/ 1130439 h 1252696"/>
              <a:gd name="connsiteX107" fmla="*/ 2728191 w 5737264"/>
              <a:gd name="connsiteY107" fmla="*/ 1120391 h 1252696"/>
              <a:gd name="connsiteX108" fmla="*/ 2748287 w 5737264"/>
              <a:gd name="connsiteY108" fmla="*/ 1115367 h 1252696"/>
              <a:gd name="connsiteX109" fmla="*/ 2778432 w 5737264"/>
              <a:gd name="connsiteY109" fmla="*/ 1105319 h 1252696"/>
              <a:gd name="connsiteX110" fmla="*/ 2845055 w 5737264"/>
              <a:gd name="connsiteY110" fmla="*/ 1077554 h 1252696"/>
              <a:gd name="connsiteX111" fmla="*/ 2884463 w 5737264"/>
              <a:gd name="connsiteY111" fmla="*/ 1077292 h 1252696"/>
              <a:gd name="connsiteX112" fmla="*/ 2921490 w 5737264"/>
              <a:gd name="connsiteY112" fmla="*/ 1087079 h 1252696"/>
              <a:gd name="connsiteX113" fmla="*/ 2959303 w 5737264"/>
              <a:gd name="connsiteY113" fmla="*/ 1125415 h 1252696"/>
              <a:gd name="connsiteX114" fmla="*/ 2979399 w 5737264"/>
              <a:gd name="connsiteY114" fmla="*/ 1155560 h 1252696"/>
              <a:gd name="connsiteX115" fmla="*/ 2997900 w 5737264"/>
              <a:gd name="connsiteY115" fmla="*/ 1187825 h 1252696"/>
              <a:gd name="connsiteX116" fmla="*/ 3038878 w 5737264"/>
              <a:gd name="connsiteY116" fmla="*/ 1222994 h 1252696"/>
              <a:gd name="connsiteX117" fmla="*/ 3076168 w 5737264"/>
              <a:gd name="connsiteY117" fmla="*/ 1252354 h 1252696"/>
              <a:gd name="connsiteX118" fmla="*/ 3130125 w 5737264"/>
              <a:gd name="connsiteY118" fmla="*/ 1240971 h 1252696"/>
              <a:gd name="connsiteX119" fmla="*/ 3177985 w 5737264"/>
              <a:gd name="connsiteY119" fmla="*/ 1207372 h 1252696"/>
              <a:gd name="connsiteX120" fmla="*/ 3229535 w 5737264"/>
              <a:gd name="connsiteY120" fmla="*/ 1178561 h 1252696"/>
              <a:gd name="connsiteX121" fmla="*/ 3281634 w 5737264"/>
              <a:gd name="connsiteY121" fmla="*/ 1153440 h 1252696"/>
              <a:gd name="connsiteX122" fmla="*/ 3310995 w 5737264"/>
              <a:gd name="connsiteY122" fmla="*/ 1145512 h 1252696"/>
              <a:gd name="connsiteX123" fmla="*/ 3351188 w 5737264"/>
              <a:gd name="connsiteY123" fmla="*/ 1140488 h 1252696"/>
              <a:gd name="connsiteX124" fmla="*/ 3406454 w 5737264"/>
              <a:gd name="connsiteY124" fmla="*/ 1155560 h 1252696"/>
              <a:gd name="connsiteX125" fmla="*/ 3426551 w 5737264"/>
              <a:gd name="connsiteY125" fmla="*/ 1165609 h 1252696"/>
              <a:gd name="connsiteX126" fmla="*/ 3441624 w 5737264"/>
              <a:gd name="connsiteY126" fmla="*/ 1175657 h 1252696"/>
              <a:gd name="connsiteX127" fmla="*/ 3456696 w 5737264"/>
              <a:gd name="connsiteY127" fmla="*/ 1180681 h 1252696"/>
              <a:gd name="connsiteX128" fmla="*/ 3466744 w 5737264"/>
              <a:gd name="connsiteY128" fmla="*/ 1195754 h 1252696"/>
              <a:gd name="connsiteX129" fmla="*/ 3527035 w 5737264"/>
              <a:gd name="connsiteY129" fmla="*/ 1200778 h 1252696"/>
              <a:gd name="connsiteX130" fmla="*/ 3542107 w 5737264"/>
              <a:gd name="connsiteY130" fmla="*/ 1190730 h 1252696"/>
              <a:gd name="connsiteX131" fmla="*/ 3567228 w 5737264"/>
              <a:gd name="connsiteY131" fmla="*/ 1180681 h 1252696"/>
              <a:gd name="connsiteX132" fmla="*/ 3587325 w 5737264"/>
              <a:gd name="connsiteY132" fmla="*/ 1150536 h 1252696"/>
              <a:gd name="connsiteX133" fmla="*/ 3617470 w 5737264"/>
              <a:gd name="connsiteY133" fmla="*/ 1125415 h 1252696"/>
              <a:gd name="connsiteX134" fmla="*/ 3632542 w 5737264"/>
              <a:gd name="connsiteY134" fmla="*/ 1105319 h 1252696"/>
              <a:gd name="connsiteX135" fmla="*/ 3662687 w 5737264"/>
              <a:gd name="connsiteY135" fmla="*/ 1085222 h 1252696"/>
              <a:gd name="connsiteX136" fmla="*/ 3697856 w 5737264"/>
              <a:gd name="connsiteY136" fmla="*/ 1070149 h 1252696"/>
              <a:gd name="connsiteX137" fmla="*/ 3707905 w 5737264"/>
              <a:gd name="connsiteY137" fmla="*/ 1060101 h 1252696"/>
              <a:gd name="connsiteX138" fmla="*/ 3743074 w 5737264"/>
              <a:gd name="connsiteY138" fmla="*/ 1047148 h 1252696"/>
              <a:gd name="connsiteX139" fmla="*/ 3799125 w 5737264"/>
              <a:gd name="connsiteY139" fmla="*/ 1043982 h 1252696"/>
              <a:gd name="connsiteX140" fmla="*/ 3859651 w 5737264"/>
              <a:gd name="connsiteY140" fmla="*/ 1072033 h 1252696"/>
              <a:gd name="connsiteX141" fmla="*/ 3902226 w 5737264"/>
              <a:gd name="connsiteY141" fmla="*/ 1101367 h 1252696"/>
              <a:gd name="connsiteX142" fmla="*/ 3958041 w 5737264"/>
              <a:gd name="connsiteY142" fmla="*/ 1142346 h 1252696"/>
              <a:gd name="connsiteX143" fmla="*/ 4019404 w 5737264"/>
              <a:gd name="connsiteY143" fmla="*/ 1165609 h 1252696"/>
              <a:gd name="connsiteX144" fmla="*/ 4064621 w 5737264"/>
              <a:gd name="connsiteY144" fmla="*/ 1150536 h 1252696"/>
              <a:gd name="connsiteX145" fmla="*/ 4079694 w 5737264"/>
              <a:gd name="connsiteY145" fmla="*/ 1125415 h 1252696"/>
              <a:gd name="connsiteX146" fmla="*/ 4099791 w 5737264"/>
              <a:gd name="connsiteY146" fmla="*/ 1105319 h 1252696"/>
              <a:gd name="connsiteX147" fmla="*/ 4129936 w 5737264"/>
              <a:gd name="connsiteY147" fmla="*/ 1075173 h 1252696"/>
              <a:gd name="connsiteX148" fmla="*/ 4150032 w 5737264"/>
              <a:gd name="connsiteY148" fmla="*/ 1040004 h 1252696"/>
              <a:gd name="connsiteX149" fmla="*/ 4160081 w 5737264"/>
              <a:gd name="connsiteY149" fmla="*/ 1019908 h 1252696"/>
              <a:gd name="connsiteX150" fmla="*/ 4165105 w 5737264"/>
              <a:gd name="connsiteY150" fmla="*/ 1004835 h 1252696"/>
              <a:gd name="connsiteX151" fmla="*/ 4185202 w 5737264"/>
              <a:gd name="connsiteY151" fmla="*/ 984738 h 1252696"/>
              <a:gd name="connsiteX152" fmla="*/ 4200274 w 5737264"/>
              <a:gd name="connsiteY152" fmla="*/ 979714 h 1252696"/>
              <a:gd name="connsiteX153" fmla="*/ 4235443 w 5737264"/>
              <a:gd name="connsiteY153" fmla="*/ 954593 h 1252696"/>
              <a:gd name="connsiteX154" fmla="*/ 4275637 w 5737264"/>
              <a:gd name="connsiteY154" fmla="*/ 934497 h 1252696"/>
              <a:gd name="connsiteX155" fmla="*/ 4310806 w 5737264"/>
              <a:gd name="connsiteY155" fmla="*/ 914400 h 1252696"/>
              <a:gd name="connsiteX156" fmla="*/ 4325878 w 5737264"/>
              <a:gd name="connsiteY156" fmla="*/ 904352 h 1252696"/>
              <a:gd name="connsiteX157" fmla="*/ 4362094 w 5737264"/>
              <a:gd name="connsiteY157" fmla="*/ 909114 h 1252696"/>
              <a:gd name="connsiteX158" fmla="*/ 4417099 w 5737264"/>
              <a:gd name="connsiteY158" fmla="*/ 946141 h 1252696"/>
              <a:gd name="connsiteX159" fmla="*/ 4462316 w 5737264"/>
              <a:gd name="connsiteY159" fmla="*/ 1006955 h 1252696"/>
              <a:gd name="connsiteX160" fmla="*/ 4531320 w 5737264"/>
              <a:gd name="connsiteY160" fmla="*/ 1037650 h 1252696"/>
              <a:gd name="connsiteX161" fmla="*/ 4597184 w 5737264"/>
              <a:gd name="connsiteY161" fmla="*/ 969666 h 1252696"/>
              <a:gd name="connsiteX162" fmla="*/ 4617281 w 5737264"/>
              <a:gd name="connsiteY162" fmla="*/ 959617 h 1252696"/>
              <a:gd name="connsiteX163" fmla="*/ 4632353 w 5737264"/>
              <a:gd name="connsiteY163" fmla="*/ 944545 h 1252696"/>
              <a:gd name="connsiteX164" fmla="*/ 4652450 w 5737264"/>
              <a:gd name="connsiteY164" fmla="*/ 934497 h 1252696"/>
              <a:gd name="connsiteX165" fmla="*/ 4672547 w 5737264"/>
              <a:gd name="connsiteY165" fmla="*/ 919424 h 1252696"/>
              <a:gd name="connsiteX166" fmla="*/ 4737861 w 5737264"/>
              <a:gd name="connsiteY166" fmla="*/ 884255 h 1252696"/>
              <a:gd name="connsiteX167" fmla="*/ 4762982 w 5737264"/>
              <a:gd name="connsiteY167" fmla="*/ 879231 h 1252696"/>
              <a:gd name="connsiteX168" fmla="*/ 4778054 w 5737264"/>
              <a:gd name="connsiteY168" fmla="*/ 874206 h 1252696"/>
              <a:gd name="connsiteX169" fmla="*/ 4819294 w 5737264"/>
              <a:gd name="connsiteY169" fmla="*/ 873944 h 1252696"/>
              <a:gd name="connsiteX170" fmla="*/ 4877465 w 5737264"/>
              <a:gd name="connsiteY170" fmla="*/ 895638 h 1252696"/>
              <a:gd name="connsiteX171" fmla="*/ 4935347 w 5737264"/>
              <a:gd name="connsiteY171" fmla="*/ 934523 h 1252696"/>
              <a:gd name="connsiteX172" fmla="*/ 4995402 w 5737264"/>
              <a:gd name="connsiteY172" fmla="*/ 1006746 h 1252696"/>
              <a:gd name="connsiteX173" fmla="*/ 5024762 w 5737264"/>
              <a:gd name="connsiteY173" fmla="*/ 1051963 h 1252696"/>
              <a:gd name="connsiteX174" fmla="*/ 5092223 w 5737264"/>
              <a:gd name="connsiteY174" fmla="*/ 1016506 h 1252696"/>
              <a:gd name="connsiteX175" fmla="*/ 5144322 w 5737264"/>
              <a:gd name="connsiteY175" fmla="*/ 948261 h 1252696"/>
              <a:gd name="connsiteX176" fmla="*/ 5189252 w 5737264"/>
              <a:gd name="connsiteY176" fmla="*/ 886112 h 1252696"/>
              <a:gd name="connsiteX177" fmla="*/ 5226279 w 5737264"/>
              <a:gd name="connsiteY177" fmla="*/ 856230 h 1252696"/>
              <a:gd name="connsiteX178" fmla="*/ 5260637 w 5737264"/>
              <a:gd name="connsiteY178" fmla="*/ 822918 h 1252696"/>
              <a:gd name="connsiteX179" fmla="*/ 5295282 w 5737264"/>
              <a:gd name="connsiteY179" fmla="*/ 800440 h 1252696"/>
              <a:gd name="connsiteX180" fmla="*/ 5334430 w 5737264"/>
              <a:gd name="connsiteY180" fmla="*/ 794893 h 1252696"/>
              <a:gd name="connsiteX181" fmla="*/ 5412174 w 5737264"/>
              <a:gd name="connsiteY181" fmla="*/ 824252 h 1252696"/>
              <a:gd name="connsiteX182" fmla="*/ 5431197 w 5737264"/>
              <a:gd name="connsiteY182" fmla="*/ 768699 h 1252696"/>
              <a:gd name="connsiteX183" fmla="*/ 5441246 w 5737264"/>
              <a:gd name="connsiteY183" fmla="*/ 753626 h 1252696"/>
              <a:gd name="connsiteX184" fmla="*/ 5456318 w 5737264"/>
              <a:gd name="connsiteY184" fmla="*/ 708409 h 1252696"/>
              <a:gd name="connsiteX185" fmla="*/ 5466366 w 5737264"/>
              <a:gd name="connsiteY185" fmla="*/ 683288 h 1252696"/>
              <a:gd name="connsiteX186" fmla="*/ 5476415 w 5737264"/>
              <a:gd name="connsiteY186" fmla="*/ 643094 h 1252696"/>
              <a:gd name="connsiteX187" fmla="*/ 5491487 w 5737264"/>
              <a:gd name="connsiteY187" fmla="*/ 617973 h 1252696"/>
              <a:gd name="connsiteX188" fmla="*/ 5506560 w 5737264"/>
              <a:gd name="connsiteY188" fmla="*/ 572756 h 1252696"/>
              <a:gd name="connsiteX189" fmla="*/ 5526656 w 5737264"/>
              <a:gd name="connsiteY189" fmla="*/ 522514 h 1252696"/>
              <a:gd name="connsiteX190" fmla="*/ 5546753 w 5737264"/>
              <a:gd name="connsiteY190" fmla="*/ 467248 h 1252696"/>
              <a:gd name="connsiteX191" fmla="*/ 5556802 w 5737264"/>
              <a:gd name="connsiteY191" fmla="*/ 411982 h 1252696"/>
              <a:gd name="connsiteX192" fmla="*/ 5566850 w 5737264"/>
              <a:gd name="connsiteY192" fmla="*/ 381837 h 1252696"/>
              <a:gd name="connsiteX193" fmla="*/ 5576898 w 5737264"/>
              <a:gd name="connsiteY193" fmla="*/ 356716 h 1252696"/>
              <a:gd name="connsiteX194" fmla="*/ 5596995 w 5737264"/>
              <a:gd name="connsiteY194" fmla="*/ 316523 h 1252696"/>
              <a:gd name="connsiteX195" fmla="*/ 5617092 w 5737264"/>
              <a:gd name="connsiteY195" fmla="*/ 246184 h 1252696"/>
              <a:gd name="connsiteX196" fmla="*/ 5622116 w 5737264"/>
              <a:gd name="connsiteY196" fmla="*/ 226088 h 1252696"/>
              <a:gd name="connsiteX197" fmla="*/ 5632164 w 5737264"/>
              <a:gd name="connsiteY197" fmla="*/ 216039 h 1252696"/>
              <a:gd name="connsiteX198" fmla="*/ 5637188 w 5737264"/>
              <a:gd name="connsiteY198" fmla="*/ 200967 h 1252696"/>
              <a:gd name="connsiteX199" fmla="*/ 5651738 w 5737264"/>
              <a:gd name="connsiteY199" fmla="*/ 190395 h 1252696"/>
              <a:gd name="connsiteX200" fmla="*/ 5673692 w 5737264"/>
              <a:gd name="connsiteY200" fmla="*/ 153892 h 1252696"/>
              <a:gd name="connsiteX201" fmla="*/ 5726602 w 5737264"/>
              <a:gd name="connsiteY201" fmla="*/ 89362 h 1252696"/>
              <a:gd name="connsiteX202" fmla="*/ 5728722 w 5737264"/>
              <a:gd name="connsiteY202" fmla="*/ 42287 h 1252696"/>
              <a:gd name="connsiteX203" fmla="*/ 5634284 w 5737264"/>
              <a:gd name="connsiteY203" fmla="*/ 25357 h 1252696"/>
              <a:gd name="connsiteX204" fmla="*/ 5536940 w 5737264"/>
              <a:gd name="connsiteY204" fmla="*/ 27214 h 1252696"/>
              <a:gd name="connsiteX205" fmla="*/ 5470369 w 5737264"/>
              <a:gd name="connsiteY205" fmla="*/ 39381 h 1252696"/>
              <a:gd name="connsiteX206" fmla="*/ 5379124 w 5737264"/>
              <a:gd name="connsiteY206" fmla="*/ 39644 h 1252696"/>
              <a:gd name="connsiteX207" fmla="*/ 5309282 w 5737264"/>
              <a:gd name="connsiteY207" fmla="*/ 42287 h 1252696"/>
              <a:gd name="connsiteX208" fmla="*/ 5238682 w 5737264"/>
              <a:gd name="connsiteY208" fmla="*/ 54455 h 1252696"/>
              <a:gd name="connsiteX209" fmla="*/ 5108892 w 5737264"/>
              <a:gd name="connsiteY209" fmla="*/ 37524 h 1252696"/>
              <a:gd name="connsiteX210" fmla="*/ 5020026 w 5737264"/>
              <a:gd name="connsiteY210" fmla="*/ 39120 h 1252696"/>
              <a:gd name="connsiteX211" fmla="*/ 4946233 w 5737264"/>
              <a:gd name="connsiteY211" fmla="*/ 41240 h 1252696"/>
              <a:gd name="connsiteX212" fmla="*/ 4823272 w 5737264"/>
              <a:gd name="connsiteY212" fmla="*/ 50242 h 1252696"/>
              <a:gd name="connsiteX213" fmla="*/ 4727577 w 5737264"/>
              <a:gd name="connsiteY213" fmla="*/ 29073 h 1252696"/>
              <a:gd name="connsiteX214" fmla="*/ 4628376 w 5737264"/>
              <a:gd name="connsiteY214" fmla="*/ 41240 h 1252696"/>
              <a:gd name="connsiteX215" fmla="*/ 4565180 w 5737264"/>
              <a:gd name="connsiteY215" fmla="*/ 46264 h 1252696"/>
              <a:gd name="connsiteX216" fmla="*/ 4417596 w 5737264"/>
              <a:gd name="connsiteY216" fmla="*/ 44406 h 1252696"/>
              <a:gd name="connsiteX217" fmla="*/ 4139984 w 5737264"/>
              <a:gd name="connsiteY217" fmla="*/ 60290 h 1252696"/>
              <a:gd name="connsiteX218" fmla="*/ 3918920 w 5737264"/>
              <a:gd name="connsiteY218" fmla="*/ 50242 h 1252696"/>
              <a:gd name="connsiteX219" fmla="*/ 3873703 w 5737264"/>
              <a:gd name="connsiteY219" fmla="*/ 45217 h 1252696"/>
              <a:gd name="connsiteX220" fmla="*/ 3687808 w 5737264"/>
              <a:gd name="connsiteY220" fmla="*/ 40193 h 1252696"/>
              <a:gd name="connsiteX221" fmla="*/ 3662687 w 5737264"/>
              <a:gd name="connsiteY221" fmla="*/ 35169 h 1252696"/>
              <a:gd name="connsiteX222" fmla="*/ 3627518 w 5737264"/>
              <a:gd name="connsiteY222" fmla="*/ 25121 h 1252696"/>
              <a:gd name="connsiteX223" fmla="*/ 3547131 w 5737264"/>
              <a:gd name="connsiteY223" fmla="*/ 20097 h 1252696"/>
              <a:gd name="connsiteX224" fmla="*/ 3310995 w 5737264"/>
              <a:gd name="connsiteY224" fmla="*/ 25121 h 1252696"/>
              <a:gd name="connsiteX225" fmla="*/ 3265777 w 5737264"/>
              <a:gd name="connsiteY225" fmla="*/ 30145 h 1252696"/>
              <a:gd name="connsiteX226" fmla="*/ 3175342 w 5737264"/>
              <a:gd name="connsiteY226" fmla="*/ 35169 h 1252696"/>
              <a:gd name="connsiteX227" fmla="*/ 2582489 w 5737264"/>
              <a:gd name="connsiteY227" fmla="*/ 45217 h 1252696"/>
              <a:gd name="connsiteX228" fmla="*/ 2255918 w 5737264"/>
              <a:gd name="connsiteY228" fmla="*/ 40193 h 1252696"/>
              <a:gd name="connsiteX229" fmla="*/ 1974564 w 5737264"/>
              <a:gd name="connsiteY229" fmla="*/ 30145 h 1252696"/>
              <a:gd name="connsiteX230" fmla="*/ 1944419 w 5737264"/>
              <a:gd name="connsiteY230" fmla="*/ 25121 h 1252696"/>
              <a:gd name="connsiteX231" fmla="*/ 1848960 w 5737264"/>
              <a:gd name="connsiteY231" fmla="*/ 20097 h 1252696"/>
              <a:gd name="connsiteX232" fmla="*/ 1768573 w 5737264"/>
              <a:gd name="connsiteY232" fmla="*/ 10048 h 1252696"/>
              <a:gd name="connsiteX233" fmla="*/ 1502292 w 5737264"/>
              <a:gd name="connsiteY233" fmla="*/ 20097 h 1252696"/>
              <a:gd name="connsiteX234" fmla="*/ 1467122 w 5737264"/>
              <a:gd name="connsiteY234" fmla="*/ 25121 h 1252696"/>
              <a:gd name="connsiteX235" fmla="*/ 1426929 w 5737264"/>
              <a:gd name="connsiteY235" fmla="*/ 30145 h 1252696"/>
              <a:gd name="connsiteX236" fmla="*/ 1341518 w 5737264"/>
              <a:gd name="connsiteY236" fmla="*/ 45217 h 1252696"/>
              <a:gd name="connsiteX237" fmla="*/ 1095333 w 5737264"/>
              <a:gd name="connsiteY237" fmla="*/ 35169 h 1252696"/>
              <a:gd name="connsiteX238" fmla="*/ 979777 w 5737264"/>
              <a:gd name="connsiteY238" fmla="*/ 20097 h 1252696"/>
              <a:gd name="connsiteX239" fmla="*/ 939584 w 5737264"/>
              <a:gd name="connsiteY239" fmla="*/ 10048 h 1252696"/>
              <a:gd name="connsiteX240" fmla="*/ 813980 w 5737264"/>
              <a:gd name="connsiteY240" fmla="*/ 0 h 1252696"/>
              <a:gd name="connsiteX241" fmla="*/ 743641 w 5737264"/>
              <a:gd name="connsiteY241" fmla="*/ 5024 h 1252696"/>
              <a:gd name="connsiteX242" fmla="*/ 582867 w 5737264"/>
              <a:gd name="connsiteY242" fmla="*/ 15072 h 1252696"/>
              <a:gd name="connsiteX243" fmla="*/ 432142 w 5737264"/>
              <a:gd name="connsiteY243" fmla="*/ 5024 h 1252696"/>
              <a:gd name="connsiteX244" fmla="*/ 412046 w 5737264"/>
              <a:gd name="connsiteY244" fmla="*/ 0 h 1252696"/>
              <a:gd name="connsiteX245" fmla="*/ 281417 w 5737264"/>
              <a:gd name="connsiteY245" fmla="*/ 10048 h 1252696"/>
              <a:gd name="connsiteX246" fmla="*/ 261320 w 5737264"/>
              <a:gd name="connsiteY246" fmla="*/ 15072 h 1252696"/>
              <a:gd name="connsiteX247" fmla="*/ 100547 w 5737264"/>
              <a:gd name="connsiteY247" fmla="*/ 20097 h 1252696"/>
              <a:gd name="connsiteX248" fmla="*/ 5087 w 5737264"/>
              <a:gd name="connsiteY248"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48718 h 1252696"/>
              <a:gd name="connsiteX89" fmla="*/ 2233964 w 5737264"/>
              <a:gd name="connsiteY89" fmla="*/ 1018311 h 1252696"/>
              <a:gd name="connsiteX90" fmla="*/ 2270991 w 5737264"/>
              <a:gd name="connsiteY90" fmla="*/ 1019908 h 1252696"/>
              <a:gd name="connsiteX91" fmla="*/ 2301136 w 5737264"/>
              <a:gd name="connsiteY91" fmla="*/ 994787 h 1252696"/>
              <a:gd name="connsiteX92" fmla="*/ 2316208 w 5737264"/>
              <a:gd name="connsiteY92" fmla="*/ 989763 h 1252696"/>
              <a:gd name="connsiteX93" fmla="*/ 2396595 w 5737264"/>
              <a:gd name="connsiteY93" fmla="*/ 984738 h 1252696"/>
              <a:gd name="connsiteX94" fmla="*/ 2426740 w 5737264"/>
              <a:gd name="connsiteY94" fmla="*/ 989763 h 1252696"/>
              <a:gd name="connsiteX95" fmla="*/ 2461909 w 5737264"/>
              <a:gd name="connsiteY95" fmla="*/ 1024932 h 1252696"/>
              <a:gd name="connsiteX96" fmla="*/ 2476982 w 5737264"/>
              <a:gd name="connsiteY96" fmla="*/ 1029956 h 1252696"/>
              <a:gd name="connsiteX97" fmla="*/ 2487030 w 5737264"/>
              <a:gd name="connsiteY97" fmla="*/ 1045028 h 1252696"/>
              <a:gd name="connsiteX98" fmla="*/ 2497078 w 5737264"/>
              <a:gd name="connsiteY98" fmla="*/ 1055077 h 1252696"/>
              <a:gd name="connsiteX99" fmla="*/ 2532248 w 5737264"/>
              <a:gd name="connsiteY99" fmla="*/ 1095270 h 1252696"/>
              <a:gd name="connsiteX100" fmla="*/ 2567417 w 5737264"/>
              <a:gd name="connsiteY100" fmla="*/ 1135464 h 1252696"/>
              <a:gd name="connsiteX101" fmla="*/ 2582489 w 5737264"/>
              <a:gd name="connsiteY101" fmla="*/ 1145512 h 1252696"/>
              <a:gd name="connsiteX102" fmla="*/ 2622683 w 5737264"/>
              <a:gd name="connsiteY102" fmla="*/ 1170633 h 1252696"/>
              <a:gd name="connsiteX103" fmla="*/ 2657852 w 5737264"/>
              <a:gd name="connsiteY103" fmla="*/ 1160584 h 1252696"/>
              <a:gd name="connsiteX104" fmla="*/ 2682973 w 5737264"/>
              <a:gd name="connsiteY104" fmla="*/ 1145512 h 1252696"/>
              <a:gd name="connsiteX105" fmla="*/ 2713118 w 5737264"/>
              <a:gd name="connsiteY105" fmla="*/ 1130439 h 1252696"/>
              <a:gd name="connsiteX106" fmla="*/ 2728191 w 5737264"/>
              <a:gd name="connsiteY106" fmla="*/ 1120391 h 1252696"/>
              <a:gd name="connsiteX107" fmla="*/ 2748287 w 5737264"/>
              <a:gd name="connsiteY107" fmla="*/ 1115367 h 1252696"/>
              <a:gd name="connsiteX108" fmla="*/ 2778432 w 5737264"/>
              <a:gd name="connsiteY108" fmla="*/ 1105319 h 1252696"/>
              <a:gd name="connsiteX109" fmla="*/ 2845055 w 5737264"/>
              <a:gd name="connsiteY109" fmla="*/ 1077554 h 1252696"/>
              <a:gd name="connsiteX110" fmla="*/ 2884463 w 5737264"/>
              <a:gd name="connsiteY110" fmla="*/ 1077292 h 1252696"/>
              <a:gd name="connsiteX111" fmla="*/ 2921490 w 5737264"/>
              <a:gd name="connsiteY111" fmla="*/ 1087079 h 1252696"/>
              <a:gd name="connsiteX112" fmla="*/ 2959303 w 5737264"/>
              <a:gd name="connsiteY112" fmla="*/ 1125415 h 1252696"/>
              <a:gd name="connsiteX113" fmla="*/ 2979399 w 5737264"/>
              <a:gd name="connsiteY113" fmla="*/ 1155560 h 1252696"/>
              <a:gd name="connsiteX114" fmla="*/ 2997900 w 5737264"/>
              <a:gd name="connsiteY114" fmla="*/ 1187825 h 1252696"/>
              <a:gd name="connsiteX115" fmla="*/ 3038878 w 5737264"/>
              <a:gd name="connsiteY115" fmla="*/ 1222994 h 1252696"/>
              <a:gd name="connsiteX116" fmla="*/ 3076168 w 5737264"/>
              <a:gd name="connsiteY116" fmla="*/ 1252354 h 1252696"/>
              <a:gd name="connsiteX117" fmla="*/ 3130125 w 5737264"/>
              <a:gd name="connsiteY117" fmla="*/ 1240971 h 1252696"/>
              <a:gd name="connsiteX118" fmla="*/ 3177985 w 5737264"/>
              <a:gd name="connsiteY118" fmla="*/ 1207372 h 1252696"/>
              <a:gd name="connsiteX119" fmla="*/ 3229535 w 5737264"/>
              <a:gd name="connsiteY119" fmla="*/ 1178561 h 1252696"/>
              <a:gd name="connsiteX120" fmla="*/ 3281634 w 5737264"/>
              <a:gd name="connsiteY120" fmla="*/ 1153440 h 1252696"/>
              <a:gd name="connsiteX121" fmla="*/ 3310995 w 5737264"/>
              <a:gd name="connsiteY121" fmla="*/ 1145512 h 1252696"/>
              <a:gd name="connsiteX122" fmla="*/ 3351188 w 5737264"/>
              <a:gd name="connsiteY122" fmla="*/ 1140488 h 1252696"/>
              <a:gd name="connsiteX123" fmla="*/ 3406454 w 5737264"/>
              <a:gd name="connsiteY123" fmla="*/ 1155560 h 1252696"/>
              <a:gd name="connsiteX124" fmla="*/ 3426551 w 5737264"/>
              <a:gd name="connsiteY124" fmla="*/ 1165609 h 1252696"/>
              <a:gd name="connsiteX125" fmla="*/ 3441624 w 5737264"/>
              <a:gd name="connsiteY125" fmla="*/ 1175657 h 1252696"/>
              <a:gd name="connsiteX126" fmla="*/ 3456696 w 5737264"/>
              <a:gd name="connsiteY126" fmla="*/ 1180681 h 1252696"/>
              <a:gd name="connsiteX127" fmla="*/ 3466744 w 5737264"/>
              <a:gd name="connsiteY127" fmla="*/ 1195754 h 1252696"/>
              <a:gd name="connsiteX128" fmla="*/ 3527035 w 5737264"/>
              <a:gd name="connsiteY128" fmla="*/ 1200778 h 1252696"/>
              <a:gd name="connsiteX129" fmla="*/ 3542107 w 5737264"/>
              <a:gd name="connsiteY129" fmla="*/ 1190730 h 1252696"/>
              <a:gd name="connsiteX130" fmla="*/ 3567228 w 5737264"/>
              <a:gd name="connsiteY130" fmla="*/ 1180681 h 1252696"/>
              <a:gd name="connsiteX131" fmla="*/ 3587325 w 5737264"/>
              <a:gd name="connsiteY131" fmla="*/ 1150536 h 1252696"/>
              <a:gd name="connsiteX132" fmla="*/ 3617470 w 5737264"/>
              <a:gd name="connsiteY132" fmla="*/ 1125415 h 1252696"/>
              <a:gd name="connsiteX133" fmla="*/ 3632542 w 5737264"/>
              <a:gd name="connsiteY133" fmla="*/ 1105319 h 1252696"/>
              <a:gd name="connsiteX134" fmla="*/ 3662687 w 5737264"/>
              <a:gd name="connsiteY134" fmla="*/ 1085222 h 1252696"/>
              <a:gd name="connsiteX135" fmla="*/ 3697856 w 5737264"/>
              <a:gd name="connsiteY135" fmla="*/ 1070149 h 1252696"/>
              <a:gd name="connsiteX136" fmla="*/ 3707905 w 5737264"/>
              <a:gd name="connsiteY136" fmla="*/ 1060101 h 1252696"/>
              <a:gd name="connsiteX137" fmla="*/ 3743074 w 5737264"/>
              <a:gd name="connsiteY137" fmla="*/ 1047148 h 1252696"/>
              <a:gd name="connsiteX138" fmla="*/ 3799125 w 5737264"/>
              <a:gd name="connsiteY138" fmla="*/ 1043982 h 1252696"/>
              <a:gd name="connsiteX139" fmla="*/ 3859651 w 5737264"/>
              <a:gd name="connsiteY139" fmla="*/ 1072033 h 1252696"/>
              <a:gd name="connsiteX140" fmla="*/ 3902226 w 5737264"/>
              <a:gd name="connsiteY140" fmla="*/ 1101367 h 1252696"/>
              <a:gd name="connsiteX141" fmla="*/ 3958041 w 5737264"/>
              <a:gd name="connsiteY141" fmla="*/ 1142346 h 1252696"/>
              <a:gd name="connsiteX142" fmla="*/ 4019404 w 5737264"/>
              <a:gd name="connsiteY142" fmla="*/ 1165609 h 1252696"/>
              <a:gd name="connsiteX143" fmla="*/ 4064621 w 5737264"/>
              <a:gd name="connsiteY143" fmla="*/ 1150536 h 1252696"/>
              <a:gd name="connsiteX144" fmla="*/ 4079694 w 5737264"/>
              <a:gd name="connsiteY144" fmla="*/ 1125415 h 1252696"/>
              <a:gd name="connsiteX145" fmla="*/ 4099791 w 5737264"/>
              <a:gd name="connsiteY145" fmla="*/ 1105319 h 1252696"/>
              <a:gd name="connsiteX146" fmla="*/ 4129936 w 5737264"/>
              <a:gd name="connsiteY146" fmla="*/ 1075173 h 1252696"/>
              <a:gd name="connsiteX147" fmla="*/ 4150032 w 5737264"/>
              <a:gd name="connsiteY147" fmla="*/ 1040004 h 1252696"/>
              <a:gd name="connsiteX148" fmla="*/ 4160081 w 5737264"/>
              <a:gd name="connsiteY148" fmla="*/ 1019908 h 1252696"/>
              <a:gd name="connsiteX149" fmla="*/ 4165105 w 5737264"/>
              <a:gd name="connsiteY149" fmla="*/ 1004835 h 1252696"/>
              <a:gd name="connsiteX150" fmla="*/ 4185202 w 5737264"/>
              <a:gd name="connsiteY150" fmla="*/ 984738 h 1252696"/>
              <a:gd name="connsiteX151" fmla="*/ 4200274 w 5737264"/>
              <a:gd name="connsiteY151" fmla="*/ 979714 h 1252696"/>
              <a:gd name="connsiteX152" fmla="*/ 4235443 w 5737264"/>
              <a:gd name="connsiteY152" fmla="*/ 954593 h 1252696"/>
              <a:gd name="connsiteX153" fmla="*/ 4275637 w 5737264"/>
              <a:gd name="connsiteY153" fmla="*/ 934497 h 1252696"/>
              <a:gd name="connsiteX154" fmla="*/ 4310806 w 5737264"/>
              <a:gd name="connsiteY154" fmla="*/ 914400 h 1252696"/>
              <a:gd name="connsiteX155" fmla="*/ 4325878 w 5737264"/>
              <a:gd name="connsiteY155" fmla="*/ 904352 h 1252696"/>
              <a:gd name="connsiteX156" fmla="*/ 4362094 w 5737264"/>
              <a:gd name="connsiteY156" fmla="*/ 909114 h 1252696"/>
              <a:gd name="connsiteX157" fmla="*/ 4417099 w 5737264"/>
              <a:gd name="connsiteY157" fmla="*/ 946141 h 1252696"/>
              <a:gd name="connsiteX158" fmla="*/ 4462316 w 5737264"/>
              <a:gd name="connsiteY158" fmla="*/ 1006955 h 1252696"/>
              <a:gd name="connsiteX159" fmla="*/ 4531320 w 5737264"/>
              <a:gd name="connsiteY159" fmla="*/ 1037650 h 1252696"/>
              <a:gd name="connsiteX160" fmla="*/ 4597184 w 5737264"/>
              <a:gd name="connsiteY160" fmla="*/ 969666 h 1252696"/>
              <a:gd name="connsiteX161" fmla="*/ 4617281 w 5737264"/>
              <a:gd name="connsiteY161" fmla="*/ 959617 h 1252696"/>
              <a:gd name="connsiteX162" fmla="*/ 4632353 w 5737264"/>
              <a:gd name="connsiteY162" fmla="*/ 944545 h 1252696"/>
              <a:gd name="connsiteX163" fmla="*/ 4652450 w 5737264"/>
              <a:gd name="connsiteY163" fmla="*/ 934497 h 1252696"/>
              <a:gd name="connsiteX164" fmla="*/ 4672547 w 5737264"/>
              <a:gd name="connsiteY164" fmla="*/ 919424 h 1252696"/>
              <a:gd name="connsiteX165" fmla="*/ 4737861 w 5737264"/>
              <a:gd name="connsiteY165" fmla="*/ 884255 h 1252696"/>
              <a:gd name="connsiteX166" fmla="*/ 4762982 w 5737264"/>
              <a:gd name="connsiteY166" fmla="*/ 879231 h 1252696"/>
              <a:gd name="connsiteX167" fmla="*/ 4778054 w 5737264"/>
              <a:gd name="connsiteY167" fmla="*/ 874206 h 1252696"/>
              <a:gd name="connsiteX168" fmla="*/ 4819294 w 5737264"/>
              <a:gd name="connsiteY168" fmla="*/ 873944 h 1252696"/>
              <a:gd name="connsiteX169" fmla="*/ 4877465 w 5737264"/>
              <a:gd name="connsiteY169" fmla="*/ 895638 h 1252696"/>
              <a:gd name="connsiteX170" fmla="*/ 4935347 w 5737264"/>
              <a:gd name="connsiteY170" fmla="*/ 934523 h 1252696"/>
              <a:gd name="connsiteX171" fmla="*/ 4995402 w 5737264"/>
              <a:gd name="connsiteY171" fmla="*/ 1006746 h 1252696"/>
              <a:gd name="connsiteX172" fmla="*/ 5024762 w 5737264"/>
              <a:gd name="connsiteY172" fmla="*/ 1051963 h 1252696"/>
              <a:gd name="connsiteX173" fmla="*/ 5092223 w 5737264"/>
              <a:gd name="connsiteY173" fmla="*/ 1016506 h 1252696"/>
              <a:gd name="connsiteX174" fmla="*/ 5144322 w 5737264"/>
              <a:gd name="connsiteY174" fmla="*/ 948261 h 1252696"/>
              <a:gd name="connsiteX175" fmla="*/ 5189252 w 5737264"/>
              <a:gd name="connsiteY175" fmla="*/ 886112 h 1252696"/>
              <a:gd name="connsiteX176" fmla="*/ 5226279 w 5737264"/>
              <a:gd name="connsiteY176" fmla="*/ 856230 h 1252696"/>
              <a:gd name="connsiteX177" fmla="*/ 5260637 w 5737264"/>
              <a:gd name="connsiteY177" fmla="*/ 822918 h 1252696"/>
              <a:gd name="connsiteX178" fmla="*/ 5295282 w 5737264"/>
              <a:gd name="connsiteY178" fmla="*/ 800440 h 1252696"/>
              <a:gd name="connsiteX179" fmla="*/ 5334430 w 5737264"/>
              <a:gd name="connsiteY179" fmla="*/ 794893 h 1252696"/>
              <a:gd name="connsiteX180" fmla="*/ 5412174 w 5737264"/>
              <a:gd name="connsiteY180" fmla="*/ 824252 h 1252696"/>
              <a:gd name="connsiteX181" fmla="*/ 5431197 w 5737264"/>
              <a:gd name="connsiteY181" fmla="*/ 768699 h 1252696"/>
              <a:gd name="connsiteX182" fmla="*/ 5441246 w 5737264"/>
              <a:gd name="connsiteY182" fmla="*/ 753626 h 1252696"/>
              <a:gd name="connsiteX183" fmla="*/ 5456318 w 5737264"/>
              <a:gd name="connsiteY183" fmla="*/ 708409 h 1252696"/>
              <a:gd name="connsiteX184" fmla="*/ 5466366 w 5737264"/>
              <a:gd name="connsiteY184" fmla="*/ 683288 h 1252696"/>
              <a:gd name="connsiteX185" fmla="*/ 5476415 w 5737264"/>
              <a:gd name="connsiteY185" fmla="*/ 643094 h 1252696"/>
              <a:gd name="connsiteX186" fmla="*/ 5491487 w 5737264"/>
              <a:gd name="connsiteY186" fmla="*/ 617973 h 1252696"/>
              <a:gd name="connsiteX187" fmla="*/ 5506560 w 5737264"/>
              <a:gd name="connsiteY187" fmla="*/ 572756 h 1252696"/>
              <a:gd name="connsiteX188" fmla="*/ 5526656 w 5737264"/>
              <a:gd name="connsiteY188" fmla="*/ 522514 h 1252696"/>
              <a:gd name="connsiteX189" fmla="*/ 5546753 w 5737264"/>
              <a:gd name="connsiteY189" fmla="*/ 467248 h 1252696"/>
              <a:gd name="connsiteX190" fmla="*/ 5556802 w 5737264"/>
              <a:gd name="connsiteY190" fmla="*/ 411982 h 1252696"/>
              <a:gd name="connsiteX191" fmla="*/ 5566850 w 5737264"/>
              <a:gd name="connsiteY191" fmla="*/ 381837 h 1252696"/>
              <a:gd name="connsiteX192" fmla="*/ 5576898 w 5737264"/>
              <a:gd name="connsiteY192" fmla="*/ 356716 h 1252696"/>
              <a:gd name="connsiteX193" fmla="*/ 5596995 w 5737264"/>
              <a:gd name="connsiteY193" fmla="*/ 316523 h 1252696"/>
              <a:gd name="connsiteX194" fmla="*/ 5617092 w 5737264"/>
              <a:gd name="connsiteY194" fmla="*/ 246184 h 1252696"/>
              <a:gd name="connsiteX195" fmla="*/ 5622116 w 5737264"/>
              <a:gd name="connsiteY195" fmla="*/ 226088 h 1252696"/>
              <a:gd name="connsiteX196" fmla="*/ 5632164 w 5737264"/>
              <a:gd name="connsiteY196" fmla="*/ 216039 h 1252696"/>
              <a:gd name="connsiteX197" fmla="*/ 5637188 w 5737264"/>
              <a:gd name="connsiteY197" fmla="*/ 200967 h 1252696"/>
              <a:gd name="connsiteX198" fmla="*/ 5651738 w 5737264"/>
              <a:gd name="connsiteY198" fmla="*/ 190395 h 1252696"/>
              <a:gd name="connsiteX199" fmla="*/ 5673692 w 5737264"/>
              <a:gd name="connsiteY199" fmla="*/ 153892 h 1252696"/>
              <a:gd name="connsiteX200" fmla="*/ 5726602 w 5737264"/>
              <a:gd name="connsiteY200" fmla="*/ 89362 h 1252696"/>
              <a:gd name="connsiteX201" fmla="*/ 5728722 w 5737264"/>
              <a:gd name="connsiteY201" fmla="*/ 42287 h 1252696"/>
              <a:gd name="connsiteX202" fmla="*/ 5634284 w 5737264"/>
              <a:gd name="connsiteY202" fmla="*/ 25357 h 1252696"/>
              <a:gd name="connsiteX203" fmla="*/ 5536940 w 5737264"/>
              <a:gd name="connsiteY203" fmla="*/ 27214 h 1252696"/>
              <a:gd name="connsiteX204" fmla="*/ 5470369 w 5737264"/>
              <a:gd name="connsiteY204" fmla="*/ 39381 h 1252696"/>
              <a:gd name="connsiteX205" fmla="*/ 5379124 w 5737264"/>
              <a:gd name="connsiteY205" fmla="*/ 39644 h 1252696"/>
              <a:gd name="connsiteX206" fmla="*/ 5309282 w 5737264"/>
              <a:gd name="connsiteY206" fmla="*/ 42287 h 1252696"/>
              <a:gd name="connsiteX207" fmla="*/ 5238682 w 5737264"/>
              <a:gd name="connsiteY207" fmla="*/ 54455 h 1252696"/>
              <a:gd name="connsiteX208" fmla="*/ 5108892 w 5737264"/>
              <a:gd name="connsiteY208" fmla="*/ 37524 h 1252696"/>
              <a:gd name="connsiteX209" fmla="*/ 5020026 w 5737264"/>
              <a:gd name="connsiteY209" fmla="*/ 39120 h 1252696"/>
              <a:gd name="connsiteX210" fmla="*/ 4946233 w 5737264"/>
              <a:gd name="connsiteY210" fmla="*/ 41240 h 1252696"/>
              <a:gd name="connsiteX211" fmla="*/ 4823272 w 5737264"/>
              <a:gd name="connsiteY211" fmla="*/ 50242 h 1252696"/>
              <a:gd name="connsiteX212" fmla="*/ 4727577 w 5737264"/>
              <a:gd name="connsiteY212" fmla="*/ 29073 h 1252696"/>
              <a:gd name="connsiteX213" fmla="*/ 4628376 w 5737264"/>
              <a:gd name="connsiteY213" fmla="*/ 41240 h 1252696"/>
              <a:gd name="connsiteX214" fmla="*/ 4565180 w 5737264"/>
              <a:gd name="connsiteY214" fmla="*/ 46264 h 1252696"/>
              <a:gd name="connsiteX215" fmla="*/ 4417596 w 5737264"/>
              <a:gd name="connsiteY215" fmla="*/ 44406 h 1252696"/>
              <a:gd name="connsiteX216" fmla="*/ 4139984 w 5737264"/>
              <a:gd name="connsiteY216" fmla="*/ 60290 h 1252696"/>
              <a:gd name="connsiteX217" fmla="*/ 3918920 w 5737264"/>
              <a:gd name="connsiteY217" fmla="*/ 50242 h 1252696"/>
              <a:gd name="connsiteX218" fmla="*/ 3873703 w 5737264"/>
              <a:gd name="connsiteY218" fmla="*/ 45217 h 1252696"/>
              <a:gd name="connsiteX219" fmla="*/ 3687808 w 5737264"/>
              <a:gd name="connsiteY219" fmla="*/ 40193 h 1252696"/>
              <a:gd name="connsiteX220" fmla="*/ 3662687 w 5737264"/>
              <a:gd name="connsiteY220" fmla="*/ 35169 h 1252696"/>
              <a:gd name="connsiteX221" fmla="*/ 3627518 w 5737264"/>
              <a:gd name="connsiteY221" fmla="*/ 25121 h 1252696"/>
              <a:gd name="connsiteX222" fmla="*/ 3547131 w 5737264"/>
              <a:gd name="connsiteY222" fmla="*/ 20097 h 1252696"/>
              <a:gd name="connsiteX223" fmla="*/ 3310995 w 5737264"/>
              <a:gd name="connsiteY223" fmla="*/ 25121 h 1252696"/>
              <a:gd name="connsiteX224" fmla="*/ 3265777 w 5737264"/>
              <a:gd name="connsiteY224" fmla="*/ 30145 h 1252696"/>
              <a:gd name="connsiteX225" fmla="*/ 3175342 w 5737264"/>
              <a:gd name="connsiteY225" fmla="*/ 35169 h 1252696"/>
              <a:gd name="connsiteX226" fmla="*/ 2582489 w 5737264"/>
              <a:gd name="connsiteY226" fmla="*/ 45217 h 1252696"/>
              <a:gd name="connsiteX227" fmla="*/ 2255918 w 5737264"/>
              <a:gd name="connsiteY227" fmla="*/ 40193 h 1252696"/>
              <a:gd name="connsiteX228" fmla="*/ 1974564 w 5737264"/>
              <a:gd name="connsiteY228" fmla="*/ 30145 h 1252696"/>
              <a:gd name="connsiteX229" fmla="*/ 1944419 w 5737264"/>
              <a:gd name="connsiteY229" fmla="*/ 25121 h 1252696"/>
              <a:gd name="connsiteX230" fmla="*/ 1848960 w 5737264"/>
              <a:gd name="connsiteY230" fmla="*/ 20097 h 1252696"/>
              <a:gd name="connsiteX231" fmla="*/ 1768573 w 5737264"/>
              <a:gd name="connsiteY231" fmla="*/ 10048 h 1252696"/>
              <a:gd name="connsiteX232" fmla="*/ 1502292 w 5737264"/>
              <a:gd name="connsiteY232" fmla="*/ 20097 h 1252696"/>
              <a:gd name="connsiteX233" fmla="*/ 1467122 w 5737264"/>
              <a:gd name="connsiteY233" fmla="*/ 25121 h 1252696"/>
              <a:gd name="connsiteX234" fmla="*/ 1426929 w 5737264"/>
              <a:gd name="connsiteY234" fmla="*/ 30145 h 1252696"/>
              <a:gd name="connsiteX235" fmla="*/ 1341518 w 5737264"/>
              <a:gd name="connsiteY235" fmla="*/ 45217 h 1252696"/>
              <a:gd name="connsiteX236" fmla="*/ 1095333 w 5737264"/>
              <a:gd name="connsiteY236" fmla="*/ 35169 h 1252696"/>
              <a:gd name="connsiteX237" fmla="*/ 979777 w 5737264"/>
              <a:gd name="connsiteY237" fmla="*/ 20097 h 1252696"/>
              <a:gd name="connsiteX238" fmla="*/ 939584 w 5737264"/>
              <a:gd name="connsiteY238" fmla="*/ 10048 h 1252696"/>
              <a:gd name="connsiteX239" fmla="*/ 813980 w 5737264"/>
              <a:gd name="connsiteY239" fmla="*/ 0 h 1252696"/>
              <a:gd name="connsiteX240" fmla="*/ 743641 w 5737264"/>
              <a:gd name="connsiteY240" fmla="*/ 5024 h 1252696"/>
              <a:gd name="connsiteX241" fmla="*/ 582867 w 5737264"/>
              <a:gd name="connsiteY241" fmla="*/ 15072 h 1252696"/>
              <a:gd name="connsiteX242" fmla="*/ 432142 w 5737264"/>
              <a:gd name="connsiteY242" fmla="*/ 5024 h 1252696"/>
              <a:gd name="connsiteX243" fmla="*/ 412046 w 5737264"/>
              <a:gd name="connsiteY243" fmla="*/ 0 h 1252696"/>
              <a:gd name="connsiteX244" fmla="*/ 281417 w 5737264"/>
              <a:gd name="connsiteY244" fmla="*/ 10048 h 1252696"/>
              <a:gd name="connsiteX245" fmla="*/ 261320 w 5737264"/>
              <a:gd name="connsiteY245" fmla="*/ 15072 h 1252696"/>
              <a:gd name="connsiteX246" fmla="*/ 100547 w 5737264"/>
              <a:gd name="connsiteY246" fmla="*/ 20097 h 1252696"/>
              <a:gd name="connsiteX247" fmla="*/ 5087 w 5737264"/>
              <a:gd name="connsiteY247"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48718 h 1252696"/>
              <a:gd name="connsiteX89" fmla="*/ 2233964 w 5737264"/>
              <a:gd name="connsiteY89" fmla="*/ 1018311 h 1252696"/>
              <a:gd name="connsiteX90" fmla="*/ 2301136 w 5737264"/>
              <a:gd name="connsiteY90" fmla="*/ 994787 h 1252696"/>
              <a:gd name="connsiteX91" fmla="*/ 2316208 w 5737264"/>
              <a:gd name="connsiteY91" fmla="*/ 989763 h 1252696"/>
              <a:gd name="connsiteX92" fmla="*/ 2396595 w 5737264"/>
              <a:gd name="connsiteY92" fmla="*/ 984738 h 1252696"/>
              <a:gd name="connsiteX93" fmla="*/ 2426740 w 5737264"/>
              <a:gd name="connsiteY93" fmla="*/ 989763 h 1252696"/>
              <a:gd name="connsiteX94" fmla="*/ 2461909 w 5737264"/>
              <a:gd name="connsiteY94" fmla="*/ 1024932 h 1252696"/>
              <a:gd name="connsiteX95" fmla="*/ 2476982 w 5737264"/>
              <a:gd name="connsiteY95" fmla="*/ 1029956 h 1252696"/>
              <a:gd name="connsiteX96" fmla="*/ 2487030 w 5737264"/>
              <a:gd name="connsiteY96" fmla="*/ 1045028 h 1252696"/>
              <a:gd name="connsiteX97" fmla="*/ 2497078 w 5737264"/>
              <a:gd name="connsiteY97" fmla="*/ 1055077 h 1252696"/>
              <a:gd name="connsiteX98" fmla="*/ 2532248 w 5737264"/>
              <a:gd name="connsiteY98" fmla="*/ 1095270 h 1252696"/>
              <a:gd name="connsiteX99" fmla="*/ 2567417 w 5737264"/>
              <a:gd name="connsiteY99" fmla="*/ 1135464 h 1252696"/>
              <a:gd name="connsiteX100" fmla="*/ 2582489 w 5737264"/>
              <a:gd name="connsiteY100" fmla="*/ 1145512 h 1252696"/>
              <a:gd name="connsiteX101" fmla="*/ 2622683 w 5737264"/>
              <a:gd name="connsiteY101" fmla="*/ 1170633 h 1252696"/>
              <a:gd name="connsiteX102" fmla="*/ 2657852 w 5737264"/>
              <a:gd name="connsiteY102" fmla="*/ 1160584 h 1252696"/>
              <a:gd name="connsiteX103" fmla="*/ 2682973 w 5737264"/>
              <a:gd name="connsiteY103" fmla="*/ 1145512 h 1252696"/>
              <a:gd name="connsiteX104" fmla="*/ 2713118 w 5737264"/>
              <a:gd name="connsiteY104" fmla="*/ 1130439 h 1252696"/>
              <a:gd name="connsiteX105" fmla="*/ 2728191 w 5737264"/>
              <a:gd name="connsiteY105" fmla="*/ 1120391 h 1252696"/>
              <a:gd name="connsiteX106" fmla="*/ 2748287 w 5737264"/>
              <a:gd name="connsiteY106" fmla="*/ 1115367 h 1252696"/>
              <a:gd name="connsiteX107" fmla="*/ 2778432 w 5737264"/>
              <a:gd name="connsiteY107" fmla="*/ 1105319 h 1252696"/>
              <a:gd name="connsiteX108" fmla="*/ 2845055 w 5737264"/>
              <a:gd name="connsiteY108" fmla="*/ 1077554 h 1252696"/>
              <a:gd name="connsiteX109" fmla="*/ 2884463 w 5737264"/>
              <a:gd name="connsiteY109" fmla="*/ 1077292 h 1252696"/>
              <a:gd name="connsiteX110" fmla="*/ 2921490 w 5737264"/>
              <a:gd name="connsiteY110" fmla="*/ 1087079 h 1252696"/>
              <a:gd name="connsiteX111" fmla="*/ 2959303 w 5737264"/>
              <a:gd name="connsiteY111" fmla="*/ 1125415 h 1252696"/>
              <a:gd name="connsiteX112" fmla="*/ 2979399 w 5737264"/>
              <a:gd name="connsiteY112" fmla="*/ 1155560 h 1252696"/>
              <a:gd name="connsiteX113" fmla="*/ 2997900 w 5737264"/>
              <a:gd name="connsiteY113" fmla="*/ 1187825 h 1252696"/>
              <a:gd name="connsiteX114" fmla="*/ 3038878 w 5737264"/>
              <a:gd name="connsiteY114" fmla="*/ 1222994 h 1252696"/>
              <a:gd name="connsiteX115" fmla="*/ 3076168 w 5737264"/>
              <a:gd name="connsiteY115" fmla="*/ 1252354 h 1252696"/>
              <a:gd name="connsiteX116" fmla="*/ 3130125 w 5737264"/>
              <a:gd name="connsiteY116" fmla="*/ 1240971 h 1252696"/>
              <a:gd name="connsiteX117" fmla="*/ 3177985 w 5737264"/>
              <a:gd name="connsiteY117" fmla="*/ 1207372 h 1252696"/>
              <a:gd name="connsiteX118" fmla="*/ 3229535 w 5737264"/>
              <a:gd name="connsiteY118" fmla="*/ 1178561 h 1252696"/>
              <a:gd name="connsiteX119" fmla="*/ 3281634 w 5737264"/>
              <a:gd name="connsiteY119" fmla="*/ 1153440 h 1252696"/>
              <a:gd name="connsiteX120" fmla="*/ 3310995 w 5737264"/>
              <a:gd name="connsiteY120" fmla="*/ 1145512 h 1252696"/>
              <a:gd name="connsiteX121" fmla="*/ 3351188 w 5737264"/>
              <a:gd name="connsiteY121" fmla="*/ 1140488 h 1252696"/>
              <a:gd name="connsiteX122" fmla="*/ 3406454 w 5737264"/>
              <a:gd name="connsiteY122" fmla="*/ 1155560 h 1252696"/>
              <a:gd name="connsiteX123" fmla="*/ 3426551 w 5737264"/>
              <a:gd name="connsiteY123" fmla="*/ 1165609 h 1252696"/>
              <a:gd name="connsiteX124" fmla="*/ 3441624 w 5737264"/>
              <a:gd name="connsiteY124" fmla="*/ 1175657 h 1252696"/>
              <a:gd name="connsiteX125" fmla="*/ 3456696 w 5737264"/>
              <a:gd name="connsiteY125" fmla="*/ 1180681 h 1252696"/>
              <a:gd name="connsiteX126" fmla="*/ 3466744 w 5737264"/>
              <a:gd name="connsiteY126" fmla="*/ 1195754 h 1252696"/>
              <a:gd name="connsiteX127" fmla="*/ 3527035 w 5737264"/>
              <a:gd name="connsiteY127" fmla="*/ 1200778 h 1252696"/>
              <a:gd name="connsiteX128" fmla="*/ 3542107 w 5737264"/>
              <a:gd name="connsiteY128" fmla="*/ 1190730 h 1252696"/>
              <a:gd name="connsiteX129" fmla="*/ 3567228 w 5737264"/>
              <a:gd name="connsiteY129" fmla="*/ 1180681 h 1252696"/>
              <a:gd name="connsiteX130" fmla="*/ 3587325 w 5737264"/>
              <a:gd name="connsiteY130" fmla="*/ 1150536 h 1252696"/>
              <a:gd name="connsiteX131" fmla="*/ 3617470 w 5737264"/>
              <a:gd name="connsiteY131" fmla="*/ 1125415 h 1252696"/>
              <a:gd name="connsiteX132" fmla="*/ 3632542 w 5737264"/>
              <a:gd name="connsiteY132" fmla="*/ 1105319 h 1252696"/>
              <a:gd name="connsiteX133" fmla="*/ 3662687 w 5737264"/>
              <a:gd name="connsiteY133" fmla="*/ 1085222 h 1252696"/>
              <a:gd name="connsiteX134" fmla="*/ 3697856 w 5737264"/>
              <a:gd name="connsiteY134" fmla="*/ 1070149 h 1252696"/>
              <a:gd name="connsiteX135" fmla="*/ 3707905 w 5737264"/>
              <a:gd name="connsiteY135" fmla="*/ 1060101 h 1252696"/>
              <a:gd name="connsiteX136" fmla="*/ 3743074 w 5737264"/>
              <a:gd name="connsiteY136" fmla="*/ 1047148 h 1252696"/>
              <a:gd name="connsiteX137" fmla="*/ 3799125 w 5737264"/>
              <a:gd name="connsiteY137" fmla="*/ 1043982 h 1252696"/>
              <a:gd name="connsiteX138" fmla="*/ 3859651 w 5737264"/>
              <a:gd name="connsiteY138" fmla="*/ 1072033 h 1252696"/>
              <a:gd name="connsiteX139" fmla="*/ 3902226 w 5737264"/>
              <a:gd name="connsiteY139" fmla="*/ 1101367 h 1252696"/>
              <a:gd name="connsiteX140" fmla="*/ 3958041 w 5737264"/>
              <a:gd name="connsiteY140" fmla="*/ 1142346 h 1252696"/>
              <a:gd name="connsiteX141" fmla="*/ 4019404 w 5737264"/>
              <a:gd name="connsiteY141" fmla="*/ 1165609 h 1252696"/>
              <a:gd name="connsiteX142" fmla="*/ 4064621 w 5737264"/>
              <a:gd name="connsiteY142" fmla="*/ 1150536 h 1252696"/>
              <a:gd name="connsiteX143" fmla="*/ 4079694 w 5737264"/>
              <a:gd name="connsiteY143" fmla="*/ 1125415 h 1252696"/>
              <a:gd name="connsiteX144" fmla="*/ 4099791 w 5737264"/>
              <a:gd name="connsiteY144" fmla="*/ 1105319 h 1252696"/>
              <a:gd name="connsiteX145" fmla="*/ 4129936 w 5737264"/>
              <a:gd name="connsiteY145" fmla="*/ 1075173 h 1252696"/>
              <a:gd name="connsiteX146" fmla="*/ 4150032 w 5737264"/>
              <a:gd name="connsiteY146" fmla="*/ 1040004 h 1252696"/>
              <a:gd name="connsiteX147" fmla="*/ 4160081 w 5737264"/>
              <a:gd name="connsiteY147" fmla="*/ 1019908 h 1252696"/>
              <a:gd name="connsiteX148" fmla="*/ 4165105 w 5737264"/>
              <a:gd name="connsiteY148" fmla="*/ 1004835 h 1252696"/>
              <a:gd name="connsiteX149" fmla="*/ 4185202 w 5737264"/>
              <a:gd name="connsiteY149" fmla="*/ 984738 h 1252696"/>
              <a:gd name="connsiteX150" fmla="*/ 4200274 w 5737264"/>
              <a:gd name="connsiteY150" fmla="*/ 979714 h 1252696"/>
              <a:gd name="connsiteX151" fmla="*/ 4235443 w 5737264"/>
              <a:gd name="connsiteY151" fmla="*/ 954593 h 1252696"/>
              <a:gd name="connsiteX152" fmla="*/ 4275637 w 5737264"/>
              <a:gd name="connsiteY152" fmla="*/ 934497 h 1252696"/>
              <a:gd name="connsiteX153" fmla="*/ 4310806 w 5737264"/>
              <a:gd name="connsiteY153" fmla="*/ 914400 h 1252696"/>
              <a:gd name="connsiteX154" fmla="*/ 4325878 w 5737264"/>
              <a:gd name="connsiteY154" fmla="*/ 904352 h 1252696"/>
              <a:gd name="connsiteX155" fmla="*/ 4362094 w 5737264"/>
              <a:gd name="connsiteY155" fmla="*/ 909114 h 1252696"/>
              <a:gd name="connsiteX156" fmla="*/ 4417099 w 5737264"/>
              <a:gd name="connsiteY156" fmla="*/ 946141 h 1252696"/>
              <a:gd name="connsiteX157" fmla="*/ 4462316 w 5737264"/>
              <a:gd name="connsiteY157" fmla="*/ 1006955 h 1252696"/>
              <a:gd name="connsiteX158" fmla="*/ 4531320 w 5737264"/>
              <a:gd name="connsiteY158" fmla="*/ 1037650 h 1252696"/>
              <a:gd name="connsiteX159" fmla="*/ 4597184 w 5737264"/>
              <a:gd name="connsiteY159" fmla="*/ 969666 h 1252696"/>
              <a:gd name="connsiteX160" fmla="*/ 4617281 w 5737264"/>
              <a:gd name="connsiteY160" fmla="*/ 959617 h 1252696"/>
              <a:gd name="connsiteX161" fmla="*/ 4632353 w 5737264"/>
              <a:gd name="connsiteY161" fmla="*/ 944545 h 1252696"/>
              <a:gd name="connsiteX162" fmla="*/ 4652450 w 5737264"/>
              <a:gd name="connsiteY162" fmla="*/ 934497 h 1252696"/>
              <a:gd name="connsiteX163" fmla="*/ 4672547 w 5737264"/>
              <a:gd name="connsiteY163" fmla="*/ 919424 h 1252696"/>
              <a:gd name="connsiteX164" fmla="*/ 4737861 w 5737264"/>
              <a:gd name="connsiteY164" fmla="*/ 884255 h 1252696"/>
              <a:gd name="connsiteX165" fmla="*/ 4762982 w 5737264"/>
              <a:gd name="connsiteY165" fmla="*/ 879231 h 1252696"/>
              <a:gd name="connsiteX166" fmla="*/ 4778054 w 5737264"/>
              <a:gd name="connsiteY166" fmla="*/ 874206 h 1252696"/>
              <a:gd name="connsiteX167" fmla="*/ 4819294 w 5737264"/>
              <a:gd name="connsiteY167" fmla="*/ 873944 h 1252696"/>
              <a:gd name="connsiteX168" fmla="*/ 4877465 w 5737264"/>
              <a:gd name="connsiteY168" fmla="*/ 895638 h 1252696"/>
              <a:gd name="connsiteX169" fmla="*/ 4935347 w 5737264"/>
              <a:gd name="connsiteY169" fmla="*/ 934523 h 1252696"/>
              <a:gd name="connsiteX170" fmla="*/ 4995402 w 5737264"/>
              <a:gd name="connsiteY170" fmla="*/ 1006746 h 1252696"/>
              <a:gd name="connsiteX171" fmla="*/ 5024762 w 5737264"/>
              <a:gd name="connsiteY171" fmla="*/ 1051963 h 1252696"/>
              <a:gd name="connsiteX172" fmla="*/ 5092223 w 5737264"/>
              <a:gd name="connsiteY172" fmla="*/ 1016506 h 1252696"/>
              <a:gd name="connsiteX173" fmla="*/ 5144322 w 5737264"/>
              <a:gd name="connsiteY173" fmla="*/ 948261 h 1252696"/>
              <a:gd name="connsiteX174" fmla="*/ 5189252 w 5737264"/>
              <a:gd name="connsiteY174" fmla="*/ 886112 h 1252696"/>
              <a:gd name="connsiteX175" fmla="*/ 5226279 w 5737264"/>
              <a:gd name="connsiteY175" fmla="*/ 856230 h 1252696"/>
              <a:gd name="connsiteX176" fmla="*/ 5260637 w 5737264"/>
              <a:gd name="connsiteY176" fmla="*/ 822918 h 1252696"/>
              <a:gd name="connsiteX177" fmla="*/ 5295282 w 5737264"/>
              <a:gd name="connsiteY177" fmla="*/ 800440 h 1252696"/>
              <a:gd name="connsiteX178" fmla="*/ 5334430 w 5737264"/>
              <a:gd name="connsiteY178" fmla="*/ 794893 h 1252696"/>
              <a:gd name="connsiteX179" fmla="*/ 5412174 w 5737264"/>
              <a:gd name="connsiteY179" fmla="*/ 824252 h 1252696"/>
              <a:gd name="connsiteX180" fmla="*/ 5431197 w 5737264"/>
              <a:gd name="connsiteY180" fmla="*/ 768699 h 1252696"/>
              <a:gd name="connsiteX181" fmla="*/ 5441246 w 5737264"/>
              <a:gd name="connsiteY181" fmla="*/ 753626 h 1252696"/>
              <a:gd name="connsiteX182" fmla="*/ 5456318 w 5737264"/>
              <a:gd name="connsiteY182" fmla="*/ 708409 h 1252696"/>
              <a:gd name="connsiteX183" fmla="*/ 5466366 w 5737264"/>
              <a:gd name="connsiteY183" fmla="*/ 683288 h 1252696"/>
              <a:gd name="connsiteX184" fmla="*/ 5476415 w 5737264"/>
              <a:gd name="connsiteY184" fmla="*/ 643094 h 1252696"/>
              <a:gd name="connsiteX185" fmla="*/ 5491487 w 5737264"/>
              <a:gd name="connsiteY185" fmla="*/ 617973 h 1252696"/>
              <a:gd name="connsiteX186" fmla="*/ 5506560 w 5737264"/>
              <a:gd name="connsiteY186" fmla="*/ 572756 h 1252696"/>
              <a:gd name="connsiteX187" fmla="*/ 5526656 w 5737264"/>
              <a:gd name="connsiteY187" fmla="*/ 522514 h 1252696"/>
              <a:gd name="connsiteX188" fmla="*/ 5546753 w 5737264"/>
              <a:gd name="connsiteY188" fmla="*/ 467248 h 1252696"/>
              <a:gd name="connsiteX189" fmla="*/ 5556802 w 5737264"/>
              <a:gd name="connsiteY189" fmla="*/ 411982 h 1252696"/>
              <a:gd name="connsiteX190" fmla="*/ 5566850 w 5737264"/>
              <a:gd name="connsiteY190" fmla="*/ 381837 h 1252696"/>
              <a:gd name="connsiteX191" fmla="*/ 5576898 w 5737264"/>
              <a:gd name="connsiteY191" fmla="*/ 356716 h 1252696"/>
              <a:gd name="connsiteX192" fmla="*/ 5596995 w 5737264"/>
              <a:gd name="connsiteY192" fmla="*/ 316523 h 1252696"/>
              <a:gd name="connsiteX193" fmla="*/ 5617092 w 5737264"/>
              <a:gd name="connsiteY193" fmla="*/ 246184 h 1252696"/>
              <a:gd name="connsiteX194" fmla="*/ 5622116 w 5737264"/>
              <a:gd name="connsiteY194" fmla="*/ 226088 h 1252696"/>
              <a:gd name="connsiteX195" fmla="*/ 5632164 w 5737264"/>
              <a:gd name="connsiteY195" fmla="*/ 216039 h 1252696"/>
              <a:gd name="connsiteX196" fmla="*/ 5637188 w 5737264"/>
              <a:gd name="connsiteY196" fmla="*/ 200967 h 1252696"/>
              <a:gd name="connsiteX197" fmla="*/ 5651738 w 5737264"/>
              <a:gd name="connsiteY197" fmla="*/ 190395 h 1252696"/>
              <a:gd name="connsiteX198" fmla="*/ 5673692 w 5737264"/>
              <a:gd name="connsiteY198" fmla="*/ 153892 h 1252696"/>
              <a:gd name="connsiteX199" fmla="*/ 5726602 w 5737264"/>
              <a:gd name="connsiteY199" fmla="*/ 89362 h 1252696"/>
              <a:gd name="connsiteX200" fmla="*/ 5728722 w 5737264"/>
              <a:gd name="connsiteY200" fmla="*/ 42287 h 1252696"/>
              <a:gd name="connsiteX201" fmla="*/ 5634284 w 5737264"/>
              <a:gd name="connsiteY201" fmla="*/ 25357 h 1252696"/>
              <a:gd name="connsiteX202" fmla="*/ 5536940 w 5737264"/>
              <a:gd name="connsiteY202" fmla="*/ 27214 h 1252696"/>
              <a:gd name="connsiteX203" fmla="*/ 5470369 w 5737264"/>
              <a:gd name="connsiteY203" fmla="*/ 39381 h 1252696"/>
              <a:gd name="connsiteX204" fmla="*/ 5379124 w 5737264"/>
              <a:gd name="connsiteY204" fmla="*/ 39644 h 1252696"/>
              <a:gd name="connsiteX205" fmla="*/ 5309282 w 5737264"/>
              <a:gd name="connsiteY205" fmla="*/ 42287 h 1252696"/>
              <a:gd name="connsiteX206" fmla="*/ 5238682 w 5737264"/>
              <a:gd name="connsiteY206" fmla="*/ 54455 h 1252696"/>
              <a:gd name="connsiteX207" fmla="*/ 5108892 w 5737264"/>
              <a:gd name="connsiteY207" fmla="*/ 37524 h 1252696"/>
              <a:gd name="connsiteX208" fmla="*/ 5020026 w 5737264"/>
              <a:gd name="connsiteY208" fmla="*/ 39120 h 1252696"/>
              <a:gd name="connsiteX209" fmla="*/ 4946233 w 5737264"/>
              <a:gd name="connsiteY209" fmla="*/ 41240 h 1252696"/>
              <a:gd name="connsiteX210" fmla="*/ 4823272 w 5737264"/>
              <a:gd name="connsiteY210" fmla="*/ 50242 h 1252696"/>
              <a:gd name="connsiteX211" fmla="*/ 4727577 w 5737264"/>
              <a:gd name="connsiteY211" fmla="*/ 29073 h 1252696"/>
              <a:gd name="connsiteX212" fmla="*/ 4628376 w 5737264"/>
              <a:gd name="connsiteY212" fmla="*/ 41240 h 1252696"/>
              <a:gd name="connsiteX213" fmla="*/ 4565180 w 5737264"/>
              <a:gd name="connsiteY213" fmla="*/ 46264 h 1252696"/>
              <a:gd name="connsiteX214" fmla="*/ 4417596 w 5737264"/>
              <a:gd name="connsiteY214" fmla="*/ 44406 h 1252696"/>
              <a:gd name="connsiteX215" fmla="*/ 4139984 w 5737264"/>
              <a:gd name="connsiteY215" fmla="*/ 60290 h 1252696"/>
              <a:gd name="connsiteX216" fmla="*/ 3918920 w 5737264"/>
              <a:gd name="connsiteY216" fmla="*/ 50242 h 1252696"/>
              <a:gd name="connsiteX217" fmla="*/ 3873703 w 5737264"/>
              <a:gd name="connsiteY217" fmla="*/ 45217 h 1252696"/>
              <a:gd name="connsiteX218" fmla="*/ 3687808 w 5737264"/>
              <a:gd name="connsiteY218" fmla="*/ 40193 h 1252696"/>
              <a:gd name="connsiteX219" fmla="*/ 3662687 w 5737264"/>
              <a:gd name="connsiteY219" fmla="*/ 35169 h 1252696"/>
              <a:gd name="connsiteX220" fmla="*/ 3627518 w 5737264"/>
              <a:gd name="connsiteY220" fmla="*/ 25121 h 1252696"/>
              <a:gd name="connsiteX221" fmla="*/ 3547131 w 5737264"/>
              <a:gd name="connsiteY221" fmla="*/ 20097 h 1252696"/>
              <a:gd name="connsiteX222" fmla="*/ 3310995 w 5737264"/>
              <a:gd name="connsiteY222" fmla="*/ 25121 h 1252696"/>
              <a:gd name="connsiteX223" fmla="*/ 3265777 w 5737264"/>
              <a:gd name="connsiteY223" fmla="*/ 30145 h 1252696"/>
              <a:gd name="connsiteX224" fmla="*/ 3175342 w 5737264"/>
              <a:gd name="connsiteY224" fmla="*/ 35169 h 1252696"/>
              <a:gd name="connsiteX225" fmla="*/ 2582489 w 5737264"/>
              <a:gd name="connsiteY225" fmla="*/ 45217 h 1252696"/>
              <a:gd name="connsiteX226" fmla="*/ 2255918 w 5737264"/>
              <a:gd name="connsiteY226" fmla="*/ 40193 h 1252696"/>
              <a:gd name="connsiteX227" fmla="*/ 1974564 w 5737264"/>
              <a:gd name="connsiteY227" fmla="*/ 30145 h 1252696"/>
              <a:gd name="connsiteX228" fmla="*/ 1944419 w 5737264"/>
              <a:gd name="connsiteY228" fmla="*/ 25121 h 1252696"/>
              <a:gd name="connsiteX229" fmla="*/ 1848960 w 5737264"/>
              <a:gd name="connsiteY229" fmla="*/ 20097 h 1252696"/>
              <a:gd name="connsiteX230" fmla="*/ 1768573 w 5737264"/>
              <a:gd name="connsiteY230" fmla="*/ 10048 h 1252696"/>
              <a:gd name="connsiteX231" fmla="*/ 1502292 w 5737264"/>
              <a:gd name="connsiteY231" fmla="*/ 20097 h 1252696"/>
              <a:gd name="connsiteX232" fmla="*/ 1467122 w 5737264"/>
              <a:gd name="connsiteY232" fmla="*/ 25121 h 1252696"/>
              <a:gd name="connsiteX233" fmla="*/ 1426929 w 5737264"/>
              <a:gd name="connsiteY233" fmla="*/ 30145 h 1252696"/>
              <a:gd name="connsiteX234" fmla="*/ 1341518 w 5737264"/>
              <a:gd name="connsiteY234" fmla="*/ 45217 h 1252696"/>
              <a:gd name="connsiteX235" fmla="*/ 1095333 w 5737264"/>
              <a:gd name="connsiteY235" fmla="*/ 35169 h 1252696"/>
              <a:gd name="connsiteX236" fmla="*/ 979777 w 5737264"/>
              <a:gd name="connsiteY236" fmla="*/ 20097 h 1252696"/>
              <a:gd name="connsiteX237" fmla="*/ 939584 w 5737264"/>
              <a:gd name="connsiteY237" fmla="*/ 10048 h 1252696"/>
              <a:gd name="connsiteX238" fmla="*/ 813980 w 5737264"/>
              <a:gd name="connsiteY238" fmla="*/ 0 h 1252696"/>
              <a:gd name="connsiteX239" fmla="*/ 743641 w 5737264"/>
              <a:gd name="connsiteY239" fmla="*/ 5024 h 1252696"/>
              <a:gd name="connsiteX240" fmla="*/ 582867 w 5737264"/>
              <a:gd name="connsiteY240" fmla="*/ 15072 h 1252696"/>
              <a:gd name="connsiteX241" fmla="*/ 432142 w 5737264"/>
              <a:gd name="connsiteY241" fmla="*/ 5024 h 1252696"/>
              <a:gd name="connsiteX242" fmla="*/ 412046 w 5737264"/>
              <a:gd name="connsiteY242" fmla="*/ 0 h 1252696"/>
              <a:gd name="connsiteX243" fmla="*/ 281417 w 5737264"/>
              <a:gd name="connsiteY243" fmla="*/ 10048 h 1252696"/>
              <a:gd name="connsiteX244" fmla="*/ 261320 w 5737264"/>
              <a:gd name="connsiteY244" fmla="*/ 15072 h 1252696"/>
              <a:gd name="connsiteX245" fmla="*/ 100547 w 5737264"/>
              <a:gd name="connsiteY245" fmla="*/ 20097 h 1252696"/>
              <a:gd name="connsiteX246" fmla="*/ 5087 w 5737264"/>
              <a:gd name="connsiteY246"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48718 h 1252696"/>
              <a:gd name="connsiteX89" fmla="*/ 2233964 w 5737264"/>
              <a:gd name="connsiteY89" fmla="*/ 1018311 h 1252696"/>
              <a:gd name="connsiteX90" fmla="*/ 2301136 w 5737264"/>
              <a:gd name="connsiteY90" fmla="*/ 994787 h 1252696"/>
              <a:gd name="connsiteX91" fmla="*/ 2316208 w 5737264"/>
              <a:gd name="connsiteY91" fmla="*/ 989763 h 1252696"/>
              <a:gd name="connsiteX92" fmla="*/ 2426740 w 5737264"/>
              <a:gd name="connsiteY92" fmla="*/ 989763 h 1252696"/>
              <a:gd name="connsiteX93" fmla="*/ 2461909 w 5737264"/>
              <a:gd name="connsiteY93" fmla="*/ 1024932 h 1252696"/>
              <a:gd name="connsiteX94" fmla="*/ 2476982 w 5737264"/>
              <a:gd name="connsiteY94" fmla="*/ 1029956 h 1252696"/>
              <a:gd name="connsiteX95" fmla="*/ 2487030 w 5737264"/>
              <a:gd name="connsiteY95" fmla="*/ 1045028 h 1252696"/>
              <a:gd name="connsiteX96" fmla="*/ 2497078 w 5737264"/>
              <a:gd name="connsiteY96" fmla="*/ 1055077 h 1252696"/>
              <a:gd name="connsiteX97" fmla="*/ 2532248 w 5737264"/>
              <a:gd name="connsiteY97" fmla="*/ 1095270 h 1252696"/>
              <a:gd name="connsiteX98" fmla="*/ 2567417 w 5737264"/>
              <a:gd name="connsiteY98" fmla="*/ 1135464 h 1252696"/>
              <a:gd name="connsiteX99" fmla="*/ 2582489 w 5737264"/>
              <a:gd name="connsiteY99" fmla="*/ 1145512 h 1252696"/>
              <a:gd name="connsiteX100" fmla="*/ 2622683 w 5737264"/>
              <a:gd name="connsiteY100" fmla="*/ 1170633 h 1252696"/>
              <a:gd name="connsiteX101" fmla="*/ 2657852 w 5737264"/>
              <a:gd name="connsiteY101" fmla="*/ 1160584 h 1252696"/>
              <a:gd name="connsiteX102" fmla="*/ 2682973 w 5737264"/>
              <a:gd name="connsiteY102" fmla="*/ 1145512 h 1252696"/>
              <a:gd name="connsiteX103" fmla="*/ 2713118 w 5737264"/>
              <a:gd name="connsiteY103" fmla="*/ 1130439 h 1252696"/>
              <a:gd name="connsiteX104" fmla="*/ 2728191 w 5737264"/>
              <a:gd name="connsiteY104" fmla="*/ 1120391 h 1252696"/>
              <a:gd name="connsiteX105" fmla="*/ 2748287 w 5737264"/>
              <a:gd name="connsiteY105" fmla="*/ 1115367 h 1252696"/>
              <a:gd name="connsiteX106" fmla="*/ 2778432 w 5737264"/>
              <a:gd name="connsiteY106" fmla="*/ 1105319 h 1252696"/>
              <a:gd name="connsiteX107" fmla="*/ 2845055 w 5737264"/>
              <a:gd name="connsiteY107" fmla="*/ 1077554 h 1252696"/>
              <a:gd name="connsiteX108" fmla="*/ 2884463 w 5737264"/>
              <a:gd name="connsiteY108" fmla="*/ 1077292 h 1252696"/>
              <a:gd name="connsiteX109" fmla="*/ 2921490 w 5737264"/>
              <a:gd name="connsiteY109" fmla="*/ 1087079 h 1252696"/>
              <a:gd name="connsiteX110" fmla="*/ 2959303 w 5737264"/>
              <a:gd name="connsiteY110" fmla="*/ 1125415 h 1252696"/>
              <a:gd name="connsiteX111" fmla="*/ 2979399 w 5737264"/>
              <a:gd name="connsiteY111" fmla="*/ 1155560 h 1252696"/>
              <a:gd name="connsiteX112" fmla="*/ 2997900 w 5737264"/>
              <a:gd name="connsiteY112" fmla="*/ 1187825 h 1252696"/>
              <a:gd name="connsiteX113" fmla="*/ 3038878 w 5737264"/>
              <a:gd name="connsiteY113" fmla="*/ 1222994 h 1252696"/>
              <a:gd name="connsiteX114" fmla="*/ 3076168 w 5737264"/>
              <a:gd name="connsiteY114" fmla="*/ 1252354 h 1252696"/>
              <a:gd name="connsiteX115" fmla="*/ 3130125 w 5737264"/>
              <a:gd name="connsiteY115" fmla="*/ 1240971 h 1252696"/>
              <a:gd name="connsiteX116" fmla="*/ 3177985 w 5737264"/>
              <a:gd name="connsiteY116" fmla="*/ 1207372 h 1252696"/>
              <a:gd name="connsiteX117" fmla="*/ 3229535 w 5737264"/>
              <a:gd name="connsiteY117" fmla="*/ 1178561 h 1252696"/>
              <a:gd name="connsiteX118" fmla="*/ 3281634 w 5737264"/>
              <a:gd name="connsiteY118" fmla="*/ 1153440 h 1252696"/>
              <a:gd name="connsiteX119" fmla="*/ 3310995 w 5737264"/>
              <a:gd name="connsiteY119" fmla="*/ 1145512 h 1252696"/>
              <a:gd name="connsiteX120" fmla="*/ 3351188 w 5737264"/>
              <a:gd name="connsiteY120" fmla="*/ 1140488 h 1252696"/>
              <a:gd name="connsiteX121" fmla="*/ 3406454 w 5737264"/>
              <a:gd name="connsiteY121" fmla="*/ 1155560 h 1252696"/>
              <a:gd name="connsiteX122" fmla="*/ 3426551 w 5737264"/>
              <a:gd name="connsiteY122" fmla="*/ 1165609 h 1252696"/>
              <a:gd name="connsiteX123" fmla="*/ 3441624 w 5737264"/>
              <a:gd name="connsiteY123" fmla="*/ 1175657 h 1252696"/>
              <a:gd name="connsiteX124" fmla="*/ 3456696 w 5737264"/>
              <a:gd name="connsiteY124" fmla="*/ 1180681 h 1252696"/>
              <a:gd name="connsiteX125" fmla="*/ 3466744 w 5737264"/>
              <a:gd name="connsiteY125" fmla="*/ 1195754 h 1252696"/>
              <a:gd name="connsiteX126" fmla="*/ 3527035 w 5737264"/>
              <a:gd name="connsiteY126" fmla="*/ 1200778 h 1252696"/>
              <a:gd name="connsiteX127" fmla="*/ 3542107 w 5737264"/>
              <a:gd name="connsiteY127" fmla="*/ 1190730 h 1252696"/>
              <a:gd name="connsiteX128" fmla="*/ 3567228 w 5737264"/>
              <a:gd name="connsiteY128" fmla="*/ 1180681 h 1252696"/>
              <a:gd name="connsiteX129" fmla="*/ 3587325 w 5737264"/>
              <a:gd name="connsiteY129" fmla="*/ 1150536 h 1252696"/>
              <a:gd name="connsiteX130" fmla="*/ 3617470 w 5737264"/>
              <a:gd name="connsiteY130" fmla="*/ 1125415 h 1252696"/>
              <a:gd name="connsiteX131" fmla="*/ 3632542 w 5737264"/>
              <a:gd name="connsiteY131" fmla="*/ 1105319 h 1252696"/>
              <a:gd name="connsiteX132" fmla="*/ 3662687 w 5737264"/>
              <a:gd name="connsiteY132" fmla="*/ 1085222 h 1252696"/>
              <a:gd name="connsiteX133" fmla="*/ 3697856 w 5737264"/>
              <a:gd name="connsiteY133" fmla="*/ 1070149 h 1252696"/>
              <a:gd name="connsiteX134" fmla="*/ 3707905 w 5737264"/>
              <a:gd name="connsiteY134" fmla="*/ 1060101 h 1252696"/>
              <a:gd name="connsiteX135" fmla="*/ 3743074 w 5737264"/>
              <a:gd name="connsiteY135" fmla="*/ 1047148 h 1252696"/>
              <a:gd name="connsiteX136" fmla="*/ 3799125 w 5737264"/>
              <a:gd name="connsiteY136" fmla="*/ 1043982 h 1252696"/>
              <a:gd name="connsiteX137" fmla="*/ 3859651 w 5737264"/>
              <a:gd name="connsiteY137" fmla="*/ 1072033 h 1252696"/>
              <a:gd name="connsiteX138" fmla="*/ 3902226 w 5737264"/>
              <a:gd name="connsiteY138" fmla="*/ 1101367 h 1252696"/>
              <a:gd name="connsiteX139" fmla="*/ 3958041 w 5737264"/>
              <a:gd name="connsiteY139" fmla="*/ 1142346 h 1252696"/>
              <a:gd name="connsiteX140" fmla="*/ 4019404 w 5737264"/>
              <a:gd name="connsiteY140" fmla="*/ 1165609 h 1252696"/>
              <a:gd name="connsiteX141" fmla="*/ 4064621 w 5737264"/>
              <a:gd name="connsiteY141" fmla="*/ 1150536 h 1252696"/>
              <a:gd name="connsiteX142" fmla="*/ 4079694 w 5737264"/>
              <a:gd name="connsiteY142" fmla="*/ 1125415 h 1252696"/>
              <a:gd name="connsiteX143" fmla="*/ 4099791 w 5737264"/>
              <a:gd name="connsiteY143" fmla="*/ 1105319 h 1252696"/>
              <a:gd name="connsiteX144" fmla="*/ 4129936 w 5737264"/>
              <a:gd name="connsiteY144" fmla="*/ 1075173 h 1252696"/>
              <a:gd name="connsiteX145" fmla="*/ 4150032 w 5737264"/>
              <a:gd name="connsiteY145" fmla="*/ 1040004 h 1252696"/>
              <a:gd name="connsiteX146" fmla="*/ 4160081 w 5737264"/>
              <a:gd name="connsiteY146" fmla="*/ 1019908 h 1252696"/>
              <a:gd name="connsiteX147" fmla="*/ 4165105 w 5737264"/>
              <a:gd name="connsiteY147" fmla="*/ 1004835 h 1252696"/>
              <a:gd name="connsiteX148" fmla="*/ 4185202 w 5737264"/>
              <a:gd name="connsiteY148" fmla="*/ 984738 h 1252696"/>
              <a:gd name="connsiteX149" fmla="*/ 4200274 w 5737264"/>
              <a:gd name="connsiteY149" fmla="*/ 979714 h 1252696"/>
              <a:gd name="connsiteX150" fmla="*/ 4235443 w 5737264"/>
              <a:gd name="connsiteY150" fmla="*/ 954593 h 1252696"/>
              <a:gd name="connsiteX151" fmla="*/ 4275637 w 5737264"/>
              <a:gd name="connsiteY151" fmla="*/ 934497 h 1252696"/>
              <a:gd name="connsiteX152" fmla="*/ 4310806 w 5737264"/>
              <a:gd name="connsiteY152" fmla="*/ 914400 h 1252696"/>
              <a:gd name="connsiteX153" fmla="*/ 4325878 w 5737264"/>
              <a:gd name="connsiteY153" fmla="*/ 904352 h 1252696"/>
              <a:gd name="connsiteX154" fmla="*/ 4362094 w 5737264"/>
              <a:gd name="connsiteY154" fmla="*/ 909114 h 1252696"/>
              <a:gd name="connsiteX155" fmla="*/ 4417099 w 5737264"/>
              <a:gd name="connsiteY155" fmla="*/ 946141 h 1252696"/>
              <a:gd name="connsiteX156" fmla="*/ 4462316 w 5737264"/>
              <a:gd name="connsiteY156" fmla="*/ 1006955 h 1252696"/>
              <a:gd name="connsiteX157" fmla="*/ 4531320 w 5737264"/>
              <a:gd name="connsiteY157" fmla="*/ 1037650 h 1252696"/>
              <a:gd name="connsiteX158" fmla="*/ 4597184 w 5737264"/>
              <a:gd name="connsiteY158" fmla="*/ 969666 h 1252696"/>
              <a:gd name="connsiteX159" fmla="*/ 4617281 w 5737264"/>
              <a:gd name="connsiteY159" fmla="*/ 959617 h 1252696"/>
              <a:gd name="connsiteX160" fmla="*/ 4632353 w 5737264"/>
              <a:gd name="connsiteY160" fmla="*/ 944545 h 1252696"/>
              <a:gd name="connsiteX161" fmla="*/ 4652450 w 5737264"/>
              <a:gd name="connsiteY161" fmla="*/ 934497 h 1252696"/>
              <a:gd name="connsiteX162" fmla="*/ 4672547 w 5737264"/>
              <a:gd name="connsiteY162" fmla="*/ 919424 h 1252696"/>
              <a:gd name="connsiteX163" fmla="*/ 4737861 w 5737264"/>
              <a:gd name="connsiteY163" fmla="*/ 884255 h 1252696"/>
              <a:gd name="connsiteX164" fmla="*/ 4762982 w 5737264"/>
              <a:gd name="connsiteY164" fmla="*/ 879231 h 1252696"/>
              <a:gd name="connsiteX165" fmla="*/ 4778054 w 5737264"/>
              <a:gd name="connsiteY165" fmla="*/ 874206 h 1252696"/>
              <a:gd name="connsiteX166" fmla="*/ 4819294 w 5737264"/>
              <a:gd name="connsiteY166" fmla="*/ 873944 h 1252696"/>
              <a:gd name="connsiteX167" fmla="*/ 4877465 w 5737264"/>
              <a:gd name="connsiteY167" fmla="*/ 895638 h 1252696"/>
              <a:gd name="connsiteX168" fmla="*/ 4935347 w 5737264"/>
              <a:gd name="connsiteY168" fmla="*/ 934523 h 1252696"/>
              <a:gd name="connsiteX169" fmla="*/ 4995402 w 5737264"/>
              <a:gd name="connsiteY169" fmla="*/ 1006746 h 1252696"/>
              <a:gd name="connsiteX170" fmla="*/ 5024762 w 5737264"/>
              <a:gd name="connsiteY170" fmla="*/ 1051963 h 1252696"/>
              <a:gd name="connsiteX171" fmla="*/ 5092223 w 5737264"/>
              <a:gd name="connsiteY171" fmla="*/ 1016506 h 1252696"/>
              <a:gd name="connsiteX172" fmla="*/ 5144322 w 5737264"/>
              <a:gd name="connsiteY172" fmla="*/ 948261 h 1252696"/>
              <a:gd name="connsiteX173" fmla="*/ 5189252 w 5737264"/>
              <a:gd name="connsiteY173" fmla="*/ 886112 h 1252696"/>
              <a:gd name="connsiteX174" fmla="*/ 5226279 w 5737264"/>
              <a:gd name="connsiteY174" fmla="*/ 856230 h 1252696"/>
              <a:gd name="connsiteX175" fmla="*/ 5260637 w 5737264"/>
              <a:gd name="connsiteY175" fmla="*/ 822918 h 1252696"/>
              <a:gd name="connsiteX176" fmla="*/ 5295282 w 5737264"/>
              <a:gd name="connsiteY176" fmla="*/ 800440 h 1252696"/>
              <a:gd name="connsiteX177" fmla="*/ 5334430 w 5737264"/>
              <a:gd name="connsiteY177" fmla="*/ 794893 h 1252696"/>
              <a:gd name="connsiteX178" fmla="*/ 5412174 w 5737264"/>
              <a:gd name="connsiteY178" fmla="*/ 824252 h 1252696"/>
              <a:gd name="connsiteX179" fmla="*/ 5431197 w 5737264"/>
              <a:gd name="connsiteY179" fmla="*/ 768699 h 1252696"/>
              <a:gd name="connsiteX180" fmla="*/ 5441246 w 5737264"/>
              <a:gd name="connsiteY180" fmla="*/ 753626 h 1252696"/>
              <a:gd name="connsiteX181" fmla="*/ 5456318 w 5737264"/>
              <a:gd name="connsiteY181" fmla="*/ 708409 h 1252696"/>
              <a:gd name="connsiteX182" fmla="*/ 5466366 w 5737264"/>
              <a:gd name="connsiteY182" fmla="*/ 683288 h 1252696"/>
              <a:gd name="connsiteX183" fmla="*/ 5476415 w 5737264"/>
              <a:gd name="connsiteY183" fmla="*/ 643094 h 1252696"/>
              <a:gd name="connsiteX184" fmla="*/ 5491487 w 5737264"/>
              <a:gd name="connsiteY184" fmla="*/ 617973 h 1252696"/>
              <a:gd name="connsiteX185" fmla="*/ 5506560 w 5737264"/>
              <a:gd name="connsiteY185" fmla="*/ 572756 h 1252696"/>
              <a:gd name="connsiteX186" fmla="*/ 5526656 w 5737264"/>
              <a:gd name="connsiteY186" fmla="*/ 522514 h 1252696"/>
              <a:gd name="connsiteX187" fmla="*/ 5546753 w 5737264"/>
              <a:gd name="connsiteY187" fmla="*/ 467248 h 1252696"/>
              <a:gd name="connsiteX188" fmla="*/ 5556802 w 5737264"/>
              <a:gd name="connsiteY188" fmla="*/ 411982 h 1252696"/>
              <a:gd name="connsiteX189" fmla="*/ 5566850 w 5737264"/>
              <a:gd name="connsiteY189" fmla="*/ 381837 h 1252696"/>
              <a:gd name="connsiteX190" fmla="*/ 5576898 w 5737264"/>
              <a:gd name="connsiteY190" fmla="*/ 356716 h 1252696"/>
              <a:gd name="connsiteX191" fmla="*/ 5596995 w 5737264"/>
              <a:gd name="connsiteY191" fmla="*/ 316523 h 1252696"/>
              <a:gd name="connsiteX192" fmla="*/ 5617092 w 5737264"/>
              <a:gd name="connsiteY192" fmla="*/ 246184 h 1252696"/>
              <a:gd name="connsiteX193" fmla="*/ 5622116 w 5737264"/>
              <a:gd name="connsiteY193" fmla="*/ 226088 h 1252696"/>
              <a:gd name="connsiteX194" fmla="*/ 5632164 w 5737264"/>
              <a:gd name="connsiteY194" fmla="*/ 216039 h 1252696"/>
              <a:gd name="connsiteX195" fmla="*/ 5637188 w 5737264"/>
              <a:gd name="connsiteY195" fmla="*/ 200967 h 1252696"/>
              <a:gd name="connsiteX196" fmla="*/ 5651738 w 5737264"/>
              <a:gd name="connsiteY196" fmla="*/ 190395 h 1252696"/>
              <a:gd name="connsiteX197" fmla="*/ 5673692 w 5737264"/>
              <a:gd name="connsiteY197" fmla="*/ 153892 h 1252696"/>
              <a:gd name="connsiteX198" fmla="*/ 5726602 w 5737264"/>
              <a:gd name="connsiteY198" fmla="*/ 89362 h 1252696"/>
              <a:gd name="connsiteX199" fmla="*/ 5728722 w 5737264"/>
              <a:gd name="connsiteY199" fmla="*/ 42287 h 1252696"/>
              <a:gd name="connsiteX200" fmla="*/ 5634284 w 5737264"/>
              <a:gd name="connsiteY200" fmla="*/ 25357 h 1252696"/>
              <a:gd name="connsiteX201" fmla="*/ 5536940 w 5737264"/>
              <a:gd name="connsiteY201" fmla="*/ 27214 h 1252696"/>
              <a:gd name="connsiteX202" fmla="*/ 5470369 w 5737264"/>
              <a:gd name="connsiteY202" fmla="*/ 39381 h 1252696"/>
              <a:gd name="connsiteX203" fmla="*/ 5379124 w 5737264"/>
              <a:gd name="connsiteY203" fmla="*/ 39644 h 1252696"/>
              <a:gd name="connsiteX204" fmla="*/ 5309282 w 5737264"/>
              <a:gd name="connsiteY204" fmla="*/ 42287 h 1252696"/>
              <a:gd name="connsiteX205" fmla="*/ 5238682 w 5737264"/>
              <a:gd name="connsiteY205" fmla="*/ 54455 h 1252696"/>
              <a:gd name="connsiteX206" fmla="*/ 5108892 w 5737264"/>
              <a:gd name="connsiteY206" fmla="*/ 37524 h 1252696"/>
              <a:gd name="connsiteX207" fmla="*/ 5020026 w 5737264"/>
              <a:gd name="connsiteY207" fmla="*/ 39120 h 1252696"/>
              <a:gd name="connsiteX208" fmla="*/ 4946233 w 5737264"/>
              <a:gd name="connsiteY208" fmla="*/ 41240 h 1252696"/>
              <a:gd name="connsiteX209" fmla="*/ 4823272 w 5737264"/>
              <a:gd name="connsiteY209" fmla="*/ 50242 h 1252696"/>
              <a:gd name="connsiteX210" fmla="*/ 4727577 w 5737264"/>
              <a:gd name="connsiteY210" fmla="*/ 29073 h 1252696"/>
              <a:gd name="connsiteX211" fmla="*/ 4628376 w 5737264"/>
              <a:gd name="connsiteY211" fmla="*/ 41240 h 1252696"/>
              <a:gd name="connsiteX212" fmla="*/ 4565180 w 5737264"/>
              <a:gd name="connsiteY212" fmla="*/ 46264 h 1252696"/>
              <a:gd name="connsiteX213" fmla="*/ 4417596 w 5737264"/>
              <a:gd name="connsiteY213" fmla="*/ 44406 h 1252696"/>
              <a:gd name="connsiteX214" fmla="*/ 4139984 w 5737264"/>
              <a:gd name="connsiteY214" fmla="*/ 60290 h 1252696"/>
              <a:gd name="connsiteX215" fmla="*/ 3918920 w 5737264"/>
              <a:gd name="connsiteY215" fmla="*/ 50242 h 1252696"/>
              <a:gd name="connsiteX216" fmla="*/ 3873703 w 5737264"/>
              <a:gd name="connsiteY216" fmla="*/ 45217 h 1252696"/>
              <a:gd name="connsiteX217" fmla="*/ 3687808 w 5737264"/>
              <a:gd name="connsiteY217" fmla="*/ 40193 h 1252696"/>
              <a:gd name="connsiteX218" fmla="*/ 3662687 w 5737264"/>
              <a:gd name="connsiteY218" fmla="*/ 35169 h 1252696"/>
              <a:gd name="connsiteX219" fmla="*/ 3627518 w 5737264"/>
              <a:gd name="connsiteY219" fmla="*/ 25121 h 1252696"/>
              <a:gd name="connsiteX220" fmla="*/ 3547131 w 5737264"/>
              <a:gd name="connsiteY220" fmla="*/ 20097 h 1252696"/>
              <a:gd name="connsiteX221" fmla="*/ 3310995 w 5737264"/>
              <a:gd name="connsiteY221" fmla="*/ 25121 h 1252696"/>
              <a:gd name="connsiteX222" fmla="*/ 3265777 w 5737264"/>
              <a:gd name="connsiteY222" fmla="*/ 30145 h 1252696"/>
              <a:gd name="connsiteX223" fmla="*/ 3175342 w 5737264"/>
              <a:gd name="connsiteY223" fmla="*/ 35169 h 1252696"/>
              <a:gd name="connsiteX224" fmla="*/ 2582489 w 5737264"/>
              <a:gd name="connsiteY224" fmla="*/ 45217 h 1252696"/>
              <a:gd name="connsiteX225" fmla="*/ 2255918 w 5737264"/>
              <a:gd name="connsiteY225" fmla="*/ 40193 h 1252696"/>
              <a:gd name="connsiteX226" fmla="*/ 1974564 w 5737264"/>
              <a:gd name="connsiteY226" fmla="*/ 30145 h 1252696"/>
              <a:gd name="connsiteX227" fmla="*/ 1944419 w 5737264"/>
              <a:gd name="connsiteY227" fmla="*/ 25121 h 1252696"/>
              <a:gd name="connsiteX228" fmla="*/ 1848960 w 5737264"/>
              <a:gd name="connsiteY228" fmla="*/ 20097 h 1252696"/>
              <a:gd name="connsiteX229" fmla="*/ 1768573 w 5737264"/>
              <a:gd name="connsiteY229" fmla="*/ 10048 h 1252696"/>
              <a:gd name="connsiteX230" fmla="*/ 1502292 w 5737264"/>
              <a:gd name="connsiteY230" fmla="*/ 20097 h 1252696"/>
              <a:gd name="connsiteX231" fmla="*/ 1467122 w 5737264"/>
              <a:gd name="connsiteY231" fmla="*/ 25121 h 1252696"/>
              <a:gd name="connsiteX232" fmla="*/ 1426929 w 5737264"/>
              <a:gd name="connsiteY232" fmla="*/ 30145 h 1252696"/>
              <a:gd name="connsiteX233" fmla="*/ 1341518 w 5737264"/>
              <a:gd name="connsiteY233" fmla="*/ 45217 h 1252696"/>
              <a:gd name="connsiteX234" fmla="*/ 1095333 w 5737264"/>
              <a:gd name="connsiteY234" fmla="*/ 35169 h 1252696"/>
              <a:gd name="connsiteX235" fmla="*/ 979777 w 5737264"/>
              <a:gd name="connsiteY235" fmla="*/ 20097 h 1252696"/>
              <a:gd name="connsiteX236" fmla="*/ 939584 w 5737264"/>
              <a:gd name="connsiteY236" fmla="*/ 10048 h 1252696"/>
              <a:gd name="connsiteX237" fmla="*/ 813980 w 5737264"/>
              <a:gd name="connsiteY237" fmla="*/ 0 h 1252696"/>
              <a:gd name="connsiteX238" fmla="*/ 743641 w 5737264"/>
              <a:gd name="connsiteY238" fmla="*/ 5024 h 1252696"/>
              <a:gd name="connsiteX239" fmla="*/ 582867 w 5737264"/>
              <a:gd name="connsiteY239" fmla="*/ 15072 h 1252696"/>
              <a:gd name="connsiteX240" fmla="*/ 432142 w 5737264"/>
              <a:gd name="connsiteY240" fmla="*/ 5024 h 1252696"/>
              <a:gd name="connsiteX241" fmla="*/ 412046 w 5737264"/>
              <a:gd name="connsiteY241" fmla="*/ 0 h 1252696"/>
              <a:gd name="connsiteX242" fmla="*/ 281417 w 5737264"/>
              <a:gd name="connsiteY242" fmla="*/ 10048 h 1252696"/>
              <a:gd name="connsiteX243" fmla="*/ 261320 w 5737264"/>
              <a:gd name="connsiteY243" fmla="*/ 15072 h 1252696"/>
              <a:gd name="connsiteX244" fmla="*/ 100547 w 5737264"/>
              <a:gd name="connsiteY244" fmla="*/ 20097 h 1252696"/>
              <a:gd name="connsiteX245" fmla="*/ 5087 w 5737264"/>
              <a:gd name="connsiteY245"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35232 w 5737264"/>
              <a:gd name="connsiteY7" fmla="*/ 1034980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48718 h 1252696"/>
              <a:gd name="connsiteX89" fmla="*/ 2233964 w 5737264"/>
              <a:gd name="connsiteY89" fmla="*/ 1018311 h 1252696"/>
              <a:gd name="connsiteX90" fmla="*/ 2301136 w 5737264"/>
              <a:gd name="connsiteY90" fmla="*/ 994787 h 1252696"/>
              <a:gd name="connsiteX91" fmla="*/ 2316208 w 5737264"/>
              <a:gd name="connsiteY91" fmla="*/ 989763 h 1252696"/>
              <a:gd name="connsiteX92" fmla="*/ 2405309 w 5737264"/>
              <a:gd name="connsiteY92" fmla="*/ 999288 h 1252696"/>
              <a:gd name="connsiteX93" fmla="*/ 2461909 w 5737264"/>
              <a:gd name="connsiteY93" fmla="*/ 1024932 h 1252696"/>
              <a:gd name="connsiteX94" fmla="*/ 2476982 w 5737264"/>
              <a:gd name="connsiteY94" fmla="*/ 1029956 h 1252696"/>
              <a:gd name="connsiteX95" fmla="*/ 2487030 w 5737264"/>
              <a:gd name="connsiteY95" fmla="*/ 1045028 h 1252696"/>
              <a:gd name="connsiteX96" fmla="*/ 2497078 w 5737264"/>
              <a:gd name="connsiteY96" fmla="*/ 1055077 h 1252696"/>
              <a:gd name="connsiteX97" fmla="*/ 2532248 w 5737264"/>
              <a:gd name="connsiteY97" fmla="*/ 1095270 h 1252696"/>
              <a:gd name="connsiteX98" fmla="*/ 2567417 w 5737264"/>
              <a:gd name="connsiteY98" fmla="*/ 1135464 h 1252696"/>
              <a:gd name="connsiteX99" fmla="*/ 2582489 w 5737264"/>
              <a:gd name="connsiteY99" fmla="*/ 1145512 h 1252696"/>
              <a:gd name="connsiteX100" fmla="*/ 2622683 w 5737264"/>
              <a:gd name="connsiteY100" fmla="*/ 1170633 h 1252696"/>
              <a:gd name="connsiteX101" fmla="*/ 2657852 w 5737264"/>
              <a:gd name="connsiteY101" fmla="*/ 1160584 h 1252696"/>
              <a:gd name="connsiteX102" fmla="*/ 2682973 w 5737264"/>
              <a:gd name="connsiteY102" fmla="*/ 1145512 h 1252696"/>
              <a:gd name="connsiteX103" fmla="*/ 2713118 w 5737264"/>
              <a:gd name="connsiteY103" fmla="*/ 1130439 h 1252696"/>
              <a:gd name="connsiteX104" fmla="*/ 2728191 w 5737264"/>
              <a:gd name="connsiteY104" fmla="*/ 1120391 h 1252696"/>
              <a:gd name="connsiteX105" fmla="*/ 2748287 w 5737264"/>
              <a:gd name="connsiteY105" fmla="*/ 1115367 h 1252696"/>
              <a:gd name="connsiteX106" fmla="*/ 2778432 w 5737264"/>
              <a:gd name="connsiteY106" fmla="*/ 1105319 h 1252696"/>
              <a:gd name="connsiteX107" fmla="*/ 2845055 w 5737264"/>
              <a:gd name="connsiteY107" fmla="*/ 1077554 h 1252696"/>
              <a:gd name="connsiteX108" fmla="*/ 2884463 w 5737264"/>
              <a:gd name="connsiteY108" fmla="*/ 1077292 h 1252696"/>
              <a:gd name="connsiteX109" fmla="*/ 2921490 w 5737264"/>
              <a:gd name="connsiteY109" fmla="*/ 1087079 h 1252696"/>
              <a:gd name="connsiteX110" fmla="*/ 2959303 w 5737264"/>
              <a:gd name="connsiteY110" fmla="*/ 1125415 h 1252696"/>
              <a:gd name="connsiteX111" fmla="*/ 2979399 w 5737264"/>
              <a:gd name="connsiteY111" fmla="*/ 1155560 h 1252696"/>
              <a:gd name="connsiteX112" fmla="*/ 2997900 w 5737264"/>
              <a:gd name="connsiteY112" fmla="*/ 1187825 h 1252696"/>
              <a:gd name="connsiteX113" fmla="*/ 3038878 w 5737264"/>
              <a:gd name="connsiteY113" fmla="*/ 1222994 h 1252696"/>
              <a:gd name="connsiteX114" fmla="*/ 3076168 w 5737264"/>
              <a:gd name="connsiteY114" fmla="*/ 1252354 h 1252696"/>
              <a:gd name="connsiteX115" fmla="*/ 3130125 w 5737264"/>
              <a:gd name="connsiteY115" fmla="*/ 1240971 h 1252696"/>
              <a:gd name="connsiteX116" fmla="*/ 3177985 w 5737264"/>
              <a:gd name="connsiteY116" fmla="*/ 1207372 h 1252696"/>
              <a:gd name="connsiteX117" fmla="*/ 3229535 w 5737264"/>
              <a:gd name="connsiteY117" fmla="*/ 1178561 h 1252696"/>
              <a:gd name="connsiteX118" fmla="*/ 3281634 w 5737264"/>
              <a:gd name="connsiteY118" fmla="*/ 1153440 h 1252696"/>
              <a:gd name="connsiteX119" fmla="*/ 3310995 w 5737264"/>
              <a:gd name="connsiteY119" fmla="*/ 1145512 h 1252696"/>
              <a:gd name="connsiteX120" fmla="*/ 3351188 w 5737264"/>
              <a:gd name="connsiteY120" fmla="*/ 1140488 h 1252696"/>
              <a:gd name="connsiteX121" fmla="*/ 3406454 w 5737264"/>
              <a:gd name="connsiteY121" fmla="*/ 1155560 h 1252696"/>
              <a:gd name="connsiteX122" fmla="*/ 3426551 w 5737264"/>
              <a:gd name="connsiteY122" fmla="*/ 1165609 h 1252696"/>
              <a:gd name="connsiteX123" fmla="*/ 3441624 w 5737264"/>
              <a:gd name="connsiteY123" fmla="*/ 1175657 h 1252696"/>
              <a:gd name="connsiteX124" fmla="*/ 3456696 w 5737264"/>
              <a:gd name="connsiteY124" fmla="*/ 1180681 h 1252696"/>
              <a:gd name="connsiteX125" fmla="*/ 3466744 w 5737264"/>
              <a:gd name="connsiteY125" fmla="*/ 1195754 h 1252696"/>
              <a:gd name="connsiteX126" fmla="*/ 3527035 w 5737264"/>
              <a:gd name="connsiteY126" fmla="*/ 1200778 h 1252696"/>
              <a:gd name="connsiteX127" fmla="*/ 3542107 w 5737264"/>
              <a:gd name="connsiteY127" fmla="*/ 1190730 h 1252696"/>
              <a:gd name="connsiteX128" fmla="*/ 3567228 w 5737264"/>
              <a:gd name="connsiteY128" fmla="*/ 1180681 h 1252696"/>
              <a:gd name="connsiteX129" fmla="*/ 3587325 w 5737264"/>
              <a:gd name="connsiteY129" fmla="*/ 1150536 h 1252696"/>
              <a:gd name="connsiteX130" fmla="*/ 3617470 w 5737264"/>
              <a:gd name="connsiteY130" fmla="*/ 1125415 h 1252696"/>
              <a:gd name="connsiteX131" fmla="*/ 3632542 w 5737264"/>
              <a:gd name="connsiteY131" fmla="*/ 1105319 h 1252696"/>
              <a:gd name="connsiteX132" fmla="*/ 3662687 w 5737264"/>
              <a:gd name="connsiteY132" fmla="*/ 1085222 h 1252696"/>
              <a:gd name="connsiteX133" fmla="*/ 3697856 w 5737264"/>
              <a:gd name="connsiteY133" fmla="*/ 1070149 h 1252696"/>
              <a:gd name="connsiteX134" fmla="*/ 3707905 w 5737264"/>
              <a:gd name="connsiteY134" fmla="*/ 1060101 h 1252696"/>
              <a:gd name="connsiteX135" fmla="*/ 3743074 w 5737264"/>
              <a:gd name="connsiteY135" fmla="*/ 1047148 h 1252696"/>
              <a:gd name="connsiteX136" fmla="*/ 3799125 w 5737264"/>
              <a:gd name="connsiteY136" fmla="*/ 1043982 h 1252696"/>
              <a:gd name="connsiteX137" fmla="*/ 3859651 w 5737264"/>
              <a:gd name="connsiteY137" fmla="*/ 1072033 h 1252696"/>
              <a:gd name="connsiteX138" fmla="*/ 3902226 w 5737264"/>
              <a:gd name="connsiteY138" fmla="*/ 1101367 h 1252696"/>
              <a:gd name="connsiteX139" fmla="*/ 3958041 w 5737264"/>
              <a:gd name="connsiteY139" fmla="*/ 1142346 h 1252696"/>
              <a:gd name="connsiteX140" fmla="*/ 4019404 w 5737264"/>
              <a:gd name="connsiteY140" fmla="*/ 1165609 h 1252696"/>
              <a:gd name="connsiteX141" fmla="*/ 4064621 w 5737264"/>
              <a:gd name="connsiteY141" fmla="*/ 1150536 h 1252696"/>
              <a:gd name="connsiteX142" fmla="*/ 4079694 w 5737264"/>
              <a:gd name="connsiteY142" fmla="*/ 1125415 h 1252696"/>
              <a:gd name="connsiteX143" fmla="*/ 4099791 w 5737264"/>
              <a:gd name="connsiteY143" fmla="*/ 1105319 h 1252696"/>
              <a:gd name="connsiteX144" fmla="*/ 4129936 w 5737264"/>
              <a:gd name="connsiteY144" fmla="*/ 1075173 h 1252696"/>
              <a:gd name="connsiteX145" fmla="*/ 4150032 w 5737264"/>
              <a:gd name="connsiteY145" fmla="*/ 1040004 h 1252696"/>
              <a:gd name="connsiteX146" fmla="*/ 4160081 w 5737264"/>
              <a:gd name="connsiteY146" fmla="*/ 1019908 h 1252696"/>
              <a:gd name="connsiteX147" fmla="*/ 4165105 w 5737264"/>
              <a:gd name="connsiteY147" fmla="*/ 1004835 h 1252696"/>
              <a:gd name="connsiteX148" fmla="*/ 4185202 w 5737264"/>
              <a:gd name="connsiteY148" fmla="*/ 984738 h 1252696"/>
              <a:gd name="connsiteX149" fmla="*/ 4200274 w 5737264"/>
              <a:gd name="connsiteY149" fmla="*/ 979714 h 1252696"/>
              <a:gd name="connsiteX150" fmla="*/ 4235443 w 5737264"/>
              <a:gd name="connsiteY150" fmla="*/ 954593 h 1252696"/>
              <a:gd name="connsiteX151" fmla="*/ 4275637 w 5737264"/>
              <a:gd name="connsiteY151" fmla="*/ 934497 h 1252696"/>
              <a:gd name="connsiteX152" fmla="*/ 4310806 w 5737264"/>
              <a:gd name="connsiteY152" fmla="*/ 914400 h 1252696"/>
              <a:gd name="connsiteX153" fmla="*/ 4325878 w 5737264"/>
              <a:gd name="connsiteY153" fmla="*/ 904352 h 1252696"/>
              <a:gd name="connsiteX154" fmla="*/ 4362094 w 5737264"/>
              <a:gd name="connsiteY154" fmla="*/ 909114 h 1252696"/>
              <a:gd name="connsiteX155" fmla="*/ 4417099 w 5737264"/>
              <a:gd name="connsiteY155" fmla="*/ 946141 h 1252696"/>
              <a:gd name="connsiteX156" fmla="*/ 4462316 w 5737264"/>
              <a:gd name="connsiteY156" fmla="*/ 1006955 h 1252696"/>
              <a:gd name="connsiteX157" fmla="*/ 4531320 w 5737264"/>
              <a:gd name="connsiteY157" fmla="*/ 1037650 h 1252696"/>
              <a:gd name="connsiteX158" fmla="*/ 4597184 w 5737264"/>
              <a:gd name="connsiteY158" fmla="*/ 969666 h 1252696"/>
              <a:gd name="connsiteX159" fmla="*/ 4617281 w 5737264"/>
              <a:gd name="connsiteY159" fmla="*/ 959617 h 1252696"/>
              <a:gd name="connsiteX160" fmla="*/ 4632353 w 5737264"/>
              <a:gd name="connsiteY160" fmla="*/ 944545 h 1252696"/>
              <a:gd name="connsiteX161" fmla="*/ 4652450 w 5737264"/>
              <a:gd name="connsiteY161" fmla="*/ 934497 h 1252696"/>
              <a:gd name="connsiteX162" fmla="*/ 4672547 w 5737264"/>
              <a:gd name="connsiteY162" fmla="*/ 919424 h 1252696"/>
              <a:gd name="connsiteX163" fmla="*/ 4737861 w 5737264"/>
              <a:gd name="connsiteY163" fmla="*/ 884255 h 1252696"/>
              <a:gd name="connsiteX164" fmla="*/ 4762982 w 5737264"/>
              <a:gd name="connsiteY164" fmla="*/ 879231 h 1252696"/>
              <a:gd name="connsiteX165" fmla="*/ 4778054 w 5737264"/>
              <a:gd name="connsiteY165" fmla="*/ 874206 h 1252696"/>
              <a:gd name="connsiteX166" fmla="*/ 4819294 w 5737264"/>
              <a:gd name="connsiteY166" fmla="*/ 873944 h 1252696"/>
              <a:gd name="connsiteX167" fmla="*/ 4877465 w 5737264"/>
              <a:gd name="connsiteY167" fmla="*/ 895638 h 1252696"/>
              <a:gd name="connsiteX168" fmla="*/ 4935347 w 5737264"/>
              <a:gd name="connsiteY168" fmla="*/ 934523 h 1252696"/>
              <a:gd name="connsiteX169" fmla="*/ 4995402 w 5737264"/>
              <a:gd name="connsiteY169" fmla="*/ 1006746 h 1252696"/>
              <a:gd name="connsiteX170" fmla="*/ 5024762 w 5737264"/>
              <a:gd name="connsiteY170" fmla="*/ 1051963 h 1252696"/>
              <a:gd name="connsiteX171" fmla="*/ 5092223 w 5737264"/>
              <a:gd name="connsiteY171" fmla="*/ 1016506 h 1252696"/>
              <a:gd name="connsiteX172" fmla="*/ 5144322 w 5737264"/>
              <a:gd name="connsiteY172" fmla="*/ 948261 h 1252696"/>
              <a:gd name="connsiteX173" fmla="*/ 5189252 w 5737264"/>
              <a:gd name="connsiteY173" fmla="*/ 886112 h 1252696"/>
              <a:gd name="connsiteX174" fmla="*/ 5226279 w 5737264"/>
              <a:gd name="connsiteY174" fmla="*/ 856230 h 1252696"/>
              <a:gd name="connsiteX175" fmla="*/ 5260637 w 5737264"/>
              <a:gd name="connsiteY175" fmla="*/ 822918 h 1252696"/>
              <a:gd name="connsiteX176" fmla="*/ 5295282 w 5737264"/>
              <a:gd name="connsiteY176" fmla="*/ 800440 h 1252696"/>
              <a:gd name="connsiteX177" fmla="*/ 5334430 w 5737264"/>
              <a:gd name="connsiteY177" fmla="*/ 794893 h 1252696"/>
              <a:gd name="connsiteX178" fmla="*/ 5412174 w 5737264"/>
              <a:gd name="connsiteY178" fmla="*/ 824252 h 1252696"/>
              <a:gd name="connsiteX179" fmla="*/ 5431197 w 5737264"/>
              <a:gd name="connsiteY179" fmla="*/ 768699 h 1252696"/>
              <a:gd name="connsiteX180" fmla="*/ 5441246 w 5737264"/>
              <a:gd name="connsiteY180" fmla="*/ 753626 h 1252696"/>
              <a:gd name="connsiteX181" fmla="*/ 5456318 w 5737264"/>
              <a:gd name="connsiteY181" fmla="*/ 708409 h 1252696"/>
              <a:gd name="connsiteX182" fmla="*/ 5466366 w 5737264"/>
              <a:gd name="connsiteY182" fmla="*/ 683288 h 1252696"/>
              <a:gd name="connsiteX183" fmla="*/ 5476415 w 5737264"/>
              <a:gd name="connsiteY183" fmla="*/ 643094 h 1252696"/>
              <a:gd name="connsiteX184" fmla="*/ 5491487 w 5737264"/>
              <a:gd name="connsiteY184" fmla="*/ 617973 h 1252696"/>
              <a:gd name="connsiteX185" fmla="*/ 5506560 w 5737264"/>
              <a:gd name="connsiteY185" fmla="*/ 572756 h 1252696"/>
              <a:gd name="connsiteX186" fmla="*/ 5526656 w 5737264"/>
              <a:gd name="connsiteY186" fmla="*/ 522514 h 1252696"/>
              <a:gd name="connsiteX187" fmla="*/ 5546753 w 5737264"/>
              <a:gd name="connsiteY187" fmla="*/ 467248 h 1252696"/>
              <a:gd name="connsiteX188" fmla="*/ 5556802 w 5737264"/>
              <a:gd name="connsiteY188" fmla="*/ 411982 h 1252696"/>
              <a:gd name="connsiteX189" fmla="*/ 5566850 w 5737264"/>
              <a:gd name="connsiteY189" fmla="*/ 381837 h 1252696"/>
              <a:gd name="connsiteX190" fmla="*/ 5576898 w 5737264"/>
              <a:gd name="connsiteY190" fmla="*/ 356716 h 1252696"/>
              <a:gd name="connsiteX191" fmla="*/ 5596995 w 5737264"/>
              <a:gd name="connsiteY191" fmla="*/ 316523 h 1252696"/>
              <a:gd name="connsiteX192" fmla="*/ 5617092 w 5737264"/>
              <a:gd name="connsiteY192" fmla="*/ 246184 h 1252696"/>
              <a:gd name="connsiteX193" fmla="*/ 5622116 w 5737264"/>
              <a:gd name="connsiteY193" fmla="*/ 226088 h 1252696"/>
              <a:gd name="connsiteX194" fmla="*/ 5632164 w 5737264"/>
              <a:gd name="connsiteY194" fmla="*/ 216039 h 1252696"/>
              <a:gd name="connsiteX195" fmla="*/ 5637188 w 5737264"/>
              <a:gd name="connsiteY195" fmla="*/ 200967 h 1252696"/>
              <a:gd name="connsiteX196" fmla="*/ 5651738 w 5737264"/>
              <a:gd name="connsiteY196" fmla="*/ 190395 h 1252696"/>
              <a:gd name="connsiteX197" fmla="*/ 5673692 w 5737264"/>
              <a:gd name="connsiteY197" fmla="*/ 153892 h 1252696"/>
              <a:gd name="connsiteX198" fmla="*/ 5726602 w 5737264"/>
              <a:gd name="connsiteY198" fmla="*/ 89362 h 1252696"/>
              <a:gd name="connsiteX199" fmla="*/ 5728722 w 5737264"/>
              <a:gd name="connsiteY199" fmla="*/ 42287 h 1252696"/>
              <a:gd name="connsiteX200" fmla="*/ 5634284 w 5737264"/>
              <a:gd name="connsiteY200" fmla="*/ 25357 h 1252696"/>
              <a:gd name="connsiteX201" fmla="*/ 5536940 w 5737264"/>
              <a:gd name="connsiteY201" fmla="*/ 27214 h 1252696"/>
              <a:gd name="connsiteX202" fmla="*/ 5470369 w 5737264"/>
              <a:gd name="connsiteY202" fmla="*/ 39381 h 1252696"/>
              <a:gd name="connsiteX203" fmla="*/ 5379124 w 5737264"/>
              <a:gd name="connsiteY203" fmla="*/ 39644 h 1252696"/>
              <a:gd name="connsiteX204" fmla="*/ 5309282 w 5737264"/>
              <a:gd name="connsiteY204" fmla="*/ 42287 h 1252696"/>
              <a:gd name="connsiteX205" fmla="*/ 5238682 w 5737264"/>
              <a:gd name="connsiteY205" fmla="*/ 54455 h 1252696"/>
              <a:gd name="connsiteX206" fmla="*/ 5108892 w 5737264"/>
              <a:gd name="connsiteY206" fmla="*/ 37524 h 1252696"/>
              <a:gd name="connsiteX207" fmla="*/ 5020026 w 5737264"/>
              <a:gd name="connsiteY207" fmla="*/ 39120 h 1252696"/>
              <a:gd name="connsiteX208" fmla="*/ 4946233 w 5737264"/>
              <a:gd name="connsiteY208" fmla="*/ 41240 h 1252696"/>
              <a:gd name="connsiteX209" fmla="*/ 4823272 w 5737264"/>
              <a:gd name="connsiteY209" fmla="*/ 50242 h 1252696"/>
              <a:gd name="connsiteX210" fmla="*/ 4727577 w 5737264"/>
              <a:gd name="connsiteY210" fmla="*/ 29073 h 1252696"/>
              <a:gd name="connsiteX211" fmla="*/ 4628376 w 5737264"/>
              <a:gd name="connsiteY211" fmla="*/ 41240 h 1252696"/>
              <a:gd name="connsiteX212" fmla="*/ 4565180 w 5737264"/>
              <a:gd name="connsiteY212" fmla="*/ 46264 h 1252696"/>
              <a:gd name="connsiteX213" fmla="*/ 4417596 w 5737264"/>
              <a:gd name="connsiteY213" fmla="*/ 44406 h 1252696"/>
              <a:gd name="connsiteX214" fmla="*/ 4139984 w 5737264"/>
              <a:gd name="connsiteY214" fmla="*/ 60290 h 1252696"/>
              <a:gd name="connsiteX215" fmla="*/ 3918920 w 5737264"/>
              <a:gd name="connsiteY215" fmla="*/ 50242 h 1252696"/>
              <a:gd name="connsiteX216" fmla="*/ 3873703 w 5737264"/>
              <a:gd name="connsiteY216" fmla="*/ 45217 h 1252696"/>
              <a:gd name="connsiteX217" fmla="*/ 3687808 w 5737264"/>
              <a:gd name="connsiteY217" fmla="*/ 40193 h 1252696"/>
              <a:gd name="connsiteX218" fmla="*/ 3662687 w 5737264"/>
              <a:gd name="connsiteY218" fmla="*/ 35169 h 1252696"/>
              <a:gd name="connsiteX219" fmla="*/ 3627518 w 5737264"/>
              <a:gd name="connsiteY219" fmla="*/ 25121 h 1252696"/>
              <a:gd name="connsiteX220" fmla="*/ 3547131 w 5737264"/>
              <a:gd name="connsiteY220" fmla="*/ 20097 h 1252696"/>
              <a:gd name="connsiteX221" fmla="*/ 3310995 w 5737264"/>
              <a:gd name="connsiteY221" fmla="*/ 25121 h 1252696"/>
              <a:gd name="connsiteX222" fmla="*/ 3265777 w 5737264"/>
              <a:gd name="connsiteY222" fmla="*/ 30145 h 1252696"/>
              <a:gd name="connsiteX223" fmla="*/ 3175342 w 5737264"/>
              <a:gd name="connsiteY223" fmla="*/ 35169 h 1252696"/>
              <a:gd name="connsiteX224" fmla="*/ 2582489 w 5737264"/>
              <a:gd name="connsiteY224" fmla="*/ 45217 h 1252696"/>
              <a:gd name="connsiteX225" fmla="*/ 2255918 w 5737264"/>
              <a:gd name="connsiteY225" fmla="*/ 40193 h 1252696"/>
              <a:gd name="connsiteX226" fmla="*/ 1974564 w 5737264"/>
              <a:gd name="connsiteY226" fmla="*/ 30145 h 1252696"/>
              <a:gd name="connsiteX227" fmla="*/ 1944419 w 5737264"/>
              <a:gd name="connsiteY227" fmla="*/ 25121 h 1252696"/>
              <a:gd name="connsiteX228" fmla="*/ 1848960 w 5737264"/>
              <a:gd name="connsiteY228" fmla="*/ 20097 h 1252696"/>
              <a:gd name="connsiteX229" fmla="*/ 1768573 w 5737264"/>
              <a:gd name="connsiteY229" fmla="*/ 10048 h 1252696"/>
              <a:gd name="connsiteX230" fmla="*/ 1502292 w 5737264"/>
              <a:gd name="connsiteY230" fmla="*/ 20097 h 1252696"/>
              <a:gd name="connsiteX231" fmla="*/ 1467122 w 5737264"/>
              <a:gd name="connsiteY231" fmla="*/ 25121 h 1252696"/>
              <a:gd name="connsiteX232" fmla="*/ 1426929 w 5737264"/>
              <a:gd name="connsiteY232" fmla="*/ 30145 h 1252696"/>
              <a:gd name="connsiteX233" fmla="*/ 1341518 w 5737264"/>
              <a:gd name="connsiteY233" fmla="*/ 45217 h 1252696"/>
              <a:gd name="connsiteX234" fmla="*/ 1095333 w 5737264"/>
              <a:gd name="connsiteY234" fmla="*/ 35169 h 1252696"/>
              <a:gd name="connsiteX235" fmla="*/ 979777 w 5737264"/>
              <a:gd name="connsiteY235" fmla="*/ 20097 h 1252696"/>
              <a:gd name="connsiteX236" fmla="*/ 939584 w 5737264"/>
              <a:gd name="connsiteY236" fmla="*/ 10048 h 1252696"/>
              <a:gd name="connsiteX237" fmla="*/ 813980 w 5737264"/>
              <a:gd name="connsiteY237" fmla="*/ 0 h 1252696"/>
              <a:gd name="connsiteX238" fmla="*/ 743641 w 5737264"/>
              <a:gd name="connsiteY238" fmla="*/ 5024 h 1252696"/>
              <a:gd name="connsiteX239" fmla="*/ 582867 w 5737264"/>
              <a:gd name="connsiteY239" fmla="*/ 15072 h 1252696"/>
              <a:gd name="connsiteX240" fmla="*/ 432142 w 5737264"/>
              <a:gd name="connsiteY240" fmla="*/ 5024 h 1252696"/>
              <a:gd name="connsiteX241" fmla="*/ 412046 w 5737264"/>
              <a:gd name="connsiteY241" fmla="*/ 0 h 1252696"/>
              <a:gd name="connsiteX242" fmla="*/ 281417 w 5737264"/>
              <a:gd name="connsiteY242" fmla="*/ 10048 h 1252696"/>
              <a:gd name="connsiteX243" fmla="*/ 261320 w 5737264"/>
              <a:gd name="connsiteY243" fmla="*/ 15072 h 1252696"/>
              <a:gd name="connsiteX244" fmla="*/ 100547 w 5737264"/>
              <a:gd name="connsiteY244" fmla="*/ 20097 h 1252696"/>
              <a:gd name="connsiteX245" fmla="*/ 5087 w 5737264"/>
              <a:gd name="connsiteY245"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45281 w 5737264"/>
              <a:gd name="connsiteY6" fmla="*/ 864158 h 1252696"/>
              <a:gd name="connsiteX7" fmla="*/ 16182 w 5737264"/>
              <a:gd name="connsiteY7" fmla="*/ 1008786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48718 h 1252696"/>
              <a:gd name="connsiteX89" fmla="*/ 2233964 w 5737264"/>
              <a:gd name="connsiteY89" fmla="*/ 1018311 h 1252696"/>
              <a:gd name="connsiteX90" fmla="*/ 2301136 w 5737264"/>
              <a:gd name="connsiteY90" fmla="*/ 994787 h 1252696"/>
              <a:gd name="connsiteX91" fmla="*/ 2316208 w 5737264"/>
              <a:gd name="connsiteY91" fmla="*/ 989763 h 1252696"/>
              <a:gd name="connsiteX92" fmla="*/ 2405309 w 5737264"/>
              <a:gd name="connsiteY92" fmla="*/ 999288 h 1252696"/>
              <a:gd name="connsiteX93" fmla="*/ 2461909 w 5737264"/>
              <a:gd name="connsiteY93" fmla="*/ 1024932 h 1252696"/>
              <a:gd name="connsiteX94" fmla="*/ 2476982 w 5737264"/>
              <a:gd name="connsiteY94" fmla="*/ 1029956 h 1252696"/>
              <a:gd name="connsiteX95" fmla="*/ 2487030 w 5737264"/>
              <a:gd name="connsiteY95" fmla="*/ 1045028 h 1252696"/>
              <a:gd name="connsiteX96" fmla="*/ 2497078 w 5737264"/>
              <a:gd name="connsiteY96" fmla="*/ 1055077 h 1252696"/>
              <a:gd name="connsiteX97" fmla="*/ 2532248 w 5737264"/>
              <a:gd name="connsiteY97" fmla="*/ 1095270 h 1252696"/>
              <a:gd name="connsiteX98" fmla="*/ 2567417 w 5737264"/>
              <a:gd name="connsiteY98" fmla="*/ 1135464 h 1252696"/>
              <a:gd name="connsiteX99" fmla="*/ 2582489 w 5737264"/>
              <a:gd name="connsiteY99" fmla="*/ 1145512 h 1252696"/>
              <a:gd name="connsiteX100" fmla="*/ 2622683 w 5737264"/>
              <a:gd name="connsiteY100" fmla="*/ 1170633 h 1252696"/>
              <a:gd name="connsiteX101" fmla="*/ 2657852 w 5737264"/>
              <a:gd name="connsiteY101" fmla="*/ 1160584 h 1252696"/>
              <a:gd name="connsiteX102" fmla="*/ 2682973 w 5737264"/>
              <a:gd name="connsiteY102" fmla="*/ 1145512 h 1252696"/>
              <a:gd name="connsiteX103" fmla="*/ 2713118 w 5737264"/>
              <a:gd name="connsiteY103" fmla="*/ 1130439 h 1252696"/>
              <a:gd name="connsiteX104" fmla="*/ 2728191 w 5737264"/>
              <a:gd name="connsiteY104" fmla="*/ 1120391 h 1252696"/>
              <a:gd name="connsiteX105" fmla="*/ 2748287 w 5737264"/>
              <a:gd name="connsiteY105" fmla="*/ 1115367 h 1252696"/>
              <a:gd name="connsiteX106" fmla="*/ 2778432 w 5737264"/>
              <a:gd name="connsiteY106" fmla="*/ 1105319 h 1252696"/>
              <a:gd name="connsiteX107" fmla="*/ 2845055 w 5737264"/>
              <a:gd name="connsiteY107" fmla="*/ 1077554 h 1252696"/>
              <a:gd name="connsiteX108" fmla="*/ 2884463 w 5737264"/>
              <a:gd name="connsiteY108" fmla="*/ 1077292 h 1252696"/>
              <a:gd name="connsiteX109" fmla="*/ 2921490 w 5737264"/>
              <a:gd name="connsiteY109" fmla="*/ 1087079 h 1252696"/>
              <a:gd name="connsiteX110" fmla="*/ 2959303 w 5737264"/>
              <a:gd name="connsiteY110" fmla="*/ 1125415 h 1252696"/>
              <a:gd name="connsiteX111" fmla="*/ 2979399 w 5737264"/>
              <a:gd name="connsiteY111" fmla="*/ 1155560 h 1252696"/>
              <a:gd name="connsiteX112" fmla="*/ 2997900 w 5737264"/>
              <a:gd name="connsiteY112" fmla="*/ 1187825 h 1252696"/>
              <a:gd name="connsiteX113" fmla="*/ 3038878 w 5737264"/>
              <a:gd name="connsiteY113" fmla="*/ 1222994 h 1252696"/>
              <a:gd name="connsiteX114" fmla="*/ 3076168 w 5737264"/>
              <a:gd name="connsiteY114" fmla="*/ 1252354 h 1252696"/>
              <a:gd name="connsiteX115" fmla="*/ 3130125 w 5737264"/>
              <a:gd name="connsiteY115" fmla="*/ 1240971 h 1252696"/>
              <a:gd name="connsiteX116" fmla="*/ 3177985 w 5737264"/>
              <a:gd name="connsiteY116" fmla="*/ 1207372 h 1252696"/>
              <a:gd name="connsiteX117" fmla="*/ 3229535 w 5737264"/>
              <a:gd name="connsiteY117" fmla="*/ 1178561 h 1252696"/>
              <a:gd name="connsiteX118" fmla="*/ 3281634 w 5737264"/>
              <a:gd name="connsiteY118" fmla="*/ 1153440 h 1252696"/>
              <a:gd name="connsiteX119" fmla="*/ 3310995 w 5737264"/>
              <a:gd name="connsiteY119" fmla="*/ 1145512 h 1252696"/>
              <a:gd name="connsiteX120" fmla="*/ 3351188 w 5737264"/>
              <a:gd name="connsiteY120" fmla="*/ 1140488 h 1252696"/>
              <a:gd name="connsiteX121" fmla="*/ 3406454 w 5737264"/>
              <a:gd name="connsiteY121" fmla="*/ 1155560 h 1252696"/>
              <a:gd name="connsiteX122" fmla="*/ 3426551 w 5737264"/>
              <a:gd name="connsiteY122" fmla="*/ 1165609 h 1252696"/>
              <a:gd name="connsiteX123" fmla="*/ 3441624 w 5737264"/>
              <a:gd name="connsiteY123" fmla="*/ 1175657 h 1252696"/>
              <a:gd name="connsiteX124" fmla="*/ 3456696 w 5737264"/>
              <a:gd name="connsiteY124" fmla="*/ 1180681 h 1252696"/>
              <a:gd name="connsiteX125" fmla="*/ 3466744 w 5737264"/>
              <a:gd name="connsiteY125" fmla="*/ 1195754 h 1252696"/>
              <a:gd name="connsiteX126" fmla="*/ 3527035 w 5737264"/>
              <a:gd name="connsiteY126" fmla="*/ 1200778 h 1252696"/>
              <a:gd name="connsiteX127" fmla="*/ 3542107 w 5737264"/>
              <a:gd name="connsiteY127" fmla="*/ 1190730 h 1252696"/>
              <a:gd name="connsiteX128" fmla="*/ 3567228 w 5737264"/>
              <a:gd name="connsiteY128" fmla="*/ 1180681 h 1252696"/>
              <a:gd name="connsiteX129" fmla="*/ 3587325 w 5737264"/>
              <a:gd name="connsiteY129" fmla="*/ 1150536 h 1252696"/>
              <a:gd name="connsiteX130" fmla="*/ 3617470 w 5737264"/>
              <a:gd name="connsiteY130" fmla="*/ 1125415 h 1252696"/>
              <a:gd name="connsiteX131" fmla="*/ 3632542 w 5737264"/>
              <a:gd name="connsiteY131" fmla="*/ 1105319 h 1252696"/>
              <a:gd name="connsiteX132" fmla="*/ 3662687 w 5737264"/>
              <a:gd name="connsiteY132" fmla="*/ 1085222 h 1252696"/>
              <a:gd name="connsiteX133" fmla="*/ 3697856 w 5737264"/>
              <a:gd name="connsiteY133" fmla="*/ 1070149 h 1252696"/>
              <a:gd name="connsiteX134" fmla="*/ 3707905 w 5737264"/>
              <a:gd name="connsiteY134" fmla="*/ 1060101 h 1252696"/>
              <a:gd name="connsiteX135" fmla="*/ 3743074 w 5737264"/>
              <a:gd name="connsiteY135" fmla="*/ 1047148 h 1252696"/>
              <a:gd name="connsiteX136" fmla="*/ 3799125 w 5737264"/>
              <a:gd name="connsiteY136" fmla="*/ 1043982 h 1252696"/>
              <a:gd name="connsiteX137" fmla="*/ 3859651 w 5737264"/>
              <a:gd name="connsiteY137" fmla="*/ 1072033 h 1252696"/>
              <a:gd name="connsiteX138" fmla="*/ 3902226 w 5737264"/>
              <a:gd name="connsiteY138" fmla="*/ 1101367 h 1252696"/>
              <a:gd name="connsiteX139" fmla="*/ 3958041 w 5737264"/>
              <a:gd name="connsiteY139" fmla="*/ 1142346 h 1252696"/>
              <a:gd name="connsiteX140" fmla="*/ 4019404 w 5737264"/>
              <a:gd name="connsiteY140" fmla="*/ 1165609 h 1252696"/>
              <a:gd name="connsiteX141" fmla="*/ 4064621 w 5737264"/>
              <a:gd name="connsiteY141" fmla="*/ 1150536 h 1252696"/>
              <a:gd name="connsiteX142" fmla="*/ 4079694 w 5737264"/>
              <a:gd name="connsiteY142" fmla="*/ 1125415 h 1252696"/>
              <a:gd name="connsiteX143" fmla="*/ 4099791 w 5737264"/>
              <a:gd name="connsiteY143" fmla="*/ 1105319 h 1252696"/>
              <a:gd name="connsiteX144" fmla="*/ 4129936 w 5737264"/>
              <a:gd name="connsiteY144" fmla="*/ 1075173 h 1252696"/>
              <a:gd name="connsiteX145" fmla="*/ 4150032 w 5737264"/>
              <a:gd name="connsiteY145" fmla="*/ 1040004 h 1252696"/>
              <a:gd name="connsiteX146" fmla="*/ 4160081 w 5737264"/>
              <a:gd name="connsiteY146" fmla="*/ 1019908 h 1252696"/>
              <a:gd name="connsiteX147" fmla="*/ 4165105 w 5737264"/>
              <a:gd name="connsiteY147" fmla="*/ 1004835 h 1252696"/>
              <a:gd name="connsiteX148" fmla="*/ 4185202 w 5737264"/>
              <a:gd name="connsiteY148" fmla="*/ 984738 h 1252696"/>
              <a:gd name="connsiteX149" fmla="*/ 4200274 w 5737264"/>
              <a:gd name="connsiteY149" fmla="*/ 979714 h 1252696"/>
              <a:gd name="connsiteX150" fmla="*/ 4235443 w 5737264"/>
              <a:gd name="connsiteY150" fmla="*/ 954593 h 1252696"/>
              <a:gd name="connsiteX151" fmla="*/ 4275637 w 5737264"/>
              <a:gd name="connsiteY151" fmla="*/ 934497 h 1252696"/>
              <a:gd name="connsiteX152" fmla="*/ 4310806 w 5737264"/>
              <a:gd name="connsiteY152" fmla="*/ 914400 h 1252696"/>
              <a:gd name="connsiteX153" fmla="*/ 4325878 w 5737264"/>
              <a:gd name="connsiteY153" fmla="*/ 904352 h 1252696"/>
              <a:gd name="connsiteX154" fmla="*/ 4362094 w 5737264"/>
              <a:gd name="connsiteY154" fmla="*/ 909114 h 1252696"/>
              <a:gd name="connsiteX155" fmla="*/ 4417099 w 5737264"/>
              <a:gd name="connsiteY155" fmla="*/ 946141 h 1252696"/>
              <a:gd name="connsiteX156" fmla="*/ 4462316 w 5737264"/>
              <a:gd name="connsiteY156" fmla="*/ 1006955 h 1252696"/>
              <a:gd name="connsiteX157" fmla="*/ 4531320 w 5737264"/>
              <a:gd name="connsiteY157" fmla="*/ 1037650 h 1252696"/>
              <a:gd name="connsiteX158" fmla="*/ 4597184 w 5737264"/>
              <a:gd name="connsiteY158" fmla="*/ 969666 h 1252696"/>
              <a:gd name="connsiteX159" fmla="*/ 4617281 w 5737264"/>
              <a:gd name="connsiteY159" fmla="*/ 959617 h 1252696"/>
              <a:gd name="connsiteX160" fmla="*/ 4632353 w 5737264"/>
              <a:gd name="connsiteY160" fmla="*/ 944545 h 1252696"/>
              <a:gd name="connsiteX161" fmla="*/ 4652450 w 5737264"/>
              <a:gd name="connsiteY161" fmla="*/ 934497 h 1252696"/>
              <a:gd name="connsiteX162" fmla="*/ 4672547 w 5737264"/>
              <a:gd name="connsiteY162" fmla="*/ 919424 h 1252696"/>
              <a:gd name="connsiteX163" fmla="*/ 4737861 w 5737264"/>
              <a:gd name="connsiteY163" fmla="*/ 884255 h 1252696"/>
              <a:gd name="connsiteX164" fmla="*/ 4762982 w 5737264"/>
              <a:gd name="connsiteY164" fmla="*/ 879231 h 1252696"/>
              <a:gd name="connsiteX165" fmla="*/ 4778054 w 5737264"/>
              <a:gd name="connsiteY165" fmla="*/ 874206 h 1252696"/>
              <a:gd name="connsiteX166" fmla="*/ 4819294 w 5737264"/>
              <a:gd name="connsiteY166" fmla="*/ 873944 h 1252696"/>
              <a:gd name="connsiteX167" fmla="*/ 4877465 w 5737264"/>
              <a:gd name="connsiteY167" fmla="*/ 895638 h 1252696"/>
              <a:gd name="connsiteX168" fmla="*/ 4935347 w 5737264"/>
              <a:gd name="connsiteY168" fmla="*/ 934523 h 1252696"/>
              <a:gd name="connsiteX169" fmla="*/ 4995402 w 5737264"/>
              <a:gd name="connsiteY169" fmla="*/ 1006746 h 1252696"/>
              <a:gd name="connsiteX170" fmla="*/ 5024762 w 5737264"/>
              <a:gd name="connsiteY170" fmla="*/ 1051963 h 1252696"/>
              <a:gd name="connsiteX171" fmla="*/ 5092223 w 5737264"/>
              <a:gd name="connsiteY171" fmla="*/ 1016506 h 1252696"/>
              <a:gd name="connsiteX172" fmla="*/ 5144322 w 5737264"/>
              <a:gd name="connsiteY172" fmla="*/ 948261 h 1252696"/>
              <a:gd name="connsiteX173" fmla="*/ 5189252 w 5737264"/>
              <a:gd name="connsiteY173" fmla="*/ 886112 h 1252696"/>
              <a:gd name="connsiteX174" fmla="*/ 5226279 w 5737264"/>
              <a:gd name="connsiteY174" fmla="*/ 856230 h 1252696"/>
              <a:gd name="connsiteX175" fmla="*/ 5260637 w 5737264"/>
              <a:gd name="connsiteY175" fmla="*/ 822918 h 1252696"/>
              <a:gd name="connsiteX176" fmla="*/ 5295282 w 5737264"/>
              <a:gd name="connsiteY176" fmla="*/ 800440 h 1252696"/>
              <a:gd name="connsiteX177" fmla="*/ 5334430 w 5737264"/>
              <a:gd name="connsiteY177" fmla="*/ 794893 h 1252696"/>
              <a:gd name="connsiteX178" fmla="*/ 5412174 w 5737264"/>
              <a:gd name="connsiteY178" fmla="*/ 824252 h 1252696"/>
              <a:gd name="connsiteX179" fmla="*/ 5431197 w 5737264"/>
              <a:gd name="connsiteY179" fmla="*/ 768699 h 1252696"/>
              <a:gd name="connsiteX180" fmla="*/ 5441246 w 5737264"/>
              <a:gd name="connsiteY180" fmla="*/ 753626 h 1252696"/>
              <a:gd name="connsiteX181" fmla="*/ 5456318 w 5737264"/>
              <a:gd name="connsiteY181" fmla="*/ 708409 h 1252696"/>
              <a:gd name="connsiteX182" fmla="*/ 5466366 w 5737264"/>
              <a:gd name="connsiteY182" fmla="*/ 683288 h 1252696"/>
              <a:gd name="connsiteX183" fmla="*/ 5476415 w 5737264"/>
              <a:gd name="connsiteY183" fmla="*/ 643094 h 1252696"/>
              <a:gd name="connsiteX184" fmla="*/ 5491487 w 5737264"/>
              <a:gd name="connsiteY184" fmla="*/ 617973 h 1252696"/>
              <a:gd name="connsiteX185" fmla="*/ 5506560 w 5737264"/>
              <a:gd name="connsiteY185" fmla="*/ 572756 h 1252696"/>
              <a:gd name="connsiteX186" fmla="*/ 5526656 w 5737264"/>
              <a:gd name="connsiteY186" fmla="*/ 522514 h 1252696"/>
              <a:gd name="connsiteX187" fmla="*/ 5546753 w 5737264"/>
              <a:gd name="connsiteY187" fmla="*/ 467248 h 1252696"/>
              <a:gd name="connsiteX188" fmla="*/ 5556802 w 5737264"/>
              <a:gd name="connsiteY188" fmla="*/ 411982 h 1252696"/>
              <a:gd name="connsiteX189" fmla="*/ 5566850 w 5737264"/>
              <a:gd name="connsiteY189" fmla="*/ 381837 h 1252696"/>
              <a:gd name="connsiteX190" fmla="*/ 5576898 w 5737264"/>
              <a:gd name="connsiteY190" fmla="*/ 356716 h 1252696"/>
              <a:gd name="connsiteX191" fmla="*/ 5596995 w 5737264"/>
              <a:gd name="connsiteY191" fmla="*/ 316523 h 1252696"/>
              <a:gd name="connsiteX192" fmla="*/ 5617092 w 5737264"/>
              <a:gd name="connsiteY192" fmla="*/ 246184 h 1252696"/>
              <a:gd name="connsiteX193" fmla="*/ 5622116 w 5737264"/>
              <a:gd name="connsiteY193" fmla="*/ 226088 h 1252696"/>
              <a:gd name="connsiteX194" fmla="*/ 5632164 w 5737264"/>
              <a:gd name="connsiteY194" fmla="*/ 216039 h 1252696"/>
              <a:gd name="connsiteX195" fmla="*/ 5637188 w 5737264"/>
              <a:gd name="connsiteY195" fmla="*/ 200967 h 1252696"/>
              <a:gd name="connsiteX196" fmla="*/ 5651738 w 5737264"/>
              <a:gd name="connsiteY196" fmla="*/ 190395 h 1252696"/>
              <a:gd name="connsiteX197" fmla="*/ 5673692 w 5737264"/>
              <a:gd name="connsiteY197" fmla="*/ 153892 h 1252696"/>
              <a:gd name="connsiteX198" fmla="*/ 5726602 w 5737264"/>
              <a:gd name="connsiteY198" fmla="*/ 89362 h 1252696"/>
              <a:gd name="connsiteX199" fmla="*/ 5728722 w 5737264"/>
              <a:gd name="connsiteY199" fmla="*/ 42287 h 1252696"/>
              <a:gd name="connsiteX200" fmla="*/ 5634284 w 5737264"/>
              <a:gd name="connsiteY200" fmla="*/ 25357 h 1252696"/>
              <a:gd name="connsiteX201" fmla="*/ 5536940 w 5737264"/>
              <a:gd name="connsiteY201" fmla="*/ 27214 h 1252696"/>
              <a:gd name="connsiteX202" fmla="*/ 5470369 w 5737264"/>
              <a:gd name="connsiteY202" fmla="*/ 39381 h 1252696"/>
              <a:gd name="connsiteX203" fmla="*/ 5379124 w 5737264"/>
              <a:gd name="connsiteY203" fmla="*/ 39644 h 1252696"/>
              <a:gd name="connsiteX204" fmla="*/ 5309282 w 5737264"/>
              <a:gd name="connsiteY204" fmla="*/ 42287 h 1252696"/>
              <a:gd name="connsiteX205" fmla="*/ 5238682 w 5737264"/>
              <a:gd name="connsiteY205" fmla="*/ 54455 h 1252696"/>
              <a:gd name="connsiteX206" fmla="*/ 5108892 w 5737264"/>
              <a:gd name="connsiteY206" fmla="*/ 37524 h 1252696"/>
              <a:gd name="connsiteX207" fmla="*/ 5020026 w 5737264"/>
              <a:gd name="connsiteY207" fmla="*/ 39120 h 1252696"/>
              <a:gd name="connsiteX208" fmla="*/ 4946233 w 5737264"/>
              <a:gd name="connsiteY208" fmla="*/ 41240 h 1252696"/>
              <a:gd name="connsiteX209" fmla="*/ 4823272 w 5737264"/>
              <a:gd name="connsiteY209" fmla="*/ 50242 h 1252696"/>
              <a:gd name="connsiteX210" fmla="*/ 4727577 w 5737264"/>
              <a:gd name="connsiteY210" fmla="*/ 29073 h 1252696"/>
              <a:gd name="connsiteX211" fmla="*/ 4628376 w 5737264"/>
              <a:gd name="connsiteY211" fmla="*/ 41240 h 1252696"/>
              <a:gd name="connsiteX212" fmla="*/ 4565180 w 5737264"/>
              <a:gd name="connsiteY212" fmla="*/ 46264 h 1252696"/>
              <a:gd name="connsiteX213" fmla="*/ 4417596 w 5737264"/>
              <a:gd name="connsiteY213" fmla="*/ 44406 h 1252696"/>
              <a:gd name="connsiteX214" fmla="*/ 4139984 w 5737264"/>
              <a:gd name="connsiteY214" fmla="*/ 60290 h 1252696"/>
              <a:gd name="connsiteX215" fmla="*/ 3918920 w 5737264"/>
              <a:gd name="connsiteY215" fmla="*/ 50242 h 1252696"/>
              <a:gd name="connsiteX216" fmla="*/ 3873703 w 5737264"/>
              <a:gd name="connsiteY216" fmla="*/ 45217 h 1252696"/>
              <a:gd name="connsiteX217" fmla="*/ 3687808 w 5737264"/>
              <a:gd name="connsiteY217" fmla="*/ 40193 h 1252696"/>
              <a:gd name="connsiteX218" fmla="*/ 3662687 w 5737264"/>
              <a:gd name="connsiteY218" fmla="*/ 35169 h 1252696"/>
              <a:gd name="connsiteX219" fmla="*/ 3627518 w 5737264"/>
              <a:gd name="connsiteY219" fmla="*/ 25121 h 1252696"/>
              <a:gd name="connsiteX220" fmla="*/ 3547131 w 5737264"/>
              <a:gd name="connsiteY220" fmla="*/ 20097 h 1252696"/>
              <a:gd name="connsiteX221" fmla="*/ 3310995 w 5737264"/>
              <a:gd name="connsiteY221" fmla="*/ 25121 h 1252696"/>
              <a:gd name="connsiteX222" fmla="*/ 3265777 w 5737264"/>
              <a:gd name="connsiteY222" fmla="*/ 30145 h 1252696"/>
              <a:gd name="connsiteX223" fmla="*/ 3175342 w 5737264"/>
              <a:gd name="connsiteY223" fmla="*/ 35169 h 1252696"/>
              <a:gd name="connsiteX224" fmla="*/ 2582489 w 5737264"/>
              <a:gd name="connsiteY224" fmla="*/ 45217 h 1252696"/>
              <a:gd name="connsiteX225" fmla="*/ 2255918 w 5737264"/>
              <a:gd name="connsiteY225" fmla="*/ 40193 h 1252696"/>
              <a:gd name="connsiteX226" fmla="*/ 1974564 w 5737264"/>
              <a:gd name="connsiteY226" fmla="*/ 30145 h 1252696"/>
              <a:gd name="connsiteX227" fmla="*/ 1944419 w 5737264"/>
              <a:gd name="connsiteY227" fmla="*/ 25121 h 1252696"/>
              <a:gd name="connsiteX228" fmla="*/ 1848960 w 5737264"/>
              <a:gd name="connsiteY228" fmla="*/ 20097 h 1252696"/>
              <a:gd name="connsiteX229" fmla="*/ 1768573 w 5737264"/>
              <a:gd name="connsiteY229" fmla="*/ 10048 h 1252696"/>
              <a:gd name="connsiteX230" fmla="*/ 1502292 w 5737264"/>
              <a:gd name="connsiteY230" fmla="*/ 20097 h 1252696"/>
              <a:gd name="connsiteX231" fmla="*/ 1467122 w 5737264"/>
              <a:gd name="connsiteY231" fmla="*/ 25121 h 1252696"/>
              <a:gd name="connsiteX232" fmla="*/ 1426929 w 5737264"/>
              <a:gd name="connsiteY232" fmla="*/ 30145 h 1252696"/>
              <a:gd name="connsiteX233" fmla="*/ 1341518 w 5737264"/>
              <a:gd name="connsiteY233" fmla="*/ 45217 h 1252696"/>
              <a:gd name="connsiteX234" fmla="*/ 1095333 w 5737264"/>
              <a:gd name="connsiteY234" fmla="*/ 35169 h 1252696"/>
              <a:gd name="connsiteX235" fmla="*/ 979777 w 5737264"/>
              <a:gd name="connsiteY235" fmla="*/ 20097 h 1252696"/>
              <a:gd name="connsiteX236" fmla="*/ 939584 w 5737264"/>
              <a:gd name="connsiteY236" fmla="*/ 10048 h 1252696"/>
              <a:gd name="connsiteX237" fmla="*/ 813980 w 5737264"/>
              <a:gd name="connsiteY237" fmla="*/ 0 h 1252696"/>
              <a:gd name="connsiteX238" fmla="*/ 743641 w 5737264"/>
              <a:gd name="connsiteY238" fmla="*/ 5024 h 1252696"/>
              <a:gd name="connsiteX239" fmla="*/ 582867 w 5737264"/>
              <a:gd name="connsiteY239" fmla="*/ 15072 h 1252696"/>
              <a:gd name="connsiteX240" fmla="*/ 432142 w 5737264"/>
              <a:gd name="connsiteY240" fmla="*/ 5024 h 1252696"/>
              <a:gd name="connsiteX241" fmla="*/ 412046 w 5737264"/>
              <a:gd name="connsiteY241" fmla="*/ 0 h 1252696"/>
              <a:gd name="connsiteX242" fmla="*/ 281417 w 5737264"/>
              <a:gd name="connsiteY242" fmla="*/ 10048 h 1252696"/>
              <a:gd name="connsiteX243" fmla="*/ 261320 w 5737264"/>
              <a:gd name="connsiteY243" fmla="*/ 15072 h 1252696"/>
              <a:gd name="connsiteX244" fmla="*/ 100547 w 5737264"/>
              <a:gd name="connsiteY244" fmla="*/ 20097 h 1252696"/>
              <a:gd name="connsiteX245" fmla="*/ 5087 w 5737264"/>
              <a:gd name="connsiteY245"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40256 w 5737264"/>
              <a:gd name="connsiteY5" fmla="*/ 783771 h 1252696"/>
              <a:gd name="connsiteX6" fmla="*/ 16706 w 5737264"/>
              <a:gd name="connsiteY6" fmla="*/ 852252 h 1252696"/>
              <a:gd name="connsiteX7" fmla="*/ 16182 w 5737264"/>
              <a:gd name="connsiteY7" fmla="*/ 1008786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48718 h 1252696"/>
              <a:gd name="connsiteX89" fmla="*/ 2233964 w 5737264"/>
              <a:gd name="connsiteY89" fmla="*/ 1018311 h 1252696"/>
              <a:gd name="connsiteX90" fmla="*/ 2301136 w 5737264"/>
              <a:gd name="connsiteY90" fmla="*/ 994787 h 1252696"/>
              <a:gd name="connsiteX91" fmla="*/ 2316208 w 5737264"/>
              <a:gd name="connsiteY91" fmla="*/ 989763 h 1252696"/>
              <a:gd name="connsiteX92" fmla="*/ 2405309 w 5737264"/>
              <a:gd name="connsiteY92" fmla="*/ 999288 h 1252696"/>
              <a:gd name="connsiteX93" fmla="*/ 2461909 w 5737264"/>
              <a:gd name="connsiteY93" fmla="*/ 1024932 h 1252696"/>
              <a:gd name="connsiteX94" fmla="*/ 2476982 w 5737264"/>
              <a:gd name="connsiteY94" fmla="*/ 1029956 h 1252696"/>
              <a:gd name="connsiteX95" fmla="*/ 2487030 w 5737264"/>
              <a:gd name="connsiteY95" fmla="*/ 1045028 h 1252696"/>
              <a:gd name="connsiteX96" fmla="*/ 2497078 w 5737264"/>
              <a:gd name="connsiteY96" fmla="*/ 1055077 h 1252696"/>
              <a:gd name="connsiteX97" fmla="*/ 2532248 w 5737264"/>
              <a:gd name="connsiteY97" fmla="*/ 1095270 h 1252696"/>
              <a:gd name="connsiteX98" fmla="*/ 2567417 w 5737264"/>
              <a:gd name="connsiteY98" fmla="*/ 1135464 h 1252696"/>
              <a:gd name="connsiteX99" fmla="*/ 2582489 w 5737264"/>
              <a:gd name="connsiteY99" fmla="*/ 1145512 h 1252696"/>
              <a:gd name="connsiteX100" fmla="*/ 2622683 w 5737264"/>
              <a:gd name="connsiteY100" fmla="*/ 1170633 h 1252696"/>
              <a:gd name="connsiteX101" fmla="*/ 2657852 w 5737264"/>
              <a:gd name="connsiteY101" fmla="*/ 1160584 h 1252696"/>
              <a:gd name="connsiteX102" fmla="*/ 2682973 w 5737264"/>
              <a:gd name="connsiteY102" fmla="*/ 1145512 h 1252696"/>
              <a:gd name="connsiteX103" fmla="*/ 2713118 w 5737264"/>
              <a:gd name="connsiteY103" fmla="*/ 1130439 h 1252696"/>
              <a:gd name="connsiteX104" fmla="*/ 2728191 w 5737264"/>
              <a:gd name="connsiteY104" fmla="*/ 1120391 h 1252696"/>
              <a:gd name="connsiteX105" fmla="*/ 2748287 w 5737264"/>
              <a:gd name="connsiteY105" fmla="*/ 1115367 h 1252696"/>
              <a:gd name="connsiteX106" fmla="*/ 2778432 w 5737264"/>
              <a:gd name="connsiteY106" fmla="*/ 1105319 h 1252696"/>
              <a:gd name="connsiteX107" fmla="*/ 2845055 w 5737264"/>
              <a:gd name="connsiteY107" fmla="*/ 1077554 h 1252696"/>
              <a:gd name="connsiteX108" fmla="*/ 2884463 w 5737264"/>
              <a:gd name="connsiteY108" fmla="*/ 1077292 h 1252696"/>
              <a:gd name="connsiteX109" fmla="*/ 2921490 w 5737264"/>
              <a:gd name="connsiteY109" fmla="*/ 1087079 h 1252696"/>
              <a:gd name="connsiteX110" fmla="*/ 2959303 w 5737264"/>
              <a:gd name="connsiteY110" fmla="*/ 1125415 h 1252696"/>
              <a:gd name="connsiteX111" fmla="*/ 2979399 w 5737264"/>
              <a:gd name="connsiteY111" fmla="*/ 1155560 h 1252696"/>
              <a:gd name="connsiteX112" fmla="*/ 2997900 w 5737264"/>
              <a:gd name="connsiteY112" fmla="*/ 1187825 h 1252696"/>
              <a:gd name="connsiteX113" fmla="*/ 3038878 w 5737264"/>
              <a:gd name="connsiteY113" fmla="*/ 1222994 h 1252696"/>
              <a:gd name="connsiteX114" fmla="*/ 3076168 w 5737264"/>
              <a:gd name="connsiteY114" fmla="*/ 1252354 h 1252696"/>
              <a:gd name="connsiteX115" fmla="*/ 3130125 w 5737264"/>
              <a:gd name="connsiteY115" fmla="*/ 1240971 h 1252696"/>
              <a:gd name="connsiteX116" fmla="*/ 3177985 w 5737264"/>
              <a:gd name="connsiteY116" fmla="*/ 1207372 h 1252696"/>
              <a:gd name="connsiteX117" fmla="*/ 3229535 w 5737264"/>
              <a:gd name="connsiteY117" fmla="*/ 1178561 h 1252696"/>
              <a:gd name="connsiteX118" fmla="*/ 3281634 w 5737264"/>
              <a:gd name="connsiteY118" fmla="*/ 1153440 h 1252696"/>
              <a:gd name="connsiteX119" fmla="*/ 3310995 w 5737264"/>
              <a:gd name="connsiteY119" fmla="*/ 1145512 h 1252696"/>
              <a:gd name="connsiteX120" fmla="*/ 3351188 w 5737264"/>
              <a:gd name="connsiteY120" fmla="*/ 1140488 h 1252696"/>
              <a:gd name="connsiteX121" fmla="*/ 3406454 w 5737264"/>
              <a:gd name="connsiteY121" fmla="*/ 1155560 h 1252696"/>
              <a:gd name="connsiteX122" fmla="*/ 3426551 w 5737264"/>
              <a:gd name="connsiteY122" fmla="*/ 1165609 h 1252696"/>
              <a:gd name="connsiteX123" fmla="*/ 3441624 w 5737264"/>
              <a:gd name="connsiteY123" fmla="*/ 1175657 h 1252696"/>
              <a:gd name="connsiteX124" fmla="*/ 3456696 w 5737264"/>
              <a:gd name="connsiteY124" fmla="*/ 1180681 h 1252696"/>
              <a:gd name="connsiteX125" fmla="*/ 3466744 w 5737264"/>
              <a:gd name="connsiteY125" fmla="*/ 1195754 h 1252696"/>
              <a:gd name="connsiteX126" fmla="*/ 3527035 w 5737264"/>
              <a:gd name="connsiteY126" fmla="*/ 1200778 h 1252696"/>
              <a:gd name="connsiteX127" fmla="*/ 3542107 w 5737264"/>
              <a:gd name="connsiteY127" fmla="*/ 1190730 h 1252696"/>
              <a:gd name="connsiteX128" fmla="*/ 3567228 w 5737264"/>
              <a:gd name="connsiteY128" fmla="*/ 1180681 h 1252696"/>
              <a:gd name="connsiteX129" fmla="*/ 3587325 w 5737264"/>
              <a:gd name="connsiteY129" fmla="*/ 1150536 h 1252696"/>
              <a:gd name="connsiteX130" fmla="*/ 3617470 w 5737264"/>
              <a:gd name="connsiteY130" fmla="*/ 1125415 h 1252696"/>
              <a:gd name="connsiteX131" fmla="*/ 3632542 w 5737264"/>
              <a:gd name="connsiteY131" fmla="*/ 1105319 h 1252696"/>
              <a:gd name="connsiteX132" fmla="*/ 3662687 w 5737264"/>
              <a:gd name="connsiteY132" fmla="*/ 1085222 h 1252696"/>
              <a:gd name="connsiteX133" fmla="*/ 3697856 w 5737264"/>
              <a:gd name="connsiteY133" fmla="*/ 1070149 h 1252696"/>
              <a:gd name="connsiteX134" fmla="*/ 3707905 w 5737264"/>
              <a:gd name="connsiteY134" fmla="*/ 1060101 h 1252696"/>
              <a:gd name="connsiteX135" fmla="*/ 3743074 w 5737264"/>
              <a:gd name="connsiteY135" fmla="*/ 1047148 h 1252696"/>
              <a:gd name="connsiteX136" fmla="*/ 3799125 w 5737264"/>
              <a:gd name="connsiteY136" fmla="*/ 1043982 h 1252696"/>
              <a:gd name="connsiteX137" fmla="*/ 3859651 w 5737264"/>
              <a:gd name="connsiteY137" fmla="*/ 1072033 h 1252696"/>
              <a:gd name="connsiteX138" fmla="*/ 3902226 w 5737264"/>
              <a:gd name="connsiteY138" fmla="*/ 1101367 h 1252696"/>
              <a:gd name="connsiteX139" fmla="*/ 3958041 w 5737264"/>
              <a:gd name="connsiteY139" fmla="*/ 1142346 h 1252696"/>
              <a:gd name="connsiteX140" fmla="*/ 4019404 w 5737264"/>
              <a:gd name="connsiteY140" fmla="*/ 1165609 h 1252696"/>
              <a:gd name="connsiteX141" fmla="*/ 4064621 w 5737264"/>
              <a:gd name="connsiteY141" fmla="*/ 1150536 h 1252696"/>
              <a:gd name="connsiteX142" fmla="*/ 4079694 w 5737264"/>
              <a:gd name="connsiteY142" fmla="*/ 1125415 h 1252696"/>
              <a:gd name="connsiteX143" fmla="*/ 4099791 w 5737264"/>
              <a:gd name="connsiteY143" fmla="*/ 1105319 h 1252696"/>
              <a:gd name="connsiteX144" fmla="*/ 4129936 w 5737264"/>
              <a:gd name="connsiteY144" fmla="*/ 1075173 h 1252696"/>
              <a:gd name="connsiteX145" fmla="*/ 4150032 w 5737264"/>
              <a:gd name="connsiteY145" fmla="*/ 1040004 h 1252696"/>
              <a:gd name="connsiteX146" fmla="*/ 4160081 w 5737264"/>
              <a:gd name="connsiteY146" fmla="*/ 1019908 h 1252696"/>
              <a:gd name="connsiteX147" fmla="*/ 4165105 w 5737264"/>
              <a:gd name="connsiteY147" fmla="*/ 1004835 h 1252696"/>
              <a:gd name="connsiteX148" fmla="*/ 4185202 w 5737264"/>
              <a:gd name="connsiteY148" fmla="*/ 984738 h 1252696"/>
              <a:gd name="connsiteX149" fmla="*/ 4200274 w 5737264"/>
              <a:gd name="connsiteY149" fmla="*/ 979714 h 1252696"/>
              <a:gd name="connsiteX150" fmla="*/ 4235443 w 5737264"/>
              <a:gd name="connsiteY150" fmla="*/ 954593 h 1252696"/>
              <a:gd name="connsiteX151" fmla="*/ 4275637 w 5737264"/>
              <a:gd name="connsiteY151" fmla="*/ 934497 h 1252696"/>
              <a:gd name="connsiteX152" fmla="*/ 4310806 w 5737264"/>
              <a:gd name="connsiteY152" fmla="*/ 914400 h 1252696"/>
              <a:gd name="connsiteX153" fmla="*/ 4325878 w 5737264"/>
              <a:gd name="connsiteY153" fmla="*/ 904352 h 1252696"/>
              <a:gd name="connsiteX154" fmla="*/ 4362094 w 5737264"/>
              <a:gd name="connsiteY154" fmla="*/ 909114 h 1252696"/>
              <a:gd name="connsiteX155" fmla="*/ 4417099 w 5737264"/>
              <a:gd name="connsiteY155" fmla="*/ 946141 h 1252696"/>
              <a:gd name="connsiteX156" fmla="*/ 4462316 w 5737264"/>
              <a:gd name="connsiteY156" fmla="*/ 1006955 h 1252696"/>
              <a:gd name="connsiteX157" fmla="*/ 4531320 w 5737264"/>
              <a:gd name="connsiteY157" fmla="*/ 1037650 h 1252696"/>
              <a:gd name="connsiteX158" fmla="*/ 4597184 w 5737264"/>
              <a:gd name="connsiteY158" fmla="*/ 969666 h 1252696"/>
              <a:gd name="connsiteX159" fmla="*/ 4617281 w 5737264"/>
              <a:gd name="connsiteY159" fmla="*/ 959617 h 1252696"/>
              <a:gd name="connsiteX160" fmla="*/ 4632353 w 5737264"/>
              <a:gd name="connsiteY160" fmla="*/ 944545 h 1252696"/>
              <a:gd name="connsiteX161" fmla="*/ 4652450 w 5737264"/>
              <a:gd name="connsiteY161" fmla="*/ 934497 h 1252696"/>
              <a:gd name="connsiteX162" fmla="*/ 4672547 w 5737264"/>
              <a:gd name="connsiteY162" fmla="*/ 919424 h 1252696"/>
              <a:gd name="connsiteX163" fmla="*/ 4737861 w 5737264"/>
              <a:gd name="connsiteY163" fmla="*/ 884255 h 1252696"/>
              <a:gd name="connsiteX164" fmla="*/ 4762982 w 5737264"/>
              <a:gd name="connsiteY164" fmla="*/ 879231 h 1252696"/>
              <a:gd name="connsiteX165" fmla="*/ 4778054 w 5737264"/>
              <a:gd name="connsiteY165" fmla="*/ 874206 h 1252696"/>
              <a:gd name="connsiteX166" fmla="*/ 4819294 w 5737264"/>
              <a:gd name="connsiteY166" fmla="*/ 873944 h 1252696"/>
              <a:gd name="connsiteX167" fmla="*/ 4877465 w 5737264"/>
              <a:gd name="connsiteY167" fmla="*/ 895638 h 1252696"/>
              <a:gd name="connsiteX168" fmla="*/ 4935347 w 5737264"/>
              <a:gd name="connsiteY168" fmla="*/ 934523 h 1252696"/>
              <a:gd name="connsiteX169" fmla="*/ 4995402 w 5737264"/>
              <a:gd name="connsiteY169" fmla="*/ 1006746 h 1252696"/>
              <a:gd name="connsiteX170" fmla="*/ 5024762 w 5737264"/>
              <a:gd name="connsiteY170" fmla="*/ 1051963 h 1252696"/>
              <a:gd name="connsiteX171" fmla="*/ 5092223 w 5737264"/>
              <a:gd name="connsiteY171" fmla="*/ 1016506 h 1252696"/>
              <a:gd name="connsiteX172" fmla="*/ 5144322 w 5737264"/>
              <a:gd name="connsiteY172" fmla="*/ 948261 h 1252696"/>
              <a:gd name="connsiteX173" fmla="*/ 5189252 w 5737264"/>
              <a:gd name="connsiteY173" fmla="*/ 886112 h 1252696"/>
              <a:gd name="connsiteX174" fmla="*/ 5226279 w 5737264"/>
              <a:gd name="connsiteY174" fmla="*/ 856230 h 1252696"/>
              <a:gd name="connsiteX175" fmla="*/ 5260637 w 5737264"/>
              <a:gd name="connsiteY175" fmla="*/ 822918 h 1252696"/>
              <a:gd name="connsiteX176" fmla="*/ 5295282 w 5737264"/>
              <a:gd name="connsiteY176" fmla="*/ 800440 h 1252696"/>
              <a:gd name="connsiteX177" fmla="*/ 5334430 w 5737264"/>
              <a:gd name="connsiteY177" fmla="*/ 794893 h 1252696"/>
              <a:gd name="connsiteX178" fmla="*/ 5412174 w 5737264"/>
              <a:gd name="connsiteY178" fmla="*/ 824252 h 1252696"/>
              <a:gd name="connsiteX179" fmla="*/ 5431197 w 5737264"/>
              <a:gd name="connsiteY179" fmla="*/ 768699 h 1252696"/>
              <a:gd name="connsiteX180" fmla="*/ 5441246 w 5737264"/>
              <a:gd name="connsiteY180" fmla="*/ 753626 h 1252696"/>
              <a:gd name="connsiteX181" fmla="*/ 5456318 w 5737264"/>
              <a:gd name="connsiteY181" fmla="*/ 708409 h 1252696"/>
              <a:gd name="connsiteX182" fmla="*/ 5466366 w 5737264"/>
              <a:gd name="connsiteY182" fmla="*/ 683288 h 1252696"/>
              <a:gd name="connsiteX183" fmla="*/ 5476415 w 5737264"/>
              <a:gd name="connsiteY183" fmla="*/ 643094 h 1252696"/>
              <a:gd name="connsiteX184" fmla="*/ 5491487 w 5737264"/>
              <a:gd name="connsiteY184" fmla="*/ 617973 h 1252696"/>
              <a:gd name="connsiteX185" fmla="*/ 5506560 w 5737264"/>
              <a:gd name="connsiteY185" fmla="*/ 572756 h 1252696"/>
              <a:gd name="connsiteX186" fmla="*/ 5526656 w 5737264"/>
              <a:gd name="connsiteY186" fmla="*/ 522514 h 1252696"/>
              <a:gd name="connsiteX187" fmla="*/ 5546753 w 5737264"/>
              <a:gd name="connsiteY187" fmla="*/ 467248 h 1252696"/>
              <a:gd name="connsiteX188" fmla="*/ 5556802 w 5737264"/>
              <a:gd name="connsiteY188" fmla="*/ 411982 h 1252696"/>
              <a:gd name="connsiteX189" fmla="*/ 5566850 w 5737264"/>
              <a:gd name="connsiteY189" fmla="*/ 381837 h 1252696"/>
              <a:gd name="connsiteX190" fmla="*/ 5576898 w 5737264"/>
              <a:gd name="connsiteY190" fmla="*/ 356716 h 1252696"/>
              <a:gd name="connsiteX191" fmla="*/ 5596995 w 5737264"/>
              <a:gd name="connsiteY191" fmla="*/ 316523 h 1252696"/>
              <a:gd name="connsiteX192" fmla="*/ 5617092 w 5737264"/>
              <a:gd name="connsiteY192" fmla="*/ 246184 h 1252696"/>
              <a:gd name="connsiteX193" fmla="*/ 5622116 w 5737264"/>
              <a:gd name="connsiteY193" fmla="*/ 226088 h 1252696"/>
              <a:gd name="connsiteX194" fmla="*/ 5632164 w 5737264"/>
              <a:gd name="connsiteY194" fmla="*/ 216039 h 1252696"/>
              <a:gd name="connsiteX195" fmla="*/ 5637188 w 5737264"/>
              <a:gd name="connsiteY195" fmla="*/ 200967 h 1252696"/>
              <a:gd name="connsiteX196" fmla="*/ 5651738 w 5737264"/>
              <a:gd name="connsiteY196" fmla="*/ 190395 h 1252696"/>
              <a:gd name="connsiteX197" fmla="*/ 5673692 w 5737264"/>
              <a:gd name="connsiteY197" fmla="*/ 153892 h 1252696"/>
              <a:gd name="connsiteX198" fmla="*/ 5726602 w 5737264"/>
              <a:gd name="connsiteY198" fmla="*/ 89362 h 1252696"/>
              <a:gd name="connsiteX199" fmla="*/ 5728722 w 5737264"/>
              <a:gd name="connsiteY199" fmla="*/ 42287 h 1252696"/>
              <a:gd name="connsiteX200" fmla="*/ 5634284 w 5737264"/>
              <a:gd name="connsiteY200" fmla="*/ 25357 h 1252696"/>
              <a:gd name="connsiteX201" fmla="*/ 5536940 w 5737264"/>
              <a:gd name="connsiteY201" fmla="*/ 27214 h 1252696"/>
              <a:gd name="connsiteX202" fmla="*/ 5470369 w 5737264"/>
              <a:gd name="connsiteY202" fmla="*/ 39381 h 1252696"/>
              <a:gd name="connsiteX203" fmla="*/ 5379124 w 5737264"/>
              <a:gd name="connsiteY203" fmla="*/ 39644 h 1252696"/>
              <a:gd name="connsiteX204" fmla="*/ 5309282 w 5737264"/>
              <a:gd name="connsiteY204" fmla="*/ 42287 h 1252696"/>
              <a:gd name="connsiteX205" fmla="*/ 5238682 w 5737264"/>
              <a:gd name="connsiteY205" fmla="*/ 54455 h 1252696"/>
              <a:gd name="connsiteX206" fmla="*/ 5108892 w 5737264"/>
              <a:gd name="connsiteY206" fmla="*/ 37524 h 1252696"/>
              <a:gd name="connsiteX207" fmla="*/ 5020026 w 5737264"/>
              <a:gd name="connsiteY207" fmla="*/ 39120 h 1252696"/>
              <a:gd name="connsiteX208" fmla="*/ 4946233 w 5737264"/>
              <a:gd name="connsiteY208" fmla="*/ 41240 h 1252696"/>
              <a:gd name="connsiteX209" fmla="*/ 4823272 w 5737264"/>
              <a:gd name="connsiteY209" fmla="*/ 50242 h 1252696"/>
              <a:gd name="connsiteX210" fmla="*/ 4727577 w 5737264"/>
              <a:gd name="connsiteY210" fmla="*/ 29073 h 1252696"/>
              <a:gd name="connsiteX211" fmla="*/ 4628376 w 5737264"/>
              <a:gd name="connsiteY211" fmla="*/ 41240 h 1252696"/>
              <a:gd name="connsiteX212" fmla="*/ 4565180 w 5737264"/>
              <a:gd name="connsiteY212" fmla="*/ 46264 h 1252696"/>
              <a:gd name="connsiteX213" fmla="*/ 4417596 w 5737264"/>
              <a:gd name="connsiteY213" fmla="*/ 44406 h 1252696"/>
              <a:gd name="connsiteX214" fmla="*/ 4139984 w 5737264"/>
              <a:gd name="connsiteY214" fmla="*/ 60290 h 1252696"/>
              <a:gd name="connsiteX215" fmla="*/ 3918920 w 5737264"/>
              <a:gd name="connsiteY215" fmla="*/ 50242 h 1252696"/>
              <a:gd name="connsiteX216" fmla="*/ 3873703 w 5737264"/>
              <a:gd name="connsiteY216" fmla="*/ 45217 h 1252696"/>
              <a:gd name="connsiteX217" fmla="*/ 3687808 w 5737264"/>
              <a:gd name="connsiteY217" fmla="*/ 40193 h 1252696"/>
              <a:gd name="connsiteX218" fmla="*/ 3662687 w 5737264"/>
              <a:gd name="connsiteY218" fmla="*/ 35169 h 1252696"/>
              <a:gd name="connsiteX219" fmla="*/ 3627518 w 5737264"/>
              <a:gd name="connsiteY219" fmla="*/ 25121 h 1252696"/>
              <a:gd name="connsiteX220" fmla="*/ 3547131 w 5737264"/>
              <a:gd name="connsiteY220" fmla="*/ 20097 h 1252696"/>
              <a:gd name="connsiteX221" fmla="*/ 3310995 w 5737264"/>
              <a:gd name="connsiteY221" fmla="*/ 25121 h 1252696"/>
              <a:gd name="connsiteX222" fmla="*/ 3265777 w 5737264"/>
              <a:gd name="connsiteY222" fmla="*/ 30145 h 1252696"/>
              <a:gd name="connsiteX223" fmla="*/ 3175342 w 5737264"/>
              <a:gd name="connsiteY223" fmla="*/ 35169 h 1252696"/>
              <a:gd name="connsiteX224" fmla="*/ 2582489 w 5737264"/>
              <a:gd name="connsiteY224" fmla="*/ 45217 h 1252696"/>
              <a:gd name="connsiteX225" fmla="*/ 2255918 w 5737264"/>
              <a:gd name="connsiteY225" fmla="*/ 40193 h 1252696"/>
              <a:gd name="connsiteX226" fmla="*/ 1974564 w 5737264"/>
              <a:gd name="connsiteY226" fmla="*/ 30145 h 1252696"/>
              <a:gd name="connsiteX227" fmla="*/ 1944419 w 5737264"/>
              <a:gd name="connsiteY227" fmla="*/ 25121 h 1252696"/>
              <a:gd name="connsiteX228" fmla="*/ 1848960 w 5737264"/>
              <a:gd name="connsiteY228" fmla="*/ 20097 h 1252696"/>
              <a:gd name="connsiteX229" fmla="*/ 1768573 w 5737264"/>
              <a:gd name="connsiteY229" fmla="*/ 10048 h 1252696"/>
              <a:gd name="connsiteX230" fmla="*/ 1502292 w 5737264"/>
              <a:gd name="connsiteY230" fmla="*/ 20097 h 1252696"/>
              <a:gd name="connsiteX231" fmla="*/ 1467122 w 5737264"/>
              <a:gd name="connsiteY231" fmla="*/ 25121 h 1252696"/>
              <a:gd name="connsiteX232" fmla="*/ 1426929 w 5737264"/>
              <a:gd name="connsiteY232" fmla="*/ 30145 h 1252696"/>
              <a:gd name="connsiteX233" fmla="*/ 1341518 w 5737264"/>
              <a:gd name="connsiteY233" fmla="*/ 45217 h 1252696"/>
              <a:gd name="connsiteX234" fmla="*/ 1095333 w 5737264"/>
              <a:gd name="connsiteY234" fmla="*/ 35169 h 1252696"/>
              <a:gd name="connsiteX235" fmla="*/ 979777 w 5737264"/>
              <a:gd name="connsiteY235" fmla="*/ 20097 h 1252696"/>
              <a:gd name="connsiteX236" fmla="*/ 939584 w 5737264"/>
              <a:gd name="connsiteY236" fmla="*/ 10048 h 1252696"/>
              <a:gd name="connsiteX237" fmla="*/ 813980 w 5737264"/>
              <a:gd name="connsiteY237" fmla="*/ 0 h 1252696"/>
              <a:gd name="connsiteX238" fmla="*/ 743641 w 5737264"/>
              <a:gd name="connsiteY238" fmla="*/ 5024 h 1252696"/>
              <a:gd name="connsiteX239" fmla="*/ 582867 w 5737264"/>
              <a:gd name="connsiteY239" fmla="*/ 15072 h 1252696"/>
              <a:gd name="connsiteX240" fmla="*/ 432142 w 5737264"/>
              <a:gd name="connsiteY240" fmla="*/ 5024 h 1252696"/>
              <a:gd name="connsiteX241" fmla="*/ 412046 w 5737264"/>
              <a:gd name="connsiteY241" fmla="*/ 0 h 1252696"/>
              <a:gd name="connsiteX242" fmla="*/ 281417 w 5737264"/>
              <a:gd name="connsiteY242" fmla="*/ 10048 h 1252696"/>
              <a:gd name="connsiteX243" fmla="*/ 261320 w 5737264"/>
              <a:gd name="connsiteY243" fmla="*/ 15072 h 1252696"/>
              <a:gd name="connsiteX244" fmla="*/ 100547 w 5737264"/>
              <a:gd name="connsiteY244" fmla="*/ 20097 h 1252696"/>
              <a:gd name="connsiteX245" fmla="*/ 5087 w 5737264"/>
              <a:gd name="connsiteY245"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35232 w 5737264"/>
              <a:gd name="connsiteY4" fmla="*/ 311499 h 1252696"/>
              <a:gd name="connsiteX5" fmla="*/ 9300 w 5737264"/>
              <a:gd name="connsiteY5" fmla="*/ 569459 h 1252696"/>
              <a:gd name="connsiteX6" fmla="*/ 16706 w 5737264"/>
              <a:gd name="connsiteY6" fmla="*/ 852252 h 1252696"/>
              <a:gd name="connsiteX7" fmla="*/ 16182 w 5737264"/>
              <a:gd name="connsiteY7" fmla="*/ 1008786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48718 h 1252696"/>
              <a:gd name="connsiteX89" fmla="*/ 2233964 w 5737264"/>
              <a:gd name="connsiteY89" fmla="*/ 1018311 h 1252696"/>
              <a:gd name="connsiteX90" fmla="*/ 2301136 w 5737264"/>
              <a:gd name="connsiteY90" fmla="*/ 994787 h 1252696"/>
              <a:gd name="connsiteX91" fmla="*/ 2316208 w 5737264"/>
              <a:gd name="connsiteY91" fmla="*/ 989763 h 1252696"/>
              <a:gd name="connsiteX92" fmla="*/ 2405309 w 5737264"/>
              <a:gd name="connsiteY92" fmla="*/ 999288 h 1252696"/>
              <a:gd name="connsiteX93" fmla="*/ 2461909 w 5737264"/>
              <a:gd name="connsiteY93" fmla="*/ 1024932 h 1252696"/>
              <a:gd name="connsiteX94" fmla="*/ 2476982 w 5737264"/>
              <a:gd name="connsiteY94" fmla="*/ 1029956 h 1252696"/>
              <a:gd name="connsiteX95" fmla="*/ 2487030 w 5737264"/>
              <a:gd name="connsiteY95" fmla="*/ 1045028 h 1252696"/>
              <a:gd name="connsiteX96" fmla="*/ 2497078 w 5737264"/>
              <a:gd name="connsiteY96" fmla="*/ 1055077 h 1252696"/>
              <a:gd name="connsiteX97" fmla="*/ 2532248 w 5737264"/>
              <a:gd name="connsiteY97" fmla="*/ 1095270 h 1252696"/>
              <a:gd name="connsiteX98" fmla="*/ 2567417 w 5737264"/>
              <a:gd name="connsiteY98" fmla="*/ 1135464 h 1252696"/>
              <a:gd name="connsiteX99" fmla="*/ 2582489 w 5737264"/>
              <a:gd name="connsiteY99" fmla="*/ 1145512 h 1252696"/>
              <a:gd name="connsiteX100" fmla="*/ 2622683 w 5737264"/>
              <a:gd name="connsiteY100" fmla="*/ 1170633 h 1252696"/>
              <a:gd name="connsiteX101" fmla="*/ 2657852 w 5737264"/>
              <a:gd name="connsiteY101" fmla="*/ 1160584 h 1252696"/>
              <a:gd name="connsiteX102" fmla="*/ 2682973 w 5737264"/>
              <a:gd name="connsiteY102" fmla="*/ 1145512 h 1252696"/>
              <a:gd name="connsiteX103" fmla="*/ 2713118 w 5737264"/>
              <a:gd name="connsiteY103" fmla="*/ 1130439 h 1252696"/>
              <a:gd name="connsiteX104" fmla="*/ 2728191 w 5737264"/>
              <a:gd name="connsiteY104" fmla="*/ 1120391 h 1252696"/>
              <a:gd name="connsiteX105" fmla="*/ 2748287 w 5737264"/>
              <a:gd name="connsiteY105" fmla="*/ 1115367 h 1252696"/>
              <a:gd name="connsiteX106" fmla="*/ 2778432 w 5737264"/>
              <a:gd name="connsiteY106" fmla="*/ 1105319 h 1252696"/>
              <a:gd name="connsiteX107" fmla="*/ 2845055 w 5737264"/>
              <a:gd name="connsiteY107" fmla="*/ 1077554 h 1252696"/>
              <a:gd name="connsiteX108" fmla="*/ 2884463 w 5737264"/>
              <a:gd name="connsiteY108" fmla="*/ 1077292 h 1252696"/>
              <a:gd name="connsiteX109" fmla="*/ 2921490 w 5737264"/>
              <a:gd name="connsiteY109" fmla="*/ 1087079 h 1252696"/>
              <a:gd name="connsiteX110" fmla="*/ 2959303 w 5737264"/>
              <a:gd name="connsiteY110" fmla="*/ 1125415 h 1252696"/>
              <a:gd name="connsiteX111" fmla="*/ 2979399 w 5737264"/>
              <a:gd name="connsiteY111" fmla="*/ 1155560 h 1252696"/>
              <a:gd name="connsiteX112" fmla="*/ 2997900 w 5737264"/>
              <a:gd name="connsiteY112" fmla="*/ 1187825 h 1252696"/>
              <a:gd name="connsiteX113" fmla="*/ 3038878 w 5737264"/>
              <a:gd name="connsiteY113" fmla="*/ 1222994 h 1252696"/>
              <a:gd name="connsiteX114" fmla="*/ 3076168 w 5737264"/>
              <a:gd name="connsiteY114" fmla="*/ 1252354 h 1252696"/>
              <a:gd name="connsiteX115" fmla="*/ 3130125 w 5737264"/>
              <a:gd name="connsiteY115" fmla="*/ 1240971 h 1252696"/>
              <a:gd name="connsiteX116" fmla="*/ 3177985 w 5737264"/>
              <a:gd name="connsiteY116" fmla="*/ 1207372 h 1252696"/>
              <a:gd name="connsiteX117" fmla="*/ 3229535 w 5737264"/>
              <a:gd name="connsiteY117" fmla="*/ 1178561 h 1252696"/>
              <a:gd name="connsiteX118" fmla="*/ 3281634 w 5737264"/>
              <a:gd name="connsiteY118" fmla="*/ 1153440 h 1252696"/>
              <a:gd name="connsiteX119" fmla="*/ 3310995 w 5737264"/>
              <a:gd name="connsiteY119" fmla="*/ 1145512 h 1252696"/>
              <a:gd name="connsiteX120" fmla="*/ 3351188 w 5737264"/>
              <a:gd name="connsiteY120" fmla="*/ 1140488 h 1252696"/>
              <a:gd name="connsiteX121" fmla="*/ 3406454 w 5737264"/>
              <a:gd name="connsiteY121" fmla="*/ 1155560 h 1252696"/>
              <a:gd name="connsiteX122" fmla="*/ 3426551 w 5737264"/>
              <a:gd name="connsiteY122" fmla="*/ 1165609 h 1252696"/>
              <a:gd name="connsiteX123" fmla="*/ 3441624 w 5737264"/>
              <a:gd name="connsiteY123" fmla="*/ 1175657 h 1252696"/>
              <a:gd name="connsiteX124" fmla="*/ 3456696 w 5737264"/>
              <a:gd name="connsiteY124" fmla="*/ 1180681 h 1252696"/>
              <a:gd name="connsiteX125" fmla="*/ 3466744 w 5737264"/>
              <a:gd name="connsiteY125" fmla="*/ 1195754 h 1252696"/>
              <a:gd name="connsiteX126" fmla="*/ 3527035 w 5737264"/>
              <a:gd name="connsiteY126" fmla="*/ 1200778 h 1252696"/>
              <a:gd name="connsiteX127" fmla="*/ 3542107 w 5737264"/>
              <a:gd name="connsiteY127" fmla="*/ 1190730 h 1252696"/>
              <a:gd name="connsiteX128" fmla="*/ 3567228 w 5737264"/>
              <a:gd name="connsiteY128" fmla="*/ 1180681 h 1252696"/>
              <a:gd name="connsiteX129" fmla="*/ 3587325 w 5737264"/>
              <a:gd name="connsiteY129" fmla="*/ 1150536 h 1252696"/>
              <a:gd name="connsiteX130" fmla="*/ 3617470 w 5737264"/>
              <a:gd name="connsiteY130" fmla="*/ 1125415 h 1252696"/>
              <a:gd name="connsiteX131" fmla="*/ 3632542 w 5737264"/>
              <a:gd name="connsiteY131" fmla="*/ 1105319 h 1252696"/>
              <a:gd name="connsiteX132" fmla="*/ 3662687 w 5737264"/>
              <a:gd name="connsiteY132" fmla="*/ 1085222 h 1252696"/>
              <a:gd name="connsiteX133" fmla="*/ 3697856 w 5737264"/>
              <a:gd name="connsiteY133" fmla="*/ 1070149 h 1252696"/>
              <a:gd name="connsiteX134" fmla="*/ 3707905 w 5737264"/>
              <a:gd name="connsiteY134" fmla="*/ 1060101 h 1252696"/>
              <a:gd name="connsiteX135" fmla="*/ 3743074 w 5737264"/>
              <a:gd name="connsiteY135" fmla="*/ 1047148 h 1252696"/>
              <a:gd name="connsiteX136" fmla="*/ 3799125 w 5737264"/>
              <a:gd name="connsiteY136" fmla="*/ 1043982 h 1252696"/>
              <a:gd name="connsiteX137" fmla="*/ 3859651 w 5737264"/>
              <a:gd name="connsiteY137" fmla="*/ 1072033 h 1252696"/>
              <a:gd name="connsiteX138" fmla="*/ 3902226 w 5737264"/>
              <a:gd name="connsiteY138" fmla="*/ 1101367 h 1252696"/>
              <a:gd name="connsiteX139" fmla="*/ 3958041 w 5737264"/>
              <a:gd name="connsiteY139" fmla="*/ 1142346 h 1252696"/>
              <a:gd name="connsiteX140" fmla="*/ 4019404 w 5737264"/>
              <a:gd name="connsiteY140" fmla="*/ 1165609 h 1252696"/>
              <a:gd name="connsiteX141" fmla="*/ 4064621 w 5737264"/>
              <a:gd name="connsiteY141" fmla="*/ 1150536 h 1252696"/>
              <a:gd name="connsiteX142" fmla="*/ 4079694 w 5737264"/>
              <a:gd name="connsiteY142" fmla="*/ 1125415 h 1252696"/>
              <a:gd name="connsiteX143" fmla="*/ 4099791 w 5737264"/>
              <a:gd name="connsiteY143" fmla="*/ 1105319 h 1252696"/>
              <a:gd name="connsiteX144" fmla="*/ 4129936 w 5737264"/>
              <a:gd name="connsiteY144" fmla="*/ 1075173 h 1252696"/>
              <a:gd name="connsiteX145" fmla="*/ 4150032 w 5737264"/>
              <a:gd name="connsiteY145" fmla="*/ 1040004 h 1252696"/>
              <a:gd name="connsiteX146" fmla="*/ 4160081 w 5737264"/>
              <a:gd name="connsiteY146" fmla="*/ 1019908 h 1252696"/>
              <a:gd name="connsiteX147" fmla="*/ 4165105 w 5737264"/>
              <a:gd name="connsiteY147" fmla="*/ 1004835 h 1252696"/>
              <a:gd name="connsiteX148" fmla="*/ 4185202 w 5737264"/>
              <a:gd name="connsiteY148" fmla="*/ 984738 h 1252696"/>
              <a:gd name="connsiteX149" fmla="*/ 4200274 w 5737264"/>
              <a:gd name="connsiteY149" fmla="*/ 979714 h 1252696"/>
              <a:gd name="connsiteX150" fmla="*/ 4235443 w 5737264"/>
              <a:gd name="connsiteY150" fmla="*/ 954593 h 1252696"/>
              <a:gd name="connsiteX151" fmla="*/ 4275637 w 5737264"/>
              <a:gd name="connsiteY151" fmla="*/ 934497 h 1252696"/>
              <a:gd name="connsiteX152" fmla="*/ 4310806 w 5737264"/>
              <a:gd name="connsiteY152" fmla="*/ 914400 h 1252696"/>
              <a:gd name="connsiteX153" fmla="*/ 4325878 w 5737264"/>
              <a:gd name="connsiteY153" fmla="*/ 904352 h 1252696"/>
              <a:gd name="connsiteX154" fmla="*/ 4362094 w 5737264"/>
              <a:gd name="connsiteY154" fmla="*/ 909114 h 1252696"/>
              <a:gd name="connsiteX155" fmla="*/ 4417099 w 5737264"/>
              <a:gd name="connsiteY155" fmla="*/ 946141 h 1252696"/>
              <a:gd name="connsiteX156" fmla="*/ 4462316 w 5737264"/>
              <a:gd name="connsiteY156" fmla="*/ 1006955 h 1252696"/>
              <a:gd name="connsiteX157" fmla="*/ 4531320 w 5737264"/>
              <a:gd name="connsiteY157" fmla="*/ 1037650 h 1252696"/>
              <a:gd name="connsiteX158" fmla="*/ 4597184 w 5737264"/>
              <a:gd name="connsiteY158" fmla="*/ 969666 h 1252696"/>
              <a:gd name="connsiteX159" fmla="*/ 4617281 w 5737264"/>
              <a:gd name="connsiteY159" fmla="*/ 959617 h 1252696"/>
              <a:gd name="connsiteX160" fmla="*/ 4632353 w 5737264"/>
              <a:gd name="connsiteY160" fmla="*/ 944545 h 1252696"/>
              <a:gd name="connsiteX161" fmla="*/ 4652450 w 5737264"/>
              <a:gd name="connsiteY161" fmla="*/ 934497 h 1252696"/>
              <a:gd name="connsiteX162" fmla="*/ 4672547 w 5737264"/>
              <a:gd name="connsiteY162" fmla="*/ 919424 h 1252696"/>
              <a:gd name="connsiteX163" fmla="*/ 4737861 w 5737264"/>
              <a:gd name="connsiteY163" fmla="*/ 884255 h 1252696"/>
              <a:gd name="connsiteX164" fmla="*/ 4762982 w 5737264"/>
              <a:gd name="connsiteY164" fmla="*/ 879231 h 1252696"/>
              <a:gd name="connsiteX165" fmla="*/ 4778054 w 5737264"/>
              <a:gd name="connsiteY165" fmla="*/ 874206 h 1252696"/>
              <a:gd name="connsiteX166" fmla="*/ 4819294 w 5737264"/>
              <a:gd name="connsiteY166" fmla="*/ 873944 h 1252696"/>
              <a:gd name="connsiteX167" fmla="*/ 4877465 w 5737264"/>
              <a:gd name="connsiteY167" fmla="*/ 895638 h 1252696"/>
              <a:gd name="connsiteX168" fmla="*/ 4935347 w 5737264"/>
              <a:gd name="connsiteY168" fmla="*/ 934523 h 1252696"/>
              <a:gd name="connsiteX169" fmla="*/ 4995402 w 5737264"/>
              <a:gd name="connsiteY169" fmla="*/ 1006746 h 1252696"/>
              <a:gd name="connsiteX170" fmla="*/ 5024762 w 5737264"/>
              <a:gd name="connsiteY170" fmla="*/ 1051963 h 1252696"/>
              <a:gd name="connsiteX171" fmla="*/ 5092223 w 5737264"/>
              <a:gd name="connsiteY171" fmla="*/ 1016506 h 1252696"/>
              <a:gd name="connsiteX172" fmla="*/ 5144322 w 5737264"/>
              <a:gd name="connsiteY172" fmla="*/ 948261 h 1252696"/>
              <a:gd name="connsiteX173" fmla="*/ 5189252 w 5737264"/>
              <a:gd name="connsiteY173" fmla="*/ 886112 h 1252696"/>
              <a:gd name="connsiteX174" fmla="*/ 5226279 w 5737264"/>
              <a:gd name="connsiteY174" fmla="*/ 856230 h 1252696"/>
              <a:gd name="connsiteX175" fmla="*/ 5260637 w 5737264"/>
              <a:gd name="connsiteY175" fmla="*/ 822918 h 1252696"/>
              <a:gd name="connsiteX176" fmla="*/ 5295282 w 5737264"/>
              <a:gd name="connsiteY176" fmla="*/ 800440 h 1252696"/>
              <a:gd name="connsiteX177" fmla="*/ 5334430 w 5737264"/>
              <a:gd name="connsiteY177" fmla="*/ 794893 h 1252696"/>
              <a:gd name="connsiteX178" fmla="*/ 5412174 w 5737264"/>
              <a:gd name="connsiteY178" fmla="*/ 824252 h 1252696"/>
              <a:gd name="connsiteX179" fmla="*/ 5431197 w 5737264"/>
              <a:gd name="connsiteY179" fmla="*/ 768699 h 1252696"/>
              <a:gd name="connsiteX180" fmla="*/ 5441246 w 5737264"/>
              <a:gd name="connsiteY180" fmla="*/ 753626 h 1252696"/>
              <a:gd name="connsiteX181" fmla="*/ 5456318 w 5737264"/>
              <a:gd name="connsiteY181" fmla="*/ 708409 h 1252696"/>
              <a:gd name="connsiteX182" fmla="*/ 5466366 w 5737264"/>
              <a:gd name="connsiteY182" fmla="*/ 683288 h 1252696"/>
              <a:gd name="connsiteX183" fmla="*/ 5476415 w 5737264"/>
              <a:gd name="connsiteY183" fmla="*/ 643094 h 1252696"/>
              <a:gd name="connsiteX184" fmla="*/ 5491487 w 5737264"/>
              <a:gd name="connsiteY184" fmla="*/ 617973 h 1252696"/>
              <a:gd name="connsiteX185" fmla="*/ 5506560 w 5737264"/>
              <a:gd name="connsiteY185" fmla="*/ 572756 h 1252696"/>
              <a:gd name="connsiteX186" fmla="*/ 5526656 w 5737264"/>
              <a:gd name="connsiteY186" fmla="*/ 522514 h 1252696"/>
              <a:gd name="connsiteX187" fmla="*/ 5546753 w 5737264"/>
              <a:gd name="connsiteY187" fmla="*/ 467248 h 1252696"/>
              <a:gd name="connsiteX188" fmla="*/ 5556802 w 5737264"/>
              <a:gd name="connsiteY188" fmla="*/ 411982 h 1252696"/>
              <a:gd name="connsiteX189" fmla="*/ 5566850 w 5737264"/>
              <a:gd name="connsiteY189" fmla="*/ 381837 h 1252696"/>
              <a:gd name="connsiteX190" fmla="*/ 5576898 w 5737264"/>
              <a:gd name="connsiteY190" fmla="*/ 356716 h 1252696"/>
              <a:gd name="connsiteX191" fmla="*/ 5596995 w 5737264"/>
              <a:gd name="connsiteY191" fmla="*/ 316523 h 1252696"/>
              <a:gd name="connsiteX192" fmla="*/ 5617092 w 5737264"/>
              <a:gd name="connsiteY192" fmla="*/ 246184 h 1252696"/>
              <a:gd name="connsiteX193" fmla="*/ 5622116 w 5737264"/>
              <a:gd name="connsiteY193" fmla="*/ 226088 h 1252696"/>
              <a:gd name="connsiteX194" fmla="*/ 5632164 w 5737264"/>
              <a:gd name="connsiteY194" fmla="*/ 216039 h 1252696"/>
              <a:gd name="connsiteX195" fmla="*/ 5637188 w 5737264"/>
              <a:gd name="connsiteY195" fmla="*/ 200967 h 1252696"/>
              <a:gd name="connsiteX196" fmla="*/ 5651738 w 5737264"/>
              <a:gd name="connsiteY196" fmla="*/ 190395 h 1252696"/>
              <a:gd name="connsiteX197" fmla="*/ 5673692 w 5737264"/>
              <a:gd name="connsiteY197" fmla="*/ 153892 h 1252696"/>
              <a:gd name="connsiteX198" fmla="*/ 5726602 w 5737264"/>
              <a:gd name="connsiteY198" fmla="*/ 89362 h 1252696"/>
              <a:gd name="connsiteX199" fmla="*/ 5728722 w 5737264"/>
              <a:gd name="connsiteY199" fmla="*/ 42287 h 1252696"/>
              <a:gd name="connsiteX200" fmla="*/ 5634284 w 5737264"/>
              <a:gd name="connsiteY200" fmla="*/ 25357 h 1252696"/>
              <a:gd name="connsiteX201" fmla="*/ 5536940 w 5737264"/>
              <a:gd name="connsiteY201" fmla="*/ 27214 h 1252696"/>
              <a:gd name="connsiteX202" fmla="*/ 5470369 w 5737264"/>
              <a:gd name="connsiteY202" fmla="*/ 39381 h 1252696"/>
              <a:gd name="connsiteX203" fmla="*/ 5379124 w 5737264"/>
              <a:gd name="connsiteY203" fmla="*/ 39644 h 1252696"/>
              <a:gd name="connsiteX204" fmla="*/ 5309282 w 5737264"/>
              <a:gd name="connsiteY204" fmla="*/ 42287 h 1252696"/>
              <a:gd name="connsiteX205" fmla="*/ 5238682 w 5737264"/>
              <a:gd name="connsiteY205" fmla="*/ 54455 h 1252696"/>
              <a:gd name="connsiteX206" fmla="*/ 5108892 w 5737264"/>
              <a:gd name="connsiteY206" fmla="*/ 37524 h 1252696"/>
              <a:gd name="connsiteX207" fmla="*/ 5020026 w 5737264"/>
              <a:gd name="connsiteY207" fmla="*/ 39120 h 1252696"/>
              <a:gd name="connsiteX208" fmla="*/ 4946233 w 5737264"/>
              <a:gd name="connsiteY208" fmla="*/ 41240 h 1252696"/>
              <a:gd name="connsiteX209" fmla="*/ 4823272 w 5737264"/>
              <a:gd name="connsiteY209" fmla="*/ 50242 h 1252696"/>
              <a:gd name="connsiteX210" fmla="*/ 4727577 w 5737264"/>
              <a:gd name="connsiteY210" fmla="*/ 29073 h 1252696"/>
              <a:gd name="connsiteX211" fmla="*/ 4628376 w 5737264"/>
              <a:gd name="connsiteY211" fmla="*/ 41240 h 1252696"/>
              <a:gd name="connsiteX212" fmla="*/ 4565180 w 5737264"/>
              <a:gd name="connsiteY212" fmla="*/ 46264 h 1252696"/>
              <a:gd name="connsiteX213" fmla="*/ 4417596 w 5737264"/>
              <a:gd name="connsiteY213" fmla="*/ 44406 h 1252696"/>
              <a:gd name="connsiteX214" fmla="*/ 4139984 w 5737264"/>
              <a:gd name="connsiteY214" fmla="*/ 60290 h 1252696"/>
              <a:gd name="connsiteX215" fmla="*/ 3918920 w 5737264"/>
              <a:gd name="connsiteY215" fmla="*/ 50242 h 1252696"/>
              <a:gd name="connsiteX216" fmla="*/ 3873703 w 5737264"/>
              <a:gd name="connsiteY216" fmla="*/ 45217 h 1252696"/>
              <a:gd name="connsiteX217" fmla="*/ 3687808 w 5737264"/>
              <a:gd name="connsiteY217" fmla="*/ 40193 h 1252696"/>
              <a:gd name="connsiteX218" fmla="*/ 3662687 w 5737264"/>
              <a:gd name="connsiteY218" fmla="*/ 35169 h 1252696"/>
              <a:gd name="connsiteX219" fmla="*/ 3627518 w 5737264"/>
              <a:gd name="connsiteY219" fmla="*/ 25121 h 1252696"/>
              <a:gd name="connsiteX220" fmla="*/ 3547131 w 5737264"/>
              <a:gd name="connsiteY220" fmla="*/ 20097 h 1252696"/>
              <a:gd name="connsiteX221" fmla="*/ 3310995 w 5737264"/>
              <a:gd name="connsiteY221" fmla="*/ 25121 h 1252696"/>
              <a:gd name="connsiteX222" fmla="*/ 3265777 w 5737264"/>
              <a:gd name="connsiteY222" fmla="*/ 30145 h 1252696"/>
              <a:gd name="connsiteX223" fmla="*/ 3175342 w 5737264"/>
              <a:gd name="connsiteY223" fmla="*/ 35169 h 1252696"/>
              <a:gd name="connsiteX224" fmla="*/ 2582489 w 5737264"/>
              <a:gd name="connsiteY224" fmla="*/ 45217 h 1252696"/>
              <a:gd name="connsiteX225" fmla="*/ 2255918 w 5737264"/>
              <a:gd name="connsiteY225" fmla="*/ 40193 h 1252696"/>
              <a:gd name="connsiteX226" fmla="*/ 1974564 w 5737264"/>
              <a:gd name="connsiteY226" fmla="*/ 30145 h 1252696"/>
              <a:gd name="connsiteX227" fmla="*/ 1944419 w 5737264"/>
              <a:gd name="connsiteY227" fmla="*/ 25121 h 1252696"/>
              <a:gd name="connsiteX228" fmla="*/ 1848960 w 5737264"/>
              <a:gd name="connsiteY228" fmla="*/ 20097 h 1252696"/>
              <a:gd name="connsiteX229" fmla="*/ 1768573 w 5737264"/>
              <a:gd name="connsiteY229" fmla="*/ 10048 h 1252696"/>
              <a:gd name="connsiteX230" fmla="*/ 1502292 w 5737264"/>
              <a:gd name="connsiteY230" fmla="*/ 20097 h 1252696"/>
              <a:gd name="connsiteX231" fmla="*/ 1467122 w 5737264"/>
              <a:gd name="connsiteY231" fmla="*/ 25121 h 1252696"/>
              <a:gd name="connsiteX232" fmla="*/ 1426929 w 5737264"/>
              <a:gd name="connsiteY232" fmla="*/ 30145 h 1252696"/>
              <a:gd name="connsiteX233" fmla="*/ 1341518 w 5737264"/>
              <a:gd name="connsiteY233" fmla="*/ 45217 h 1252696"/>
              <a:gd name="connsiteX234" fmla="*/ 1095333 w 5737264"/>
              <a:gd name="connsiteY234" fmla="*/ 35169 h 1252696"/>
              <a:gd name="connsiteX235" fmla="*/ 979777 w 5737264"/>
              <a:gd name="connsiteY235" fmla="*/ 20097 h 1252696"/>
              <a:gd name="connsiteX236" fmla="*/ 939584 w 5737264"/>
              <a:gd name="connsiteY236" fmla="*/ 10048 h 1252696"/>
              <a:gd name="connsiteX237" fmla="*/ 813980 w 5737264"/>
              <a:gd name="connsiteY237" fmla="*/ 0 h 1252696"/>
              <a:gd name="connsiteX238" fmla="*/ 743641 w 5737264"/>
              <a:gd name="connsiteY238" fmla="*/ 5024 h 1252696"/>
              <a:gd name="connsiteX239" fmla="*/ 582867 w 5737264"/>
              <a:gd name="connsiteY239" fmla="*/ 15072 h 1252696"/>
              <a:gd name="connsiteX240" fmla="*/ 432142 w 5737264"/>
              <a:gd name="connsiteY240" fmla="*/ 5024 h 1252696"/>
              <a:gd name="connsiteX241" fmla="*/ 412046 w 5737264"/>
              <a:gd name="connsiteY241" fmla="*/ 0 h 1252696"/>
              <a:gd name="connsiteX242" fmla="*/ 281417 w 5737264"/>
              <a:gd name="connsiteY242" fmla="*/ 10048 h 1252696"/>
              <a:gd name="connsiteX243" fmla="*/ 261320 w 5737264"/>
              <a:gd name="connsiteY243" fmla="*/ 15072 h 1252696"/>
              <a:gd name="connsiteX244" fmla="*/ 100547 w 5737264"/>
              <a:gd name="connsiteY244" fmla="*/ 20097 h 1252696"/>
              <a:gd name="connsiteX245" fmla="*/ 5087 w 5737264"/>
              <a:gd name="connsiteY245"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25184 w 5737264"/>
              <a:gd name="connsiteY3" fmla="*/ 236136 h 1252696"/>
              <a:gd name="connsiteX4" fmla="*/ 13800 w 5737264"/>
              <a:gd name="connsiteY4" fmla="*/ 342455 h 1252696"/>
              <a:gd name="connsiteX5" fmla="*/ 9300 w 5737264"/>
              <a:gd name="connsiteY5" fmla="*/ 569459 h 1252696"/>
              <a:gd name="connsiteX6" fmla="*/ 16706 w 5737264"/>
              <a:gd name="connsiteY6" fmla="*/ 852252 h 1252696"/>
              <a:gd name="connsiteX7" fmla="*/ 16182 w 5737264"/>
              <a:gd name="connsiteY7" fmla="*/ 1008786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48718 h 1252696"/>
              <a:gd name="connsiteX89" fmla="*/ 2233964 w 5737264"/>
              <a:gd name="connsiteY89" fmla="*/ 1018311 h 1252696"/>
              <a:gd name="connsiteX90" fmla="*/ 2301136 w 5737264"/>
              <a:gd name="connsiteY90" fmla="*/ 994787 h 1252696"/>
              <a:gd name="connsiteX91" fmla="*/ 2316208 w 5737264"/>
              <a:gd name="connsiteY91" fmla="*/ 989763 h 1252696"/>
              <a:gd name="connsiteX92" fmla="*/ 2405309 w 5737264"/>
              <a:gd name="connsiteY92" fmla="*/ 999288 h 1252696"/>
              <a:gd name="connsiteX93" fmla="*/ 2461909 w 5737264"/>
              <a:gd name="connsiteY93" fmla="*/ 1024932 h 1252696"/>
              <a:gd name="connsiteX94" fmla="*/ 2476982 w 5737264"/>
              <a:gd name="connsiteY94" fmla="*/ 1029956 h 1252696"/>
              <a:gd name="connsiteX95" fmla="*/ 2487030 w 5737264"/>
              <a:gd name="connsiteY95" fmla="*/ 1045028 h 1252696"/>
              <a:gd name="connsiteX96" fmla="*/ 2497078 w 5737264"/>
              <a:gd name="connsiteY96" fmla="*/ 1055077 h 1252696"/>
              <a:gd name="connsiteX97" fmla="*/ 2532248 w 5737264"/>
              <a:gd name="connsiteY97" fmla="*/ 1095270 h 1252696"/>
              <a:gd name="connsiteX98" fmla="*/ 2567417 w 5737264"/>
              <a:gd name="connsiteY98" fmla="*/ 1135464 h 1252696"/>
              <a:gd name="connsiteX99" fmla="*/ 2582489 w 5737264"/>
              <a:gd name="connsiteY99" fmla="*/ 1145512 h 1252696"/>
              <a:gd name="connsiteX100" fmla="*/ 2622683 w 5737264"/>
              <a:gd name="connsiteY100" fmla="*/ 1170633 h 1252696"/>
              <a:gd name="connsiteX101" fmla="*/ 2657852 w 5737264"/>
              <a:gd name="connsiteY101" fmla="*/ 1160584 h 1252696"/>
              <a:gd name="connsiteX102" fmla="*/ 2682973 w 5737264"/>
              <a:gd name="connsiteY102" fmla="*/ 1145512 h 1252696"/>
              <a:gd name="connsiteX103" fmla="*/ 2713118 w 5737264"/>
              <a:gd name="connsiteY103" fmla="*/ 1130439 h 1252696"/>
              <a:gd name="connsiteX104" fmla="*/ 2728191 w 5737264"/>
              <a:gd name="connsiteY104" fmla="*/ 1120391 h 1252696"/>
              <a:gd name="connsiteX105" fmla="*/ 2748287 w 5737264"/>
              <a:gd name="connsiteY105" fmla="*/ 1115367 h 1252696"/>
              <a:gd name="connsiteX106" fmla="*/ 2778432 w 5737264"/>
              <a:gd name="connsiteY106" fmla="*/ 1105319 h 1252696"/>
              <a:gd name="connsiteX107" fmla="*/ 2845055 w 5737264"/>
              <a:gd name="connsiteY107" fmla="*/ 1077554 h 1252696"/>
              <a:gd name="connsiteX108" fmla="*/ 2884463 w 5737264"/>
              <a:gd name="connsiteY108" fmla="*/ 1077292 h 1252696"/>
              <a:gd name="connsiteX109" fmla="*/ 2921490 w 5737264"/>
              <a:gd name="connsiteY109" fmla="*/ 1087079 h 1252696"/>
              <a:gd name="connsiteX110" fmla="*/ 2959303 w 5737264"/>
              <a:gd name="connsiteY110" fmla="*/ 1125415 h 1252696"/>
              <a:gd name="connsiteX111" fmla="*/ 2979399 w 5737264"/>
              <a:gd name="connsiteY111" fmla="*/ 1155560 h 1252696"/>
              <a:gd name="connsiteX112" fmla="*/ 2997900 w 5737264"/>
              <a:gd name="connsiteY112" fmla="*/ 1187825 h 1252696"/>
              <a:gd name="connsiteX113" fmla="*/ 3038878 w 5737264"/>
              <a:gd name="connsiteY113" fmla="*/ 1222994 h 1252696"/>
              <a:gd name="connsiteX114" fmla="*/ 3076168 w 5737264"/>
              <a:gd name="connsiteY114" fmla="*/ 1252354 h 1252696"/>
              <a:gd name="connsiteX115" fmla="*/ 3130125 w 5737264"/>
              <a:gd name="connsiteY115" fmla="*/ 1240971 h 1252696"/>
              <a:gd name="connsiteX116" fmla="*/ 3177985 w 5737264"/>
              <a:gd name="connsiteY116" fmla="*/ 1207372 h 1252696"/>
              <a:gd name="connsiteX117" fmla="*/ 3229535 w 5737264"/>
              <a:gd name="connsiteY117" fmla="*/ 1178561 h 1252696"/>
              <a:gd name="connsiteX118" fmla="*/ 3281634 w 5737264"/>
              <a:gd name="connsiteY118" fmla="*/ 1153440 h 1252696"/>
              <a:gd name="connsiteX119" fmla="*/ 3310995 w 5737264"/>
              <a:gd name="connsiteY119" fmla="*/ 1145512 h 1252696"/>
              <a:gd name="connsiteX120" fmla="*/ 3351188 w 5737264"/>
              <a:gd name="connsiteY120" fmla="*/ 1140488 h 1252696"/>
              <a:gd name="connsiteX121" fmla="*/ 3406454 w 5737264"/>
              <a:gd name="connsiteY121" fmla="*/ 1155560 h 1252696"/>
              <a:gd name="connsiteX122" fmla="*/ 3426551 w 5737264"/>
              <a:gd name="connsiteY122" fmla="*/ 1165609 h 1252696"/>
              <a:gd name="connsiteX123" fmla="*/ 3441624 w 5737264"/>
              <a:gd name="connsiteY123" fmla="*/ 1175657 h 1252696"/>
              <a:gd name="connsiteX124" fmla="*/ 3456696 w 5737264"/>
              <a:gd name="connsiteY124" fmla="*/ 1180681 h 1252696"/>
              <a:gd name="connsiteX125" fmla="*/ 3466744 w 5737264"/>
              <a:gd name="connsiteY125" fmla="*/ 1195754 h 1252696"/>
              <a:gd name="connsiteX126" fmla="*/ 3527035 w 5737264"/>
              <a:gd name="connsiteY126" fmla="*/ 1200778 h 1252696"/>
              <a:gd name="connsiteX127" fmla="*/ 3542107 w 5737264"/>
              <a:gd name="connsiteY127" fmla="*/ 1190730 h 1252696"/>
              <a:gd name="connsiteX128" fmla="*/ 3567228 w 5737264"/>
              <a:gd name="connsiteY128" fmla="*/ 1180681 h 1252696"/>
              <a:gd name="connsiteX129" fmla="*/ 3587325 w 5737264"/>
              <a:gd name="connsiteY129" fmla="*/ 1150536 h 1252696"/>
              <a:gd name="connsiteX130" fmla="*/ 3617470 w 5737264"/>
              <a:gd name="connsiteY130" fmla="*/ 1125415 h 1252696"/>
              <a:gd name="connsiteX131" fmla="*/ 3632542 w 5737264"/>
              <a:gd name="connsiteY131" fmla="*/ 1105319 h 1252696"/>
              <a:gd name="connsiteX132" fmla="*/ 3662687 w 5737264"/>
              <a:gd name="connsiteY132" fmla="*/ 1085222 h 1252696"/>
              <a:gd name="connsiteX133" fmla="*/ 3697856 w 5737264"/>
              <a:gd name="connsiteY133" fmla="*/ 1070149 h 1252696"/>
              <a:gd name="connsiteX134" fmla="*/ 3707905 w 5737264"/>
              <a:gd name="connsiteY134" fmla="*/ 1060101 h 1252696"/>
              <a:gd name="connsiteX135" fmla="*/ 3743074 w 5737264"/>
              <a:gd name="connsiteY135" fmla="*/ 1047148 h 1252696"/>
              <a:gd name="connsiteX136" fmla="*/ 3799125 w 5737264"/>
              <a:gd name="connsiteY136" fmla="*/ 1043982 h 1252696"/>
              <a:gd name="connsiteX137" fmla="*/ 3859651 w 5737264"/>
              <a:gd name="connsiteY137" fmla="*/ 1072033 h 1252696"/>
              <a:gd name="connsiteX138" fmla="*/ 3902226 w 5737264"/>
              <a:gd name="connsiteY138" fmla="*/ 1101367 h 1252696"/>
              <a:gd name="connsiteX139" fmla="*/ 3958041 w 5737264"/>
              <a:gd name="connsiteY139" fmla="*/ 1142346 h 1252696"/>
              <a:gd name="connsiteX140" fmla="*/ 4019404 w 5737264"/>
              <a:gd name="connsiteY140" fmla="*/ 1165609 h 1252696"/>
              <a:gd name="connsiteX141" fmla="*/ 4064621 w 5737264"/>
              <a:gd name="connsiteY141" fmla="*/ 1150536 h 1252696"/>
              <a:gd name="connsiteX142" fmla="*/ 4079694 w 5737264"/>
              <a:gd name="connsiteY142" fmla="*/ 1125415 h 1252696"/>
              <a:gd name="connsiteX143" fmla="*/ 4099791 w 5737264"/>
              <a:gd name="connsiteY143" fmla="*/ 1105319 h 1252696"/>
              <a:gd name="connsiteX144" fmla="*/ 4129936 w 5737264"/>
              <a:gd name="connsiteY144" fmla="*/ 1075173 h 1252696"/>
              <a:gd name="connsiteX145" fmla="*/ 4150032 w 5737264"/>
              <a:gd name="connsiteY145" fmla="*/ 1040004 h 1252696"/>
              <a:gd name="connsiteX146" fmla="*/ 4160081 w 5737264"/>
              <a:gd name="connsiteY146" fmla="*/ 1019908 h 1252696"/>
              <a:gd name="connsiteX147" fmla="*/ 4165105 w 5737264"/>
              <a:gd name="connsiteY147" fmla="*/ 1004835 h 1252696"/>
              <a:gd name="connsiteX148" fmla="*/ 4185202 w 5737264"/>
              <a:gd name="connsiteY148" fmla="*/ 984738 h 1252696"/>
              <a:gd name="connsiteX149" fmla="*/ 4200274 w 5737264"/>
              <a:gd name="connsiteY149" fmla="*/ 979714 h 1252696"/>
              <a:gd name="connsiteX150" fmla="*/ 4235443 w 5737264"/>
              <a:gd name="connsiteY150" fmla="*/ 954593 h 1252696"/>
              <a:gd name="connsiteX151" fmla="*/ 4275637 w 5737264"/>
              <a:gd name="connsiteY151" fmla="*/ 934497 h 1252696"/>
              <a:gd name="connsiteX152" fmla="*/ 4310806 w 5737264"/>
              <a:gd name="connsiteY152" fmla="*/ 914400 h 1252696"/>
              <a:gd name="connsiteX153" fmla="*/ 4325878 w 5737264"/>
              <a:gd name="connsiteY153" fmla="*/ 904352 h 1252696"/>
              <a:gd name="connsiteX154" fmla="*/ 4362094 w 5737264"/>
              <a:gd name="connsiteY154" fmla="*/ 909114 h 1252696"/>
              <a:gd name="connsiteX155" fmla="*/ 4417099 w 5737264"/>
              <a:gd name="connsiteY155" fmla="*/ 946141 h 1252696"/>
              <a:gd name="connsiteX156" fmla="*/ 4462316 w 5737264"/>
              <a:gd name="connsiteY156" fmla="*/ 1006955 h 1252696"/>
              <a:gd name="connsiteX157" fmla="*/ 4531320 w 5737264"/>
              <a:gd name="connsiteY157" fmla="*/ 1037650 h 1252696"/>
              <a:gd name="connsiteX158" fmla="*/ 4597184 w 5737264"/>
              <a:gd name="connsiteY158" fmla="*/ 969666 h 1252696"/>
              <a:gd name="connsiteX159" fmla="*/ 4617281 w 5737264"/>
              <a:gd name="connsiteY159" fmla="*/ 959617 h 1252696"/>
              <a:gd name="connsiteX160" fmla="*/ 4632353 w 5737264"/>
              <a:gd name="connsiteY160" fmla="*/ 944545 h 1252696"/>
              <a:gd name="connsiteX161" fmla="*/ 4652450 w 5737264"/>
              <a:gd name="connsiteY161" fmla="*/ 934497 h 1252696"/>
              <a:gd name="connsiteX162" fmla="*/ 4672547 w 5737264"/>
              <a:gd name="connsiteY162" fmla="*/ 919424 h 1252696"/>
              <a:gd name="connsiteX163" fmla="*/ 4737861 w 5737264"/>
              <a:gd name="connsiteY163" fmla="*/ 884255 h 1252696"/>
              <a:gd name="connsiteX164" fmla="*/ 4762982 w 5737264"/>
              <a:gd name="connsiteY164" fmla="*/ 879231 h 1252696"/>
              <a:gd name="connsiteX165" fmla="*/ 4778054 w 5737264"/>
              <a:gd name="connsiteY165" fmla="*/ 874206 h 1252696"/>
              <a:gd name="connsiteX166" fmla="*/ 4819294 w 5737264"/>
              <a:gd name="connsiteY166" fmla="*/ 873944 h 1252696"/>
              <a:gd name="connsiteX167" fmla="*/ 4877465 w 5737264"/>
              <a:gd name="connsiteY167" fmla="*/ 895638 h 1252696"/>
              <a:gd name="connsiteX168" fmla="*/ 4935347 w 5737264"/>
              <a:gd name="connsiteY168" fmla="*/ 934523 h 1252696"/>
              <a:gd name="connsiteX169" fmla="*/ 4995402 w 5737264"/>
              <a:gd name="connsiteY169" fmla="*/ 1006746 h 1252696"/>
              <a:gd name="connsiteX170" fmla="*/ 5024762 w 5737264"/>
              <a:gd name="connsiteY170" fmla="*/ 1051963 h 1252696"/>
              <a:gd name="connsiteX171" fmla="*/ 5092223 w 5737264"/>
              <a:gd name="connsiteY171" fmla="*/ 1016506 h 1252696"/>
              <a:gd name="connsiteX172" fmla="*/ 5144322 w 5737264"/>
              <a:gd name="connsiteY172" fmla="*/ 948261 h 1252696"/>
              <a:gd name="connsiteX173" fmla="*/ 5189252 w 5737264"/>
              <a:gd name="connsiteY173" fmla="*/ 886112 h 1252696"/>
              <a:gd name="connsiteX174" fmla="*/ 5226279 w 5737264"/>
              <a:gd name="connsiteY174" fmla="*/ 856230 h 1252696"/>
              <a:gd name="connsiteX175" fmla="*/ 5260637 w 5737264"/>
              <a:gd name="connsiteY175" fmla="*/ 822918 h 1252696"/>
              <a:gd name="connsiteX176" fmla="*/ 5295282 w 5737264"/>
              <a:gd name="connsiteY176" fmla="*/ 800440 h 1252696"/>
              <a:gd name="connsiteX177" fmla="*/ 5334430 w 5737264"/>
              <a:gd name="connsiteY177" fmla="*/ 794893 h 1252696"/>
              <a:gd name="connsiteX178" fmla="*/ 5412174 w 5737264"/>
              <a:gd name="connsiteY178" fmla="*/ 824252 h 1252696"/>
              <a:gd name="connsiteX179" fmla="*/ 5431197 w 5737264"/>
              <a:gd name="connsiteY179" fmla="*/ 768699 h 1252696"/>
              <a:gd name="connsiteX180" fmla="*/ 5441246 w 5737264"/>
              <a:gd name="connsiteY180" fmla="*/ 753626 h 1252696"/>
              <a:gd name="connsiteX181" fmla="*/ 5456318 w 5737264"/>
              <a:gd name="connsiteY181" fmla="*/ 708409 h 1252696"/>
              <a:gd name="connsiteX182" fmla="*/ 5466366 w 5737264"/>
              <a:gd name="connsiteY182" fmla="*/ 683288 h 1252696"/>
              <a:gd name="connsiteX183" fmla="*/ 5476415 w 5737264"/>
              <a:gd name="connsiteY183" fmla="*/ 643094 h 1252696"/>
              <a:gd name="connsiteX184" fmla="*/ 5491487 w 5737264"/>
              <a:gd name="connsiteY184" fmla="*/ 617973 h 1252696"/>
              <a:gd name="connsiteX185" fmla="*/ 5506560 w 5737264"/>
              <a:gd name="connsiteY185" fmla="*/ 572756 h 1252696"/>
              <a:gd name="connsiteX186" fmla="*/ 5526656 w 5737264"/>
              <a:gd name="connsiteY186" fmla="*/ 522514 h 1252696"/>
              <a:gd name="connsiteX187" fmla="*/ 5546753 w 5737264"/>
              <a:gd name="connsiteY187" fmla="*/ 467248 h 1252696"/>
              <a:gd name="connsiteX188" fmla="*/ 5556802 w 5737264"/>
              <a:gd name="connsiteY188" fmla="*/ 411982 h 1252696"/>
              <a:gd name="connsiteX189" fmla="*/ 5566850 w 5737264"/>
              <a:gd name="connsiteY189" fmla="*/ 381837 h 1252696"/>
              <a:gd name="connsiteX190" fmla="*/ 5576898 w 5737264"/>
              <a:gd name="connsiteY190" fmla="*/ 356716 h 1252696"/>
              <a:gd name="connsiteX191" fmla="*/ 5596995 w 5737264"/>
              <a:gd name="connsiteY191" fmla="*/ 316523 h 1252696"/>
              <a:gd name="connsiteX192" fmla="*/ 5617092 w 5737264"/>
              <a:gd name="connsiteY192" fmla="*/ 246184 h 1252696"/>
              <a:gd name="connsiteX193" fmla="*/ 5622116 w 5737264"/>
              <a:gd name="connsiteY193" fmla="*/ 226088 h 1252696"/>
              <a:gd name="connsiteX194" fmla="*/ 5632164 w 5737264"/>
              <a:gd name="connsiteY194" fmla="*/ 216039 h 1252696"/>
              <a:gd name="connsiteX195" fmla="*/ 5637188 w 5737264"/>
              <a:gd name="connsiteY195" fmla="*/ 200967 h 1252696"/>
              <a:gd name="connsiteX196" fmla="*/ 5651738 w 5737264"/>
              <a:gd name="connsiteY196" fmla="*/ 190395 h 1252696"/>
              <a:gd name="connsiteX197" fmla="*/ 5673692 w 5737264"/>
              <a:gd name="connsiteY197" fmla="*/ 153892 h 1252696"/>
              <a:gd name="connsiteX198" fmla="*/ 5726602 w 5737264"/>
              <a:gd name="connsiteY198" fmla="*/ 89362 h 1252696"/>
              <a:gd name="connsiteX199" fmla="*/ 5728722 w 5737264"/>
              <a:gd name="connsiteY199" fmla="*/ 42287 h 1252696"/>
              <a:gd name="connsiteX200" fmla="*/ 5634284 w 5737264"/>
              <a:gd name="connsiteY200" fmla="*/ 25357 h 1252696"/>
              <a:gd name="connsiteX201" fmla="*/ 5536940 w 5737264"/>
              <a:gd name="connsiteY201" fmla="*/ 27214 h 1252696"/>
              <a:gd name="connsiteX202" fmla="*/ 5470369 w 5737264"/>
              <a:gd name="connsiteY202" fmla="*/ 39381 h 1252696"/>
              <a:gd name="connsiteX203" fmla="*/ 5379124 w 5737264"/>
              <a:gd name="connsiteY203" fmla="*/ 39644 h 1252696"/>
              <a:gd name="connsiteX204" fmla="*/ 5309282 w 5737264"/>
              <a:gd name="connsiteY204" fmla="*/ 42287 h 1252696"/>
              <a:gd name="connsiteX205" fmla="*/ 5238682 w 5737264"/>
              <a:gd name="connsiteY205" fmla="*/ 54455 h 1252696"/>
              <a:gd name="connsiteX206" fmla="*/ 5108892 w 5737264"/>
              <a:gd name="connsiteY206" fmla="*/ 37524 h 1252696"/>
              <a:gd name="connsiteX207" fmla="*/ 5020026 w 5737264"/>
              <a:gd name="connsiteY207" fmla="*/ 39120 h 1252696"/>
              <a:gd name="connsiteX208" fmla="*/ 4946233 w 5737264"/>
              <a:gd name="connsiteY208" fmla="*/ 41240 h 1252696"/>
              <a:gd name="connsiteX209" fmla="*/ 4823272 w 5737264"/>
              <a:gd name="connsiteY209" fmla="*/ 50242 h 1252696"/>
              <a:gd name="connsiteX210" fmla="*/ 4727577 w 5737264"/>
              <a:gd name="connsiteY210" fmla="*/ 29073 h 1252696"/>
              <a:gd name="connsiteX211" fmla="*/ 4628376 w 5737264"/>
              <a:gd name="connsiteY211" fmla="*/ 41240 h 1252696"/>
              <a:gd name="connsiteX212" fmla="*/ 4565180 w 5737264"/>
              <a:gd name="connsiteY212" fmla="*/ 46264 h 1252696"/>
              <a:gd name="connsiteX213" fmla="*/ 4417596 w 5737264"/>
              <a:gd name="connsiteY213" fmla="*/ 44406 h 1252696"/>
              <a:gd name="connsiteX214" fmla="*/ 4139984 w 5737264"/>
              <a:gd name="connsiteY214" fmla="*/ 60290 h 1252696"/>
              <a:gd name="connsiteX215" fmla="*/ 3918920 w 5737264"/>
              <a:gd name="connsiteY215" fmla="*/ 50242 h 1252696"/>
              <a:gd name="connsiteX216" fmla="*/ 3873703 w 5737264"/>
              <a:gd name="connsiteY216" fmla="*/ 45217 h 1252696"/>
              <a:gd name="connsiteX217" fmla="*/ 3687808 w 5737264"/>
              <a:gd name="connsiteY217" fmla="*/ 40193 h 1252696"/>
              <a:gd name="connsiteX218" fmla="*/ 3662687 w 5737264"/>
              <a:gd name="connsiteY218" fmla="*/ 35169 h 1252696"/>
              <a:gd name="connsiteX219" fmla="*/ 3627518 w 5737264"/>
              <a:gd name="connsiteY219" fmla="*/ 25121 h 1252696"/>
              <a:gd name="connsiteX220" fmla="*/ 3547131 w 5737264"/>
              <a:gd name="connsiteY220" fmla="*/ 20097 h 1252696"/>
              <a:gd name="connsiteX221" fmla="*/ 3310995 w 5737264"/>
              <a:gd name="connsiteY221" fmla="*/ 25121 h 1252696"/>
              <a:gd name="connsiteX222" fmla="*/ 3265777 w 5737264"/>
              <a:gd name="connsiteY222" fmla="*/ 30145 h 1252696"/>
              <a:gd name="connsiteX223" fmla="*/ 3175342 w 5737264"/>
              <a:gd name="connsiteY223" fmla="*/ 35169 h 1252696"/>
              <a:gd name="connsiteX224" fmla="*/ 2582489 w 5737264"/>
              <a:gd name="connsiteY224" fmla="*/ 45217 h 1252696"/>
              <a:gd name="connsiteX225" fmla="*/ 2255918 w 5737264"/>
              <a:gd name="connsiteY225" fmla="*/ 40193 h 1252696"/>
              <a:gd name="connsiteX226" fmla="*/ 1974564 w 5737264"/>
              <a:gd name="connsiteY226" fmla="*/ 30145 h 1252696"/>
              <a:gd name="connsiteX227" fmla="*/ 1944419 w 5737264"/>
              <a:gd name="connsiteY227" fmla="*/ 25121 h 1252696"/>
              <a:gd name="connsiteX228" fmla="*/ 1848960 w 5737264"/>
              <a:gd name="connsiteY228" fmla="*/ 20097 h 1252696"/>
              <a:gd name="connsiteX229" fmla="*/ 1768573 w 5737264"/>
              <a:gd name="connsiteY229" fmla="*/ 10048 h 1252696"/>
              <a:gd name="connsiteX230" fmla="*/ 1502292 w 5737264"/>
              <a:gd name="connsiteY230" fmla="*/ 20097 h 1252696"/>
              <a:gd name="connsiteX231" fmla="*/ 1467122 w 5737264"/>
              <a:gd name="connsiteY231" fmla="*/ 25121 h 1252696"/>
              <a:gd name="connsiteX232" fmla="*/ 1426929 w 5737264"/>
              <a:gd name="connsiteY232" fmla="*/ 30145 h 1252696"/>
              <a:gd name="connsiteX233" fmla="*/ 1341518 w 5737264"/>
              <a:gd name="connsiteY233" fmla="*/ 45217 h 1252696"/>
              <a:gd name="connsiteX234" fmla="*/ 1095333 w 5737264"/>
              <a:gd name="connsiteY234" fmla="*/ 35169 h 1252696"/>
              <a:gd name="connsiteX235" fmla="*/ 979777 w 5737264"/>
              <a:gd name="connsiteY235" fmla="*/ 20097 h 1252696"/>
              <a:gd name="connsiteX236" fmla="*/ 939584 w 5737264"/>
              <a:gd name="connsiteY236" fmla="*/ 10048 h 1252696"/>
              <a:gd name="connsiteX237" fmla="*/ 813980 w 5737264"/>
              <a:gd name="connsiteY237" fmla="*/ 0 h 1252696"/>
              <a:gd name="connsiteX238" fmla="*/ 743641 w 5737264"/>
              <a:gd name="connsiteY238" fmla="*/ 5024 h 1252696"/>
              <a:gd name="connsiteX239" fmla="*/ 582867 w 5737264"/>
              <a:gd name="connsiteY239" fmla="*/ 15072 h 1252696"/>
              <a:gd name="connsiteX240" fmla="*/ 432142 w 5737264"/>
              <a:gd name="connsiteY240" fmla="*/ 5024 h 1252696"/>
              <a:gd name="connsiteX241" fmla="*/ 412046 w 5737264"/>
              <a:gd name="connsiteY241" fmla="*/ 0 h 1252696"/>
              <a:gd name="connsiteX242" fmla="*/ 281417 w 5737264"/>
              <a:gd name="connsiteY242" fmla="*/ 10048 h 1252696"/>
              <a:gd name="connsiteX243" fmla="*/ 261320 w 5737264"/>
              <a:gd name="connsiteY243" fmla="*/ 15072 h 1252696"/>
              <a:gd name="connsiteX244" fmla="*/ 100547 w 5737264"/>
              <a:gd name="connsiteY244" fmla="*/ 20097 h 1252696"/>
              <a:gd name="connsiteX245" fmla="*/ 5087 w 5737264"/>
              <a:gd name="connsiteY245" fmla="*/ 30145 h 1252696"/>
              <a:gd name="connsiteX0" fmla="*/ 5087 w 5737264"/>
              <a:gd name="connsiteY0" fmla="*/ 30145 h 1252696"/>
              <a:gd name="connsiteX1" fmla="*/ 15136 w 5737264"/>
              <a:gd name="connsiteY1" fmla="*/ 115556 h 1252696"/>
              <a:gd name="connsiteX2" fmla="*/ 20160 w 5737264"/>
              <a:gd name="connsiteY2" fmla="*/ 150725 h 1252696"/>
              <a:gd name="connsiteX3" fmla="*/ 3753 w 5737264"/>
              <a:gd name="connsiteY3" fmla="*/ 224230 h 1252696"/>
              <a:gd name="connsiteX4" fmla="*/ 13800 w 5737264"/>
              <a:gd name="connsiteY4" fmla="*/ 342455 h 1252696"/>
              <a:gd name="connsiteX5" fmla="*/ 9300 w 5737264"/>
              <a:gd name="connsiteY5" fmla="*/ 569459 h 1252696"/>
              <a:gd name="connsiteX6" fmla="*/ 16706 w 5737264"/>
              <a:gd name="connsiteY6" fmla="*/ 852252 h 1252696"/>
              <a:gd name="connsiteX7" fmla="*/ 16182 w 5737264"/>
              <a:gd name="connsiteY7" fmla="*/ 1008786 h 1252696"/>
              <a:gd name="connsiteX8" fmla="*/ 25184 w 5737264"/>
              <a:gd name="connsiteY8" fmla="*/ 1100294 h 1252696"/>
              <a:gd name="connsiteX9" fmla="*/ 20160 w 5737264"/>
              <a:gd name="connsiteY9" fmla="*/ 1150536 h 1252696"/>
              <a:gd name="connsiteX10" fmla="*/ 25184 w 5737264"/>
              <a:gd name="connsiteY10" fmla="*/ 1170633 h 1252696"/>
              <a:gd name="connsiteX11" fmla="*/ 35232 w 5737264"/>
              <a:gd name="connsiteY11" fmla="*/ 1160584 h 1252696"/>
              <a:gd name="connsiteX12" fmla="*/ 55329 w 5737264"/>
              <a:gd name="connsiteY12" fmla="*/ 1100294 h 1252696"/>
              <a:gd name="connsiteX13" fmla="*/ 60353 w 5737264"/>
              <a:gd name="connsiteY13" fmla="*/ 1085222 h 1252696"/>
              <a:gd name="connsiteX14" fmla="*/ 70402 w 5737264"/>
              <a:gd name="connsiteY14" fmla="*/ 1075173 h 1252696"/>
              <a:gd name="connsiteX15" fmla="*/ 95522 w 5737264"/>
              <a:gd name="connsiteY15" fmla="*/ 1045028 h 1252696"/>
              <a:gd name="connsiteX16" fmla="*/ 110595 w 5737264"/>
              <a:gd name="connsiteY16" fmla="*/ 1040004 h 1252696"/>
              <a:gd name="connsiteX17" fmla="*/ 135716 w 5737264"/>
              <a:gd name="connsiteY17" fmla="*/ 1019908 h 1252696"/>
              <a:gd name="connsiteX18" fmla="*/ 150788 w 5737264"/>
              <a:gd name="connsiteY18" fmla="*/ 1009859 h 1252696"/>
              <a:gd name="connsiteX19" fmla="*/ 175909 w 5737264"/>
              <a:gd name="connsiteY19" fmla="*/ 994787 h 1252696"/>
              <a:gd name="connsiteX20" fmla="*/ 216103 w 5737264"/>
              <a:gd name="connsiteY20" fmla="*/ 984738 h 1252696"/>
              <a:gd name="connsiteX21" fmla="*/ 286441 w 5737264"/>
              <a:gd name="connsiteY21" fmla="*/ 994787 h 1252696"/>
              <a:gd name="connsiteX22" fmla="*/ 301514 w 5737264"/>
              <a:gd name="connsiteY22" fmla="*/ 1004835 h 1252696"/>
              <a:gd name="connsiteX23" fmla="*/ 321610 w 5737264"/>
              <a:gd name="connsiteY23" fmla="*/ 1034980 h 1252696"/>
              <a:gd name="connsiteX24" fmla="*/ 356780 w 5737264"/>
              <a:gd name="connsiteY24" fmla="*/ 1065125 h 1252696"/>
              <a:gd name="connsiteX25" fmla="*/ 366828 w 5737264"/>
              <a:gd name="connsiteY25" fmla="*/ 1080198 h 1252696"/>
              <a:gd name="connsiteX26" fmla="*/ 381900 w 5737264"/>
              <a:gd name="connsiteY26" fmla="*/ 1085222 h 1252696"/>
              <a:gd name="connsiteX27" fmla="*/ 396973 w 5737264"/>
              <a:gd name="connsiteY27" fmla="*/ 1095270 h 1252696"/>
              <a:gd name="connsiteX28" fmla="*/ 407021 w 5737264"/>
              <a:gd name="connsiteY28" fmla="*/ 1105319 h 1252696"/>
              <a:gd name="connsiteX29" fmla="*/ 422094 w 5737264"/>
              <a:gd name="connsiteY29" fmla="*/ 1110343 h 1252696"/>
              <a:gd name="connsiteX30" fmla="*/ 437166 w 5737264"/>
              <a:gd name="connsiteY30" fmla="*/ 1120391 h 1252696"/>
              <a:gd name="connsiteX31" fmla="*/ 467311 w 5737264"/>
              <a:gd name="connsiteY31" fmla="*/ 1130439 h 1252696"/>
              <a:gd name="connsiteX32" fmla="*/ 522577 w 5737264"/>
              <a:gd name="connsiteY32" fmla="*/ 1115367 h 1252696"/>
              <a:gd name="connsiteX33" fmla="*/ 552722 w 5737264"/>
              <a:gd name="connsiteY33" fmla="*/ 1075173 h 1252696"/>
              <a:gd name="connsiteX34" fmla="*/ 567795 w 5737264"/>
              <a:gd name="connsiteY34" fmla="*/ 1070149 h 1252696"/>
              <a:gd name="connsiteX35" fmla="*/ 582867 w 5737264"/>
              <a:gd name="connsiteY35" fmla="*/ 1060101 h 1252696"/>
              <a:gd name="connsiteX36" fmla="*/ 638133 w 5737264"/>
              <a:gd name="connsiteY36" fmla="*/ 1045028 h 1252696"/>
              <a:gd name="connsiteX37" fmla="*/ 653206 w 5737264"/>
              <a:gd name="connsiteY37" fmla="*/ 1040004 h 1252696"/>
              <a:gd name="connsiteX38" fmla="*/ 693399 w 5737264"/>
              <a:gd name="connsiteY38" fmla="*/ 1045028 h 1252696"/>
              <a:gd name="connsiteX39" fmla="*/ 723544 w 5737264"/>
              <a:gd name="connsiteY39" fmla="*/ 1055077 h 1252696"/>
              <a:gd name="connsiteX40" fmla="*/ 733593 w 5737264"/>
              <a:gd name="connsiteY40" fmla="*/ 1065125 h 1252696"/>
              <a:gd name="connsiteX41" fmla="*/ 768762 w 5737264"/>
              <a:gd name="connsiteY41" fmla="*/ 1080198 h 1252696"/>
              <a:gd name="connsiteX42" fmla="*/ 803931 w 5737264"/>
              <a:gd name="connsiteY42" fmla="*/ 1105319 h 1252696"/>
              <a:gd name="connsiteX43" fmla="*/ 834076 w 5737264"/>
              <a:gd name="connsiteY43" fmla="*/ 1130439 h 1252696"/>
              <a:gd name="connsiteX44" fmla="*/ 869246 w 5737264"/>
              <a:gd name="connsiteY44" fmla="*/ 1140488 h 1252696"/>
              <a:gd name="connsiteX45" fmla="*/ 909439 w 5737264"/>
              <a:gd name="connsiteY45" fmla="*/ 1175657 h 1252696"/>
              <a:gd name="connsiteX46" fmla="*/ 939584 w 5737264"/>
              <a:gd name="connsiteY46" fmla="*/ 1185705 h 1252696"/>
              <a:gd name="connsiteX47" fmla="*/ 979777 w 5737264"/>
              <a:gd name="connsiteY47" fmla="*/ 1180681 h 1252696"/>
              <a:gd name="connsiteX48" fmla="*/ 989826 w 5737264"/>
              <a:gd name="connsiteY48" fmla="*/ 1170633 h 1252696"/>
              <a:gd name="connsiteX49" fmla="*/ 1004898 w 5737264"/>
              <a:gd name="connsiteY49" fmla="*/ 1150536 h 1252696"/>
              <a:gd name="connsiteX50" fmla="*/ 1014947 w 5737264"/>
              <a:gd name="connsiteY50" fmla="*/ 1120391 h 1252696"/>
              <a:gd name="connsiteX51" fmla="*/ 1040067 w 5737264"/>
              <a:gd name="connsiteY51" fmla="*/ 1095270 h 1252696"/>
              <a:gd name="connsiteX52" fmla="*/ 1050116 w 5737264"/>
              <a:gd name="connsiteY52" fmla="*/ 1085222 h 1252696"/>
              <a:gd name="connsiteX53" fmla="*/ 1075237 w 5737264"/>
              <a:gd name="connsiteY53" fmla="*/ 1065125 h 1252696"/>
              <a:gd name="connsiteX54" fmla="*/ 1090309 w 5737264"/>
              <a:gd name="connsiteY54" fmla="*/ 1050053 h 1252696"/>
              <a:gd name="connsiteX55" fmla="*/ 1120454 w 5737264"/>
              <a:gd name="connsiteY55" fmla="*/ 1040004 h 1252696"/>
              <a:gd name="connsiteX56" fmla="*/ 1135527 w 5737264"/>
              <a:gd name="connsiteY56" fmla="*/ 1034980 h 1252696"/>
              <a:gd name="connsiteX57" fmla="*/ 1160648 w 5737264"/>
              <a:gd name="connsiteY57" fmla="*/ 1019908 h 1252696"/>
              <a:gd name="connsiteX58" fmla="*/ 1175720 w 5737264"/>
              <a:gd name="connsiteY58" fmla="*/ 1014883 h 1252696"/>
              <a:gd name="connsiteX59" fmla="*/ 1195817 w 5737264"/>
              <a:gd name="connsiteY59" fmla="*/ 1004835 h 1252696"/>
              <a:gd name="connsiteX60" fmla="*/ 1281228 w 5737264"/>
              <a:gd name="connsiteY60" fmla="*/ 1014883 h 1252696"/>
              <a:gd name="connsiteX61" fmla="*/ 1296300 w 5737264"/>
              <a:gd name="connsiteY61" fmla="*/ 1024932 h 1252696"/>
              <a:gd name="connsiteX62" fmla="*/ 1311373 w 5737264"/>
              <a:gd name="connsiteY62" fmla="*/ 1029956 h 1252696"/>
              <a:gd name="connsiteX63" fmla="*/ 1326446 w 5737264"/>
              <a:gd name="connsiteY63" fmla="*/ 1060101 h 1252696"/>
              <a:gd name="connsiteX64" fmla="*/ 1341518 w 5737264"/>
              <a:gd name="connsiteY64" fmla="*/ 1065125 h 1252696"/>
              <a:gd name="connsiteX65" fmla="*/ 1356591 w 5737264"/>
              <a:gd name="connsiteY65" fmla="*/ 1075173 h 1252696"/>
              <a:gd name="connsiteX66" fmla="*/ 1396784 w 5737264"/>
              <a:gd name="connsiteY66" fmla="*/ 1090246 h 1252696"/>
              <a:gd name="connsiteX67" fmla="*/ 1447026 w 5737264"/>
              <a:gd name="connsiteY67" fmla="*/ 1105319 h 1252696"/>
              <a:gd name="connsiteX68" fmla="*/ 1462098 w 5737264"/>
              <a:gd name="connsiteY68" fmla="*/ 1110343 h 1252696"/>
              <a:gd name="connsiteX69" fmla="*/ 1497267 w 5737264"/>
              <a:gd name="connsiteY69" fmla="*/ 1120391 h 1252696"/>
              <a:gd name="connsiteX70" fmla="*/ 1552533 w 5737264"/>
              <a:gd name="connsiteY70" fmla="*/ 1115367 h 1252696"/>
              <a:gd name="connsiteX71" fmla="*/ 1567606 w 5737264"/>
              <a:gd name="connsiteY71" fmla="*/ 1110343 h 1252696"/>
              <a:gd name="connsiteX72" fmla="*/ 1587703 w 5737264"/>
              <a:gd name="connsiteY72" fmla="*/ 1090246 h 1252696"/>
              <a:gd name="connsiteX73" fmla="*/ 1637944 w 5737264"/>
              <a:gd name="connsiteY73" fmla="*/ 1050053 h 1252696"/>
              <a:gd name="connsiteX74" fmla="*/ 1653017 w 5737264"/>
              <a:gd name="connsiteY74" fmla="*/ 1029956 h 1252696"/>
              <a:gd name="connsiteX75" fmla="*/ 1688186 w 5737264"/>
              <a:gd name="connsiteY75" fmla="*/ 1019908 h 1252696"/>
              <a:gd name="connsiteX76" fmla="*/ 1788670 w 5737264"/>
              <a:gd name="connsiteY76" fmla="*/ 1029956 h 1252696"/>
              <a:gd name="connsiteX77" fmla="*/ 1818815 w 5737264"/>
              <a:gd name="connsiteY77" fmla="*/ 1040004 h 1252696"/>
              <a:gd name="connsiteX78" fmla="*/ 1853984 w 5737264"/>
              <a:gd name="connsiteY78" fmla="*/ 1050053 h 1252696"/>
              <a:gd name="connsiteX79" fmla="*/ 1869056 w 5737264"/>
              <a:gd name="connsiteY79" fmla="*/ 1060101 h 1252696"/>
              <a:gd name="connsiteX80" fmla="*/ 1894177 w 5737264"/>
              <a:gd name="connsiteY80" fmla="*/ 1065125 h 1252696"/>
              <a:gd name="connsiteX81" fmla="*/ 1939918 w 5737264"/>
              <a:gd name="connsiteY81" fmla="*/ 1099510 h 1252696"/>
              <a:gd name="connsiteX82" fmla="*/ 1976683 w 5737264"/>
              <a:gd name="connsiteY82" fmla="*/ 1130727 h 1252696"/>
              <a:gd name="connsiteX83" fmla="*/ 2014758 w 5737264"/>
              <a:gd name="connsiteY83" fmla="*/ 1157968 h 1252696"/>
              <a:gd name="connsiteX84" fmla="*/ 2042259 w 5737264"/>
              <a:gd name="connsiteY84" fmla="*/ 1156371 h 1252696"/>
              <a:gd name="connsiteX85" fmla="*/ 2120265 w 5737264"/>
              <a:gd name="connsiteY85" fmla="*/ 1120391 h 1252696"/>
              <a:gd name="connsiteX86" fmla="*/ 2130314 w 5737264"/>
              <a:gd name="connsiteY86" fmla="*/ 1110343 h 1252696"/>
              <a:gd name="connsiteX87" fmla="*/ 2150672 w 5737264"/>
              <a:gd name="connsiteY87" fmla="*/ 1090769 h 1252696"/>
              <a:gd name="connsiteX88" fmla="*/ 2190604 w 5737264"/>
              <a:gd name="connsiteY88" fmla="*/ 1048718 h 1252696"/>
              <a:gd name="connsiteX89" fmla="*/ 2233964 w 5737264"/>
              <a:gd name="connsiteY89" fmla="*/ 1018311 h 1252696"/>
              <a:gd name="connsiteX90" fmla="*/ 2301136 w 5737264"/>
              <a:gd name="connsiteY90" fmla="*/ 994787 h 1252696"/>
              <a:gd name="connsiteX91" fmla="*/ 2316208 w 5737264"/>
              <a:gd name="connsiteY91" fmla="*/ 989763 h 1252696"/>
              <a:gd name="connsiteX92" fmla="*/ 2405309 w 5737264"/>
              <a:gd name="connsiteY92" fmla="*/ 999288 h 1252696"/>
              <a:gd name="connsiteX93" fmla="*/ 2461909 w 5737264"/>
              <a:gd name="connsiteY93" fmla="*/ 1024932 h 1252696"/>
              <a:gd name="connsiteX94" fmla="*/ 2476982 w 5737264"/>
              <a:gd name="connsiteY94" fmla="*/ 1029956 h 1252696"/>
              <a:gd name="connsiteX95" fmla="*/ 2487030 w 5737264"/>
              <a:gd name="connsiteY95" fmla="*/ 1045028 h 1252696"/>
              <a:gd name="connsiteX96" fmla="*/ 2497078 w 5737264"/>
              <a:gd name="connsiteY96" fmla="*/ 1055077 h 1252696"/>
              <a:gd name="connsiteX97" fmla="*/ 2532248 w 5737264"/>
              <a:gd name="connsiteY97" fmla="*/ 1095270 h 1252696"/>
              <a:gd name="connsiteX98" fmla="*/ 2567417 w 5737264"/>
              <a:gd name="connsiteY98" fmla="*/ 1135464 h 1252696"/>
              <a:gd name="connsiteX99" fmla="*/ 2582489 w 5737264"/>
              <a:gd name="connsiteY99" fmla="*/ 1145512 h 1252696"/>
              <a:gd name="connsiteX100" fmla="*/ 2622683 w 5737264"/>
              <a:gd name="connsiteY100" fmla="*/ 1170633 h 1252696"/>
              <a:gd name="connsiteX101" fmla="*/ 2657852 w 5737264"/>
              <a:gd name="connsiteY101" fmla="*/ 1160584 h 1252696"/>
              <a:gd name="connsiteX102" fmla="*/ 2682973 w 5737264"/>
              <a:gd name="connsiteY102" fmla="*/ 1145512 h 1252696"/>
              <a:gd name="connsiteX103" fmla="*/ 2713118 w 5737264"/>
              <a:gd name="connsiteY103" fmla="*/ 1130439 h 1252696"/>
              <a:gd name="connsiteX104" fmla="*/ 2728191 w 5737264"/>
              <a:gd name="connsiteY104" fmla="*/ 1120391 h 1252696"/>
              <a:gd name="connsiteX105" fmla="*/ 2748287 w 5737264"/>
              <a:gd name="connsiteY105" fmla="*/ 1115367 h 1252696"/>
              <a:gd name="connsiteX106" fmla="*/ 2778432 w 5737264"/>
              <a:gd name="connsiteY106" fmla="*/ 1105319 h 1252696"/>
              <a:gd name="connsiteX107" fmla="*/ 2845055 w 5737264"/>
              <a:gd name="connsiteY107" fmla="*/ 1077554 h 1252696"/>
              <a:gd name="connsiteX108" fmla="*/ 2884463 w 5737264"/>
              <a:gd name="connsiteY108" fmla="*/ 1077292 h 1252696"/>
              <a:gd name="connsiteX109" fmla="*/ 2921490 w 5737264"/>
              <a:gd name="connsiteY109" fmla="*/ 1087079 h 1252696"/>
              <a:gd name="connsiteX110" fmla="*/ 2959303 w 5737264"/>
              <a:gd name="connsiteY110" fmla="*/ 1125415 h 1252696"/>
              <a:gd name="connsiteX111" fmla="*/ 2979399 w 5737264"/>
              <a:gd name="connsiteY111" fmla="*/ 1155560 h 1252696"/>
              <a:gd name="connsiteX112" fmla="*/ 2997900 w 5737264"/>
              <a:gd name="connsiteY112" fmla="*/ 1187825 h 1252696"/>
              <a:gd name="connsiteX113" fmla="*/ 3038878 w 5737264"/>
              <a:gd name="connsiteY113" fmla="*/ 1222994 h 1252696"/>
              <a:gd name="connsiteX114" fmla="*/ 3076168 w 5737264"/>
              <a:gd name="connsiteY114" fmla="*/ 1252354 h 1252696"/>
              <a:gd name="connsiteX115" fmla="*/ 3130125 w 5737264"/>
              <a:gd name="connsiteY115" fmla="*/ 1240971 h 1252696"/>
              <a:gd name="connsiteX116" fmla="*/ 3177985 w 5737264"/>
              <a:gd name="connsiteY116" fmla="*/ 1207372 h 1252696"/>
              <a:gd name="connsiteX117" fmla="*/ 3229535 w 5737264"/>
              <a:gd name="connsiteY117" fmla="*/ 1178561 h 1252696"/>
              <a:gd name="connsiteX118" fmla="*/ 3281634 w 5737264"/>
              <a:gd name="connsiteY118" fmla="*/ 1153440 h 1252696"/>
              <a:gd name="connsiteX119" fmla="*/ 3310995 w 5737264"/>
              <a:gd name="connsiteY119" fmla="*/ 1145512 h 1252696"/>
              <a:gd name="connsiteX120" fmla="*/ 3351188 w 5737264"/>
              <a:gd name="connsiteY120" fmla="*/ 1140488 h 1252696"/>
              <a:gd name="connsiteX121" fmla="*/ 3406454 w 5737264"/>
              <a:gd name="connsiteY121" fmla="*/ 1155560 h 1252696"/>
              <a:gd name="connsiteX122" fmla="*/ 3426551 w 5737264"/>
              <a:gd name="connsiteY122" fmla="*/ 1165609 h 1252696"/>
              <a:gd name="connsiteX123" fmla="*/ 3441624 w 5737264"/>
              <a:gd name="connsiteY123" fmla="*/ 1175657 h 1252696"/>
              <a:gd name="connsiteX124" fmla="*/ 3456696 w 5737264"/>
              <a:gd name="connsiteY124" fmla="*/ 1180681 h 1252696"/>
              <a:gd name="connsiteX125" fmla="*/ 3466744 w 5737264"/>
              <a:gd name="connsiteY125" fmla="*/ 1195754 h 1252696"/>
              <a:gd name="connsiteX126" fmla="*/ 3527035 w 5737264"/>
              <a:gd name="connsiteY126" fmla="*/ 1200778 h 1252696"/>
              <a:gd name="connsiteX127" fmla="*/ 3542107 w 5737264"/>
              <a:gd name="connsiteY127" fmla="*/ 1190730 h 1252696"/>
              <a:gd name="connsiteX128" fmla="*/ 3567228 w 5737264"/>
              <a:gd name="connsiteY128" fmla="*/ 1180681 h 1252696"/>
              <a:gd name="connsiteX129" fmla="*/ 3587325 w 5737264"/>
              <a:gd name="connsiteY129" fmla="*/ 1150536 h 1252696"/>
              <a:gd name="connsiteX130" fmla="*/ 3617470 w 5737264"/>
              <a:gd name="connsiteY130" fmla="*/ 1125415 h 1252696"/>
              <a:gd name="connsiteX131" fmla="*/ 3632542 w 5737264"/>
              <a:gd name="connsiteY131" fmla="*/ 1105319 h 1252696"/>
              <a:gd name="connsiteX132" fmla="*/ 3662687 w 5737264"/>
              <a:gd name="connsiteY132" fmla="*/ 1085222 h 1252696"/>
              <a:gd name="connsiteX133" fmla="*/ 3697856 w 5737264"/>
              <a:gd name="connsiteY133" fmla="*/ 1070149 h 1252696"/>
              <a:gd name="connsiteX134" fmla="*/ 3707905 w 5737264"/>
              <a:gd name="connsiteY134" fmla="*/ 1060101 h 1252696"/>
              <a:gd name="connsiteX135" fmla="*/ 3743074 w 5737264"/>
              <a:gd name="connsiteY135" fmla="*/ 1047148 h 1252696"/>
              <a:gd name="connsiteX136" fmla="*/ 3799125 w 5737264"/>
              <a:gd name="connsiteY136" fmla="*/ 1043982 h 1252696"/>
              <a:gd name="connsiteX137" fmla="*/ 3859651 w 5737264"/>
              <a:gd name="connsiteY137" fmla="*/ 1072033 h 1252696"/>
              <a:gd name="connsiteX138" fmla="*/ 3902226 w 5737264"/>
              <a:gd name="connsiteY138" fmla="*/ 1101367 h 1252696"/>
              <a:gd name="connsiteX139" fmla="*/ 3958041 w 5737264"/>
              <a:gd name="connsiteY139" fmla="*/ 1142346 h 1252696"/>
              <a:gd name="connsiteX140" fmla="*/ 4019404 w 5737264"/>
              <a:gd name="connsiteY140" fmla="*/ 1165609 h 1252696"/>
              <a:gd name="connsiteX141" fmla="*/ 4064621 w 5737264"/>
              <a:gd name="connsiteY141" fmla="*/ 1150536 h 1252696"/>
              <a:gd name="connsiteX142" fmla="*/ 4079694 w 5737264"/>
              <a:gd name="connsiteY142" fmla="*/ 1125415 h 1252696"/>
              <a:gd name="connsiteX143" fmla="*/ 4099791 w 5737264"/>
              <a:gd name="connsiteY143" fmla="*/ 1105319 h 1252696"/>
              <a:gd name="connsiteX144" fmla="*/ 4129936 w 5737264"/>
              <a:gd name="connsiteY144" fmla="*/ 1075173 h 1252696"/>
              <a:gd name="connsiteX145" fmla="*/ 4150032 w 5737264"/>
              <a:gd name="connsiteY145" fmla="*/ 1040004 h 1252696"/>
              <a:gd name="connsiteX146" fmla="*/ 4160081 w 5737264"/>
              <a:gd name="connsiteY146" fmla="*/ 1019908 h 1252696"/>
              <a:gd name="connsiteX147" fmla="*/ 4165105 w 5737264"/>
              <a:gd name="connsiteY147" fmla="*/ 1004835 h 1252696"/>
              <a:gd name="connsiteX148" fmla="*/ 4185202 w 5737264"/>
              <a:gd name="connsiteY148" fmla="*/ 984738 h 1252696"/>
              <a:gd name="connsiteX149" fmla="*/ 4200274 w 5737264"/>
              <a:gd name="connsiteY149" fmla="*/ 979714 h 1252696"/>
              <a:gd name="connsiteX150" fmla="*/ 4235443 w 5737264"/>
              <a:gd name="connsiteY150" fmla="*/ 954593 h 1252696"/>
              <a:gd name="connsiteX151" fmla="*/ 4275637 w 5737264"/>
              <a:gd name="connsiteY151" fmla="*/ 934497 h 1252696"/>
              <a:gd name="connsiteX152" fmla="*/ 4310806 w 5737264"/>
              <a:gd name="connsiteY152" fmla="*/ 914400 h 1252696"/>
              <a:gd name="connsiteX153" fmla="*/ 4325878 w 5737264"/>
              <a:gd name="connsiteY153" fmla="*/ 904352 h 1252696"/>
              <a:gd name="connsiteX154" fmla="*/ 4362094 w 5737264"/>
              <a:gd name="connsiteY154" fmla="*/ 909114 h 1252696"/>
              <a:gd name="connsiteX155" fmla="*/ 4417099 w 5737264"/>
              <a:gd name="connsiteY155" fmla="*/ 946141 h 1252696"/>
              <a:gd name="connsiteX156" fmla="*/ 4462316 w 5737264"/>
              <a:gd name="connsiteY156" fmla="*/ 1006955 h 1252696"/>
              <a:gd name="connsiteX157" fmla="*/ 4531320 w 5737264"/>
              <a:gd name="connsiteY157" fmla="*/ 1037650 h 1252696"/>
              <a:gd name="connsiteX158" fmla="*/ 4597184 w 5737264"/>
              <a:gd name="connsiteY158" fmla="*/ 969666 h 1252696"/>
              <a:gd name="connsiteX159" fmla="*/ 4617281 w 5737264"/>
              <a:gd name="connsiteY159" fmla="*/ 959617 h 1252696"/>
              <a:gd name="connsiteX160" fmla="*/ 4632353 w 5737264"/>
              <a:gd name="connsiteY160" fmla="*/ 944545 h 1252696"/>
              <a:gd name="connsiteX161" fmla="*/ 4652450 w 5737264"/>
              <a:gd name="connsiteY161" fmla="*/ 934497 h 1252696"/>
              <a:gd name="connsiteX162" fmla="*/ 4672547 w 5737264"/>
              <a:gd name="connsiteY162" fmla="*/ 919424 h 1252696"/>
              <a:gd name="connsiteX163" fmla="*/ 4737861 w 5737264"/>
              <a:gd name="connsiteY163" fmla="*/ 884255 h 1252696"/>
              <a:gd name="connsiteX164" fmla="*/ 4762982 w 5737264"/>
              <a:gd name="connsiteY164" fmla="*/ 879231 h 1252696"/>
              <a:gd name="connsiteX165" fmla="*/ 4778054 w 5737264"/>
              <a:gd name="connsiteY165" fmla="*/ 874206 h 1252696"/>
              <a:gd name="connsiteX166" fmla="*/ 4819294 w 5737264"/>
              <a:gd name="connsiteY166" fmla="*/ 873944 h 1252696"/>
              <a:gd name="connsiteX167" fmla="*/ 4877465 w 5737264"/>
              <a:gd name="connsiteY167" fmla="*/ 895638 h 1252696"/>
              <a:gd name="connsiteX168" fmla="*/ 4935347 w 5737264"/>
              <a:gd name="connsiteY168" fmla="*/ 934523 h 1252696"/>
              <a:gd name="connsiteX169" fmla="*/ 4995402 w 5737264"/>
              <a:gd name="connsiteY169" fmla="*/ 1006746 h 1252696"/>
              <a:gd name="connsiteX170" fmla="*/ 5024762 w 5737264"/>
              <a:gd name="connsiteY170" fmla="*/ 1051963 h 1252696"/>
              <a:gd name="connsiteX171" fmla="*/ 5092223 w 5737264"/>
              <a:gd name="connsiteY171" fmla="*/ 1016506 h 1252696"/>
              <a:gd name="connsiteX172" fmla="*/ 5144322 w 5737264"/>
              <a:gd name="connsiteY172" fmla="*/ 948261 h 1252696"/>
              <a:gd name="connsiteX173" fmla="*/ 5189252 w 5737264"/>
              <a:gd name="connsiteY173" fmla="*/ 886112 h 1252696"/>
              <a:gd name="connsiteX174" fmla="*/ 5226279 w 5737264"/>
              <a:gd name="connsiteY174" fmla="*/ 856230 h 1252696"/>
              <a:gd name="connsiteX175" fmla="*/ 5260637 w 5737264"/>
              <a:gd name="connsiteY175" fmla="*/ 822918 h 1252696"/>
              <a:gd name="connsiteX176" fmla="*/ 5295282 w 5737264"/>
              <a:gd name="connsiteY176" fmla="*/ 800440 h 1252696"/>
              <a:gd name="connsiteX177" fmla="*/ 5334430 w 5737264"/>
              <a:gd name="connsiteY177" fmla="*/ 794893 h 1252696"/>
              <a:gd name="connsiteX178" fmla="*/ 5412174 w 5737264"/>
              <a:gd name="connsiteY178" fmla="*/ 824252 h 1252696"/>
              <a:gd name="connsiteX179" fmla="*/ 5431197 w 5737264"/>
              <a:gd name="connsiteY179" fmla="*/ 768699 h 1252696"/>
              <a:gd name="connsiteX180" fmla="*/ 5441246 w 5737264"/>
              <a:gd name="connsiteY180" fmla="*/ 753626 h 1252696"/>
              <a:gd name="connsiteX181" fmla="*/ 5456318 w 5737264"/>
              <a:gd name="connsiteY181" fmla="*/ 708409 h 1252696"/>
              <a:gd name="connsiteX182" fmla="*/ 5466366 w 5737264"/>
              <a:gd name="connsiteY182" fmla="*/ 683288 h 1252696"/>
              <a:gd name="connsiteX183" fmla="*/ 5476415 w 5737264"/>
              <a:gd name="connsiteY183" fmla="*/ 643094 h 1252696"/>
              <a:gd name="connsiteX184" fmla="*/ 5491487 w 5737264"/>
              <a:gd name="connsiteY184" fmla="*/ 617973 h 1252696"/>
              <a:gd name="connsiteX185" fmla="*/ 5506560 w 5737264"/>
              <a:gd name="connsiteY185" fmla="*/ 572756 h 1252696"/>
              <a:gd name="connsiteX186" fmla="*/ 5526656 w 5737264"/>
              <a:gd name="connsiteY186" fmla="*/ 522514 h 1252696"/>
              <a:gd name="connsiteX187" fmla="*/ 5546753 w 5737264"/>
              <a:gd name="connsiteY187" fmla="*/ 467248 h 1252696"/>
              <a:gd name="connsiteX188" fmla="*/ 5556802 w 5737264"/>
              <a:gd name="connsiteY188" fmla="*/ 411982 h 1252696"/>
              <a:gd name="connsiteX189" fmla="*/ 5566850 w 5737264"/>
              <a:gd name="connsiteY189" fmla="*/ 381837 h 1252696"/>
              <a:gd name="connsiteX190" fmla="*/ 5576898 w 5737264"/>
              <a:gd name="connsiteY190" fmla="*/ 356716 h 1252696"/>
              <a:gd name="connsiteX191" fmla="*/ 5596995 w 5737264"/>
              <a:gd name="connsiteY191" fmla="*/ 316523 h 1252696"/>
              <a:gd name="connsiteX192" fmla="*/ 5617092 w 5737264"/>
              <a:gd name="connsiteY192" fmla="*/ 246184 h 1252696"/>
              <a:gd name="connsiteX193" fmla="*/ 5622116 w 5737264"/>
              <a:gd name="connsiteY193" fmla="*/ 226088 h 1252696"/>
              <a:gd name="connsiteX194" fmla="*/ 5632164 w 5737264"/>
              <a:gd name="connsiteY194" fmla="*/ 216039 h 1252696"/>
              <a:gd name="connsiteX195" fmla="*/ 5637188 w 5737264"/>
              <a:gd name="connsiteY195" fmla="*/ 200967 h 1252696"/>
              <a:gd name="connsiteX196" fmla="*/ 5651738 w 5737264"/>
              <a:gd name="connsiteY196" fmla="*/ 190395 h 1252696"/>
              <a:gd name="connsiteX197" fmla="*/ 5673692 w 5737264"/>
              <a:gd name="connsiteY197" fmla="*/ 153892 h 1252696"/>
              <a:gd name="connsiteX198" fmla="*/ 5726602 w 5737264"/>
              <a:gd name="connsiteY198" fmla="*/ 89362 h 1252696"/>
              <a:gd name="connsiteX199" fmla="*/ 5728722 w 5737264"/>
              <a:gd name="connsiteY199" fmla="*/ 42287 h 1252696"/>
              <a:gd name="connsiteX200" fmla="*/ 5634284 w 5737264"/>
              <a:gd name="connsiteY200" fmla="*/ 25357 h 1252696"/>
              <a:gd name="connsiteX201" fmla="*/ 5536940 w 5737264"/>
              <a:gd name="connsiteY201" fmla="*/ 27214 h 1252696"/>
              <a:gd name="connsiteX202" fmla="*/ 5470369 w 5737264"/>
              <a:gd name="connsiteY202" fmla="*/ 39381 h 1252696"/>
              <a:gd name="connsiteX203" fmla="*/ 5379124 w 5737264"/>
              <a:gd name="connsiteY203" fmla="*/ 39644 h 1252696"/>
              <a:gd name="connsiteX204" fmla="*/ 5309282 w 5737264"/>
              <a:gd name="connsiteY204" fmla="*/ 42287 h 1252696"/>
              <a:gd name="connsiteX205" fmla="*/ 5238682 w 5737264"/>
              <a:gd name="connsiteY205" fmla="*/ 54455 h 1252696"/>
              <a:gd name="connsiteX206" fmla="*/ 5108892 w 5737264"/>
              <a:gd name="connsiteY206" fmla="*/ 37524 h 1252696"/>
              <a:gd name="connsiteX207" fmla="*/ 5020026 w 5737264"/>
              <a:gd name="connsiteY207" fmla="*/ 39120 h 1252696"/>
              <a:gd name="connsiteX208" fmla="*/ 4946233 w 5737264"/>
              <a:gd name="connsiteY208" fmla="*/ 41240 h 1252696"/>
              <a:gd name="connsiteX209" fmla="*/ 4823272 w 5737264"/>
              <a:gd name="connsiteY209" fmla="*/ 50242 h 1252696"/>
              <a:gd name="connsiteX210" fmla="*/ 4727577 w 5737264"/>
              <a:gd name="connsiteY210" fmla="*/ 29073 h 1252696"/>
              <a:gd name="connsiteX211" fmla="*/ 4628376 w 5737264"/>
              <a:gd name="connsiteY211" fmla="*/ 41240 h 1252696"/>
              <a:gd name="connsiteX212" fmla="*/ 4565180 w 5737264"/>
              <a:gd name="connsiteY212" fmla="*/ 46264 h 1252696"/>
              <a:gd name="connsiteX213" fmla="*/ 4417596 w 5737264"/>
              <a:gd name="connsiteY213" fmla="*/ 44406 h 1252696"/>
              <a:gd name="connsiteX214" fmla="*/ 4139984 w 5737264"/>
              <a:gd name="connsiteY214" fmla="*/ 60290 h 1252696"/>
              <a:gd name="connsiteX215" fmla="*/ 3918920 w 5737264"/>
              <a:gd name="connsiteY215" fmla="*/ 50242 h 1252696"/>
              <a:gd name="connsiteX216" fmla="*/ 3873703 w 5737264"/>
              <a:gd name="connsiteY216" fmla="*/ 45217 h 1252696"/>
              <a:gd name="connsiteX217" fmla="*/ 3687808 w 5737264"/>
              <a:gd name="connsiteY217" fmla="*/ 40193 h 1252696"/>
              <a:gd name="connsiteX218" fmla="*/ 3662687 w 5737264"/>
              <a:gd name="connsiteY218" fmla="*/ 35169 h 1252696"/>
              <a:gd name="connsiteX219" fmla="*/ 3627518 w 5737264"/>
              <a:gd name="connsiteY219" fmla="*/ 25121 h 1252696"/>
              <a:gd name="connsiteX220" fmla="*/ 3547131 w 5737264"/>
              <a:gd name="connsiteY220" fmla="*/ 20097 h 1252696"/>
              <a:gd name="connsiteX221" fmla="*/ 3310995 w 5737264"/>
              <a:gd name="connsiteY221" fmla="*/ 25121 h 1252696"/>
              <a:gd name="connsiteX222" fmla="*/ 3265777 w 5737264"/>
              <a:gd name="connsiteY222" fmla="*/ 30145 h 1252696"/>
              <a:gd name="connsiteX223" fmla="*/ 3175342 w 5737264"/>
              <a:gd name="connsiteY223" fmla="*/ 35169 h 1252696"/>
              <a:gd name="connsiteX224" fmla="*/ 2582489 w 5737264"/>
              <a:gd name="connsiteY224" fmla="*/ 45217 h 1252696"/>
              <a:gd name="connsiteX225" fmla="*/ 2255918 w 5737264"/>
              <a:gd name="connsiteY225" fmla="*/ 40193 h 1252696"/>
              <a:gd name="connsiteX226" fmla="*/ 1974564 w 5737264"/>
              <a:gd name="connsiteY226" fmla="*/ 30145 h 1252696"/>
              <a:gd name="connsiteX227" fmla="*/ 1944419 w 5737264"/>
              <a:gd name="connsiteY227" fmla="*/ 25121 h 1252696"/>
              <a:gd name="connsiteX228" fmla="*/ 1848960 w 5737264"/>
              <a:gd name="connsiteY228" fmla="*/ 20097 h 1252696"/>
              <a:gd name="connsiteX229" fmla="*/ 1768573 w 5737264"/>
              <a:gd name="connsiteY229" fmla="*/ 10048 h 1252696"/>
              <a:gd name="connsiteX230" fmla="*/ 1502292 w 5737264"/>
              <a:gd name="connsiteY230" fmla="*/ 20097 h 1252696"/>
              <a:gd name="connsiteX231" fmla="*/ 1467122 w 5737264"/>
              <a:gd name="connsiteY231" fmla="*/ 25121 h 1252696"/>
              <a:gd name="connsiteX232" fmla="*/ 1426929 w 5737264"/>
              <a:gd name="connsiteY232" fmla="*/ 30145 h 1252696"/>
              <a:gd name="connsiteX233" fmla="*/ 1341518 w 5737264"/>
              <a:gd name="connsiteY233" fmla="*/ 45217 h 1252696"/>
              <a:gd name="connsiteX234" fmla="*/ 1095333 w 5737264"/>
              <a:gd name="connsiteY234" fmla="*/ 35169 h 1252696"/>
              <a:gd name="connsiteX235" fmla="*/ 979777 w 5737264"/>
              <a:gd name="connsiteY235" fmla="*/ 20097 h 1252696"/>
              <a:gd name="connsiteX236" fmla="*/ 939584 w 5737264"/>
              <a:gd name="connsiteY236" fmla="*/ 10048 h 1252696"/>
              <a:gd name="connsiteX237" fmla="*/ 813980 w 5737264"/>
              <a:gd name="connsiteY237" fmla="*/ 0 h 1252696"/>
              <a:gd name="connsiteX238" fmla="*/ 743641 w 5737264"/>
              <a:gd name="connsiteY238" fmla="*/ 5024 h 1252696"/>
              <a:gd name="connsiteX239" fmla="*/ 582867 w 5737264"/>
              <a:gd name="connsiteY239" fmla="*/ 15072 h 1252696"/>
              <a:gd name="connsiteX240" fmla="*/ 432142 w 5737264"/>
              <a:gd name="connsiteY240" fmla="*/ 5024 h 1252696"/>
              <a:gd name="connsiteX241" fmla="*/ 412046 w 5737264"/>
              <a:gd name="connsiteY241" fmla="*/ 0 h 1252696"/>
              <a:gd name="connsiteX242" fmla="*/ 281417 w 5737264"/>
              <a:gd name="connsiteY242" fmla="*/ 10048 h 1252696"/>
              <a:gd name="connsiteX243" fmla="*/ 261320 w 5737264"/>
              <a:gd name="connsiteY243" fmla="*/ 15072 h 1252696"/>
              <a:gd name="connsiteX244" fmla="*/ 100547 w 5737264"/>
              <a:gd name="connsiteY244" fmla="*/ 20097 h 1252696"/>
              <a:gd name="connsiteX245" fmla="*/ 5087 w 5737264"/>
              <a:gd name="connsiteY245" fmla="*/ 30145 h 1252696"/>
              <a:gd name="connsiteX0" fmla="*/ 4397 w 5736574"/>
              <a:gd name="connsiteY0" fmla="*/ 30145 h 1252696"/>
              <a:gd name="connsiteX1" fmla="*/ 14446 w 5736574"/>
              <a:gd name="connsiteY1" fmla="*/ 115556 h 1252696"/>
              <a:gd name="connsiteX2" fmla="*/ 420 w 5736574"/>
              <a:gd name="connsiteY2" fmla="*/ 145963 h 1252696"/>
              <a:gd name="connsiteX3" fmla="*/ 3063 w 5736574"/>
              <a:gd name="connsiteY3" fmla="*/ 224230 h 1252696"/>
              <a:gd name="connsiteX4" fmla="*/ 13110 w 5736574"/>
              <a:gd name="connsiteY4" fmla="*/ 342455 h 1252696"/>
              <a:gd name="connsiteX5" fmla="*/ 8610 w 5736574"/>
              <a:gd name="connsiteY5" fmla="*/ 569459 h 1252696"/>
              <a:gd name="connsiteX6" fmla="*/ 16016 w 5736574"/>
              <a:gd name="connsiteY6" fmla="*/ 852252 h 1252696"/>
              <a:gd name="connsiteX7" fmla="*/ 15492 w 5736574"/>
              <a:gd name="connsiteY7" fmla="*/ 1008786 h 1252696"/>
              <a:gd name="connsiteX8" fmla="*/ 24494 w 5736574"/>
              <a:gd name="connsiteY8" fmla="*/ 1100294 h 1252696"/>
              <a:gd name="connsiteX9" fmla="*/ 19470 w 5736574"/>
              <a:gd name="connsiteY9" fmla="*/ 1150536 h 1252696"/>
              <a:gd name="connsiteX10" fmla="*/ 24494 w 5736574"/>
              <a:gd name="connsiteY10" fmla="*/ 1170633 h 1252696"/>
              <a:gd name="connsiteX11" fmla="*/ 34542 w 5736574"/>
              <a:gd name="connsiteY11" fmla="*/ 1160584 h 1252696"/>
              <a:gd name="connsiteX12" fmla="*/ 54639 w 5736574"/>
              <a:gd name="connsiteY12" fmla="*/ 1100294 h 1252696"/>
              <a:gd name="connsiteX13" fmla="*/ 59663 w 5736574"/>
              <a:gd name="connsiteY13" fmla="*/ 1085222 h 1252696"/>
              <a:gd name="connsiteX14" fmla="*/ 69712 w 5736574"/>
              <a:gd name="connsiteY14" fmla="*/ 1075173 h 1252696"/>
              <a:gd name="connsiteX15" fmla="*/ 94832 w 5736574"/>
              <a:gd name="connsiteY15" fmla="*/ 1045028 h 1252696"/>
              <a:gd name="connsiteX16" fmla="*/ 109905 w 5736574"/>
              <a:gd name="connsiteY16" fmla="*/ 1040004 h 1252696"/>
              <a:gd name="connsiteX17" fmla="*/ 135026 w 5736574"/>
              <a:gd name="connsiteY17" fmla="*/ 1019908 h 1252696"/>
              <a:gd name="connsiteX18" fmla="*/ 150098 w 5736574"/>
              <a:gd name="connsiteY18" fmla="*/ 1009859 h 1252696"/>
              <a:gd name="connsiteX19" fmla="*/ 175219 w 5736574"/>
              <a:gd name="connsiteY19" fmla="*/ 994787 h 1252696"/>
              <a:gd name="connsiteX20" fmla="*/ 215413 w 5736574"/>
              <a:gd name="connsiteY20" fmla="*/ 984738 h 1252696"/>
              <a:gd name="connsiteX21" fmla="*/ 285751 w 5736574"/>
              <a:gd name="connsiteY21" fmla="*/ 994787 h 1252696"/>
              <a:gd name="connsiteX22" fmla="*/ 300824 w 5736574"/>
              <a:gd name="connsiteY22" fmla="*/ 1004835 h 1252696"/>
              <a:gd name="connsiteX23" fmla="*/ 320920 w 5736574"/>
              <a:gd name="connsiteY23" fmla="*/ 1034980 h 1252696"/>
              <a:gd name="connsiteX24" fmla="*/ 356090 w 5736574"/>
              <a:gd name="connsiteY24" fmla="*/ 1065125 h 1252696"/>
              <a:gd name="connsiteX25" fmla="*/ 366138 w 5736574"/>
              <a:gd name="connsiteY25" fmla="*/ 1080198 h 1252696"/>
              <a:gd name="connsiteX26" fmla="*/ 381210 w 5736574"/>
              <a:gd name="connsiteY26" fmla="*/ 1085222 h 1252696"/>
              <a:gd name="connsiteX27" fmla="*/ 396283 w 5736574"/>
              <a:gd name="connsiteY27" fmla="*/ 1095270 h 1252696"/>
              <a:gd name="connsiteX28" fmla="*/ 406331 w 5736574"/>
              <a:gd name="connsiteY28" fmla="*/ 1105319 h 1252696"/>
              <a:gd name="connsiteX29" fmla="*/ 421404 w 5736574"/>
              <a:gd name="connsiteY29" fmla="*/ 1110343 h 1252696"/>
              <a:gd name="connsiteX30" fmla="*/ 436476 w 5736574"/>
              <a:gd name="connsiteY30" fmla="*/ 1120391 h 1252696"/>
              <a:gd name="connsiteX31" fmla="*/ 466621 w 5736574"/>
              <a:gd name="connsiteY31" fmla="*/ 1130439 h 1252696"/>
              <a:gd name="connsiteX32" fmla="*/ 521887 w 5736574"/>
              <a:gd name="connsiteY32" fmla="*/ 1115367 h 1252696"/>
              <a:gd name="connsiteX33" fmla="*/ 552032 w 5736574"/>
              <a:gd name="connsiteY33" fmla="*/ 1075173 h 1252696"/>
              <a:gd name="connsiteX34" fmla="*/ 567105 w 5736574"/>
              <a:gd name="connsiteY34" fmla="*/ 1070149 h 1252696"/>
              <a:gd name="connsiteX35" fmla="*/ 582177 w 5736574"/>
              <a:gd name="connsiteY35" fmla="*/ 1060101 h 1252696"/>
              <a:gd name="connsiteX36" fmla="*/ 637443 w 5736574"/>
              <a:gd name="connsiteY36" fmla="*/ 1045028 h 1252696"/>
              <a:gd name="connsiteX37" fmla="*/ 652516 w 5736574"/>
              <a:gd name="connsiteY37" fmla="*/ 1040004 h 1252696"/>
              <a:gd name="connsiteX38" fmla="*/ 692709 w 5736574"/>
              <a:gd name="connsiteY38" fmla="*/ 1045028 h 1252696"/>
              <a:gd name="connsiteX39" fmla="*/ 722854 w 5736574"/>
              <a:gd name="connsiteY39" fmla="*/ 1055077 h 1252696"/>
              <a:gd name="connsiteX40" fmla="*/ 732903 w 5736574"/>
              <a:gd name="connsiteY40" fmla="*/ 1065125 h 1252696"/>
              <a:gd name="connsiteX41" fmla="*/ 768072 w 5736574"/>
              <a:gd name="connsiteY41" fmla="*/ 1080198 h 1252696"/>
              <a:gd name="connsiteX42" fmla="*/ 803241 w 5736574"/>
              <a:gd name="connsiteY42" fmla="*/ 1105319 h 1252696"/>
              <a:gd name="connsiteX43" fmla="*/ 833386 w 5736574"/>
              <a:gd name="connsiteY43" fmla="*/ 1130439 h 1252696"/>
              <a:gd name="connsiteX44" fmla="*/ 868556 w 5736574"/>
              <a:gd name="connsiteY44" fmla="*/ 1140488 h 1252696"/>
              <a:gd name="connsiteX45" fmla="*/ 908749 w 5736574"/>
              <a:gd name="connsiteY45" fmla="*/ 1175657 h 1252696"/>
              <a:gd name="connsiteX46" fmla="*/ 938894 w 5736574"/>
              <a:gd name="connsiteY46" fmla="*/ 1185705 h 1252696"/>
              <a:gd name="connsiteX47" fmla="*/ 979087 w 5736574"/>
              <a:gd name="connsiteY47" fmla="*/ 1180681 h 1252696"/>
              <a:gd name="connsiteX48" fmla="*/ 989136 w 5736574"/>
              <a:gd name="connsiteY48" fmla="*/ 1170633 h 1252696"/>
              <a:gd name="connsiteX49" fmla="*/ 1004208 w 5736574"/>
              <a:gd name="connsiteY49" fmla="*/ 1150536 h 1252696"/>
              <a:gd name="connsiteX50" fmla="*/ 1014257 w 5736574"/>
              <a:gd name="connsiteY50" fmla="*/ 1120391 h 1252696"/>
              <a:gd name="connsiteX51" fmla="*/ 1039377 w 5736574"/>
              <a:gd name="connsiteY51" fmla="*/ 1095270 h 1252696"/>
              <a:gd name="connsiteX52" fmla="*/ 1049426 w 5736574"/>
              <a:gd name="connsiteY52" fmla="*/ 1085222 h 1252696"/>
              <a:gd name="connsiteX53" fmla="*/ 1074547 w 5736574"/>
              <a:gd name="connsiteY53" fmla="*/ 1065125 h 1252696"/>
              <a:gd name="connsiteX54" fmla="*/ 1089619 w 5736574"/>
              <a:gd name="connsiteY54" fmla="*/ 1050053 h 1252696"/>
              <a:gd name="connsiteX55" fmla="*/ 1119764 w 5736574"/>
              <a:gd name="connsiteY55" fmla="*/ 1040004 h 1252696"/>
              <a:gd name="connsiteX56" fmla="*/ 1134837 w 5736574"/>
              <a:gd name="connsiteY56" fmla="*/ 1034980 h 1252696"/>
              <a:gd name="connsiteX57" fmla="*/ 1159958 w 5736574"/>
              <a:gd name="connsiteY57" fmla="*/ 1019908 h 1252696"/>
              <a:gd name="connsiteX58" fmla="*/ 1175030 w 5736574"/>
              <a:gd name="connsiteY58" fmla="*/ 1014883 h 1252696"/>
              <a:gd name="connsiteX59" fmla="*/ 1195127 w 5736574"/>
              <a:gd name="connsiteY59" fmla="*/ 1004835 h 1252696"/>
              <a:gd name="connsiteX60" fmla="*/ 1280538 w 5736574"/>
              <a:gd name="connsiteY60" fmla="*/ 1014883 h 1252696"/>
              <a:gd name="connsiteX61" fmla="*/ 1295610 w 5736574"/>
              <a:gd name="connsiteY61" fmla="*/ 1024932 h 1252696"/>
              <a:gd name="connsiteX62" fmla="*/ 1310683 w 5736574"/>
              <a:gd name="connsiteY62" fmla="*/ 1029956 h 1252696"/>
              <a:gd name="connsiteX63" fmla="*/ 1325756 w 5736574"/>
              <a:gd name="connsiteY63" fmla="*/ 1060101 h 1252696"/>
              <a:gd name="connsiteX64" fmla="*/ 1340828 w 5736574"/>
              <a:gd name="connsiteY64" fmla="*/ 1065125 h 1252696"/>
              <a:gd name="connsiteX65" fmla="*/ 1355901 w 5736574"/>
              <a:gd name="connsiteY65" fmla="*/ 1075173 h 1252696"/>
              <a:gd name="connsiteX66" fmla="*/ 1396094 w 5736574"/>
              <a:gd name="connsiteY66" fmla="*/ 1090246 h 1252696"/>
              <a:gd name="connsiteX67" fmla="*/ 1446336 w 5736574"/>
              <a:gd name="connsiteY67" fmla="*/ 1105319 h 1252696"/>
              <a:gd name="connsiteX68" fmla="*/ 1461408 w 5736574"/>
              <a:gd name="connsiteY68" fmla="*/ 1110343 h 1252696"/>
              <a:gd name="connsiteX69" fmla="*/ 1496577 w 5736574"/>
              <a:gd name="connsiteY69" fmla="*/ 1120391 h 1252696"/>
              <a:gd name="connsiteX70" fmla="*/ 1551843 w 5736574"/>
              <a:gd name="connsiteY70" fmla="*/ 1115367 h 1252696"/>
              <a:gd name="connsiteX71" fmla="*/ 1566916 w 5736574"/>
              <a:gd name="connsiteY71" fmla="*/ 1110343 h 1252696"/>
              <a:gd name="connsiteX72" fmla="*/ 1587013 w 5736574"/>
              <a:gd name="connsiteY72" fmla="*/ 1090246 h 1252696"/>
              <a:gd name="connsiteX73" fmla="*/ 1637254 w 5736574"/>
              <a:gd name="connsiteY73" fmla="*/ 1050053 h 1252696"/>
              <a:gd name="connsiteX74" fmla="*/ 1652327 w 5736574"/>
              <a:gd name="connsiteY74" fmla="*/ 1029956 h 1252696"/>
              <a:gd name="connsiteX75" fmla="*/ 1687496 w 5736574"/>
              <a:gd name="connsiteY75" fmla="*/ 1019908 h 1252696"/>
              <a:gd name="connsiteX76" fmla="*/ 1787980 w 5736574"/>
              <a:gd name="connsiteY76" fmla="*/ 1029956 h 1252696"/>
              <a:gd name="connsiteX77" fmla="*/ 1818125 w 5736574"/>
              <a:gd name="connsiteY77" fmla="*/ 1040004 h 1252696"/>
              <a:gd name="connsiteX78" fmla="*/ 1853294 w 5736574"/>
              <a:gd name="connsiteY78" fmla="*/ 1050053 h 1252696"/>
              <a:gd name="connsiteX79" fmla="*/ 1868366 w 5736574"/>
              <a:gd name="connsiteY79" fmla="*/ 1060101 h 1252696"/>
              <a:gd name="connsiteX80" fmla="*/ 1893487 w 5736574"/>
              <a:gd name="connsiteY80" fmla="*/ 1065125 h 1252696"/>
              <a:gd name="connsiteX81" fmla="*/ 1939228 w 5736574"/>
              <a:gd name="connsiteY81" fmla="*/ 1099510 h 1252696"/>
              <a:gd name="connsiteX82" fmla="*/ 1975993 w 5736574"/>
              <a:gd name="connsiteY82" fmla="*/ 1130727 h 1252696"/>
              <a:gd name="connsiteX83" fmla="*/ 2014068 w 5736574"/>
              <a:gd name="connsiteY83" fmla="*/ 1157968 h 1252696"/>
              <a:gd name="connsiteX84" fmla="*/ 2041569 w 5736574"/>
              <a:gd name="connsiteY84" fmla="*/ 1156371 h 1252696"/>
              <a:gd name="connsiteX85" fmla="*/ 2119575 w 5736574"/>
              <a:gd name="connsiteY85" fmla="*/ 1120391 h 1252696"/>
              <a:gd name="connsiteX86" fmla="*/ 2129624 w 5736574"/>
              <a:gd name="connsiteY86" fmla="*/ 1110343 h 1252696"/>
              <a:gd name="connsiteX87" fmla="*/ 2149982 w 5736574"/>
              <a:gd name="connsiteY87" fmla="*/ 1090769 h 1252696"/>
              <a:gd name="connsiteX88" fmla="*/ 2189914 w 5736574"/>
              <a:gd name="connsiteY88" fmla="*/ 1048718 h 1252696"/>
              <a:gd name="connsiteX89" fmla="*/ 2233274 w 5736574"/>
              <a:gd name="connsiteY89" fmla="*/ 1018311 h 1252696"/>
              <a:gd name="connsiteX90" fmla="*/ 2300446 w 5736574"/>
              <a:gd name="connsiteY90" fmla="*/ 994787 h 1252696"/>
              <a:gd name="connsiteX91" fmla="*/ 2315518 w 5736574"/>
              <a:gd name="connsiteY91" fmla="*/ 989763 h 1252696"/>
              <a:gd name="connsiteX92" fmla="*/ 2404619 w 5736574"/>
              <a:gd name="connsiteY92" fmla="*/ 999288 h 1252696"/>
              <a:gd name="connsiteX93" fmla="*/ 2461219 w 5736574"/>
              <a:gd name="connsiteY93" fmla="*/ 1024932 h 1252696"/>
              <a:gd name="connsiteX94" fmla="*/ 2476292 w 5736574"/>
              <a:gd name="connsiteY94" fmla="*/ 1029956 h 1252696"/>
              <a:gd name="connsiteX95" fmla="*/ 2486340 w 5736574"/>
              <a:gd name="connsiteY95" fmla="*/ 1045028 h 1252696"/>
              <a:gd name="connsiteX96" fmla="*/ 2496388 w 5736574"/>
              <a:gd name="connsiteY96" fmla="*/ 1055077 h 1252696"/>
              <a:gd name="connsiteX97" fmla="*/ 2531558 w 5736574"/>
              <a:gd name="connsiteY97" fmla="*/ 1095270 h 1252696"/>
              <a:gd name="connsiteX98" fmla="*/ 2566727 w 5736574"/>
              <a:gd name="connsiteY98" fmla="*/ 1135464 h 1252696"/>
              <a:gd name="connsiteX99" fmla="*/ 2581799 w 5736574"/>
              <a:gd name="connsiteY99" fmla="*/ 1145512 h 1252696"/>
              <a:gd name="connsiteX100" fmla="*/ 2621993 w 5736574"/>
              <a:gd name="connsiteY100" fmla="*/ 1170633 h 1252696"/>
              <a:gd name="connsiteX101" fmla="*/ 2657162 w 5736574"/>
              <a:gd name="connsiteY101" fmla="*/ 1160584 h 1252696"/>
              <a:gd name="connsiteX102" fmla="*/ 2682283 w 5736574"/>
              <a:gd name="connsiteY102" fmla="*/ 1145512 h 1252696"/>
              <a:gd name="connsiteX103" fmla="*/ 2712428 w 5736574"/>
              <a:gd name="connsiteY103" fmla="*/ 1130439 h 1252696"/>
              <a:gd name="connsiteX104" fmla="*/ 2727501 w 5736574"/>
              <a:gd name="connsiteY104" fmla="*/ 1120391 h 1252696"/>
              <a:gd name="connsiteX105" fmla="*/ 2747597 w 5736574"/>
              <a:gd name="connsiteY105" fmla="*/ 1115367 h 1252696"/>
              <a:gd name="connsiteX106" fmla="*/ 2777742 w 5736574"/>
              <a:gd name="connsiteY106" fmla="*/ 1105319 h 1252696"/>
              <a:gd name="connsiteX107" fmla="*/ 2844365 w 5736574"/>
              <a:gd name="connsiteY107" fmla="*/ 1077554 h 1252696"/>
              <a:gd name="connsiteX108" fmla="*/ 2883773 w 5736574"/>
              <a:gd name="connsiteY108" fmla="*/ 1077292 h 1252696"/>
              <a:gd name="connsiteX109" fmla="*/ 2920800 w 5736574"/>
              <a:gd name="connsiteY109" fmla="*/ 1087079 h 1252696"/>
              <a:gd name="connsiteX110" fmla="*/ 2958613 w 5736574"/>
              <a:gd name="connsiteY110" fmla="*/ 1125415 h 1252696"/>
              <a:gd name="connsiteX111" fmla="*/ 2978709 w 5736574"/>
              <a:gd name="connsiteY111" fmla="*/ 1155560 h 1252696"/>
              <a:gd name="connsiteX112" fmla="*/ 2997210 w 5736574"/>
              <a:gd name="connsiteY112" fmla="*/ 1187825 h 1252696"/>
              <a:gd name="connsiteX113" fmla="*/ 3038188 w 5736574"/>
              <a:gd name="connsiteY113" fmla="*/ 1222994 h 1252696"/>
              <a:gd name="connsiteX114" fmla="*/ 3075478 w 5736574"/>
              <a:gd name="connsiteY114" fmla="*/ 1252354 h 1252696"/>
              <a:gd name="connsiteX115" fmla="*/ 3129435 w 5736574"/>
              <a:gd name="connsiteY115" fmla="*/ 1240971 h 1252696"/>
              <a:gd name="connsiteX116" fmla="*/ 3177295 w 5736574"/>
              <a:gd name="connsiteY116" fmla="*/ 1207372 h 1252696"/>
              <a:gd name="connsiteX117" fmla="*/ 3228845 w 5736574"/>
              <a:gd name="connsiteY117" fmla="*/ 1178561 h 1252696"/>
              <a:gd name="connsiteX118" fmla="*/ 3280944 w 5736574"/>
              <a:gd name="connsiteY118" fmla="*/ 1153440 h 1252696"/>
              <a:gd name="connsiteX119" fmla="*/ 3310305 w 5736574"/>
              <a:gd name="connsiteY119" fmla="*/ 1145512 h 1252696"/>
              <a:gd name="connsiteX120" fmla="*/ 3350498 w 5736574"/>
              <a:gd name="connsiteY120" fmla="*/ 1140488 h 1252696"/>
              <a:gd name="connsiteX121" fmla="*/ 3405764 w 5736574"/>
              <a:gd name="connsiteY121" fmla="*/ 1155560 h 1252696"/>
              <a:gd name="connsiteX122" fmla="*/ 3425861 w 5736574"/>
              <a:gd name="connsiteY122" fmla="*/ 1165609 h 1252696"/>
              <a:gd name="connsiteX123" fmla="*/ 3440934 w 5736574"/>
              <a:gd name="connsiteY123" fmla="*/ 1175657 h 1252696"/>
              <a:gd name="connsiteX124" fmla="*/ 3456006 w 5736574"/>
              <a:gd name="connsiteY124" fmla="*/ 1180681 h 1252696"/>
              <a:gd name="connsiteX125" fmla="*/ 3466054 w 5736574"/>
              <a:gd name="connsiteY125" fmla="*/ 1195754 h 1252696"/>
              <a:gd name="connsiteX126" fmla="*/ 3526345 w 5736574"/>
              <a:gd name="connsiteY126" fmla="*/ 1200778 h 1252696"/>
              <a:gd name="connsiteX127" fmla="*/ 3541417 w 5736574"/>
              <a:gd name="connsiteY127" fmla="*/ 1190730 h 1252696"/>
              <a:gd name="connsiteX128" fmla="*/ 3566538 w 5736574"/>
              <a:gd name="connsiteY128" fmla="*/ 1180681 h 1252696"/>
              <a:gd name="connsiteX129" fmla="*/ 3586635 w 5736574"/>
              <a:gd name="connsiteY129" fmla="*/ 1150536 h 1252696"/>
              <a:gd name="connsiteX130" fmla="*/ 3616780 w 5736574"/>
              <a:gd name="connsiteY130" fmla="*/ 1125415 h 1252696"/>
              <a:gd name="connsiteX131" fmla="*/ 3631852 w 5736574"/>
              <a:gd name="connsiteY131" fmla="*/ 1105319 h 1252696"/>
              <a:gd name="connsiteX132" fmla="*/ 3661997 w 5736574"/>
              <a:gd name="connsiteY132" fmla="*/ 1085222 h 1252696"/>
              <a:gd name="connsiteX133" fmla="*/ 3697166 w 5736574"/>
              <a:gd name="connsiteY133" fmla="*/ 1070149 h 1252696"/>
              <a:gd name="connsiteX134" fmla="*/ 3707215 w 5736574"/>
              <a:gd name="connsiteY134" fmla="*/ 1060101 h 1252696"/>
              <a:gd name="connsiteX135" fmla="*/ 3742384 w 5736574"/>
              <a:gd name="connsiteY135" fmla="*/ 1047148 h 1252696"/>
              <a:gd name="connsiteX136" fmla="*/ 3798435 w 5736574"/>
              <a:gd name="connsiteY136" fmla="*/ 1043982 h 1252696"/>
              <a:gd name="connsiteX137" fmla="*/ 3858961 w 5736574"/>
              <a:gd name="connsiteY137" fmla="*/ 1072033 h 1252696"/>
              <a:gd name="connsiteX138" fmla="*/ 3901536 w 5736574"/>
              <a:gd name="connsiteY138" fmla="*/ 1101367 h 1252696"/>
              <a:gd name="connsiteX139" fmla="*/ 3957351 w 5736574"/>
              <a:gd name="connsiteY139" fmla="*/ 1142346 h 1252696"/>
              <a:gd name="connsiteX140" fmla="*/ 4018714 w 5736574"/>
              <a:gd name="connsiteY140" fmla="*/ 1165609 h 1252696"/>
              <a:gd name="connsiteX141" fmla="*/ 4063931 w 5736574"/>
              <a:gd name="connsiteY141" fmla="*/ 1150536 h 1252696"/>
              <a:gd name="connsiteX142" fmla="*/ 4079004 w 5736574"/>
              <a:gd name="connsiteY142" fmla="*/ 1125415 h 1252696"/>
              <a:gd name="connsiteX143" fmla="*/ 4099101 w 5736574"/>
              <a:gd name="connsiteY143" fmla="*/ 1105319 h 1252696"/>
              <a:gd name="connsiteX144" fmla="*/ 4129246 w 5736574"/>
              <a:gd name="connsiteY144" fmla="*/ 1075173 h 1252696"/>
              <a:gd name="connsiteX145" fmla="*/ 4149342 w 5736574"/>
              <a:gd name="connsiteY145" fmla="*/ 1040004 h 1252696"/>
              <a:gd name="connsiteX146" fmla="*/ 4159391 w 5736574"/>
              <a:gd name="connsiteY146" fmla="*/ 1019908 h 1252696"/>
              <a:gd name="connsiteX147" fmla="*/ 4164415 w 5736574"/>
              <a:gd name="connsiteY147" fmla="*/ 1004835 h 1252696"/>
              <a:gd name="connsiteX148" fmla="*/ 4184512 w 5736574"/>
              <a:gd name="connsiteY148" fmla="*/ 984738 h 1252696"/>
              <a:gd name="connsiteX149" fmla="*/ 4199584 w 5736574"/>
              <a:gd name="connsiteY149" fmla="*/ 979714 h 1252696"/>
              <a:gd name="connsiteX150" fmla="*/ 4234753 w 5736574"/>
              <a:gd name="connsiteY150" fmla="*/ 954593 h 1252696"/>
              <a:gd name="connsiteX151" fmla="*/ 4274947 w 5736574"/>
              <a:gd name="connsiteY151" fmla="*/ 934497 h 1252696"/>
              <a:gd name="connsiteX152" fmla="*/ 4310116 w 5736574"/>
              <a:gd name="connsiteY152" fmla="*/ 914400 h 1252696"/>
              <a:gd name="connsiteX153" fmla="*/ 4325188 w 5736574"/>
              <a:gd name="connsiteY153" fmla="*/ 904352 h 1252696"/>
              <a:gd name="connsiteX154" fmla="*/ 4361404 w 5736574"/>
              <a:gd name="connsiteY154" fmla="*/ 909114 h 1252696"/>
              <a:gd name="connsiteX155" fmla="*/ 4416409 w 5736574"/>
              <a:gd name="connsiteY155" fmla="*/ 946141 h 1252696"/>
              <a:gd name="connsiteX156" fmla="*/ 4461626 w 5736574"/>
              <a:gd name="connsiteY156" fmla="*/ 1006955 h 1252696"/>
              <a:gd name="connsiteX157" fmla="*/ 4530630 w 5736574"/>
              <a:gd name="connsiteY157" fmla="*/ 1037650 h 1252696"/>
              <a:gd name="connsiteX158" fmla="*/ 4596494 w 5736574"/>
              <a:gd name="connsiteY158" fmla="*/ 969666 h 1252696"/>
              <a:gd name="connsiteX159" fmla="*/ 4616591 w 5736574"/>
              <a:gd name="connsiteY159" fmla="*/ 959617 h 1252696"/>
              <a:gd name="connsiteX160" fmla="*/ 4631663 w 5736574"/>
              <a:gd name="connsiteY160" fmla="*/ 944545 h 1252696"/>
              <a:gd name="connsiteX161" fmla="*/ 4651760 w 5736574"/>
              <a:gd name="connsiteY161" fmla="*/ 934497 h 1252696"/>
              <a:gd name="connsiteX162" fmla="*/ 4671857 w 5736574"/>
              <a:gd name="connsiteY162" fmla="*/ 919424 h 1252696"/>
              <a:gd name="connsiteX163" fmla="*/ 4737171 w 5736574"/>
              <a:gd name="connsiteY163" fmla="*/ 884255 h 1252696"/>
              <a:gd name="connsiteX164" fmla="*/ 4762292 w 5736574"/>
              <a:gd name="connsiteY164" fmla="*/ 879231 h 1252696"/>
              <a:gd name="connsiteX165" fmla="*/ 4777364 w 5736574"/>
              <a:gd name="connsiteY165" fmla="*/ 874206 h 1252696"/>
              <a:gd name="connsiteX166" fmla="*/ 4818604 w 5736574"/>
              <a:gd name="connsiteY166" fmla="*/ 873944 h 1252696"/>
              <a:gd name="connsiteX167" fmla="*/ 4876775 w 5736574"/>
              <a:gd name="connsiteY167" fmla="*/ 895638 h 1252696"/>
              <a:gd name="connsiteX168" fmla="*/ 4934657 w 5736574"/>
              <a:gd name="connsiteY168" fmla="*/ 934523 h 1252696"/>
              <a:gd name="connsiteX169" fmla="*/ 4994712 w 5736574"/>
              <a:gd name="connsiteY169" fmla="*/ 1006746 h 1252696"/>
              <a:gd name="connsiteX170" fmla="*/ 5024072 w 5736574"/>
              <a:gd name="connsiteY170" fmla="*/ 1051963 h 1252696"/>
              <a:gd name="connsiteX171" fmla="*/ 5091533 w 5736574"/>
              <a:gd name="connsiteY171" fmla="*/ 1016506 h 1252696"/>
              <a:gd name="connsiteX172" fmla="*/ 5143632 w 5736574"/>
              <a:gd name="connsiteY172" fmla="*/ 948261 h 1252696"/>
              <a:gd name="connsiteX173" fmla="*/ 5188562 w 5736574"/>
              <a:gd name="connsiteY173" fmla="*/ 886112 h 1252696"/>
              <a:gd name="connsiteX174" fmla="*/ 5225589 w 5736574"/>
              <a:gd name="connsiteY174" fmla="*/ 856230 h 1252696"/>
              <a:gd name="connsiteX175" fmla="*/ 5259947 w 5736574"/>
              <a:gd name="connsiteY175" fmla="*/ 822918 h 1252696"/>
              <a:gd name="connsiteX176" fmla="*/ 5294592 w 5736574"/>
              <a:gd name="connsiteY176" fmla="*/ 800440 h 1252696"/>
              <a:gd name="connsiteX177" fmla="*/ 5333740 w 5736574"/>
              <a:gd name="connsiteY177" fmla="*/ 794893 h 1252696"/>
              <a:gd name="connsiteX178" fmla="*/ 5411484 w 5736574"/>
              <a:gd name="connsiteY178" fmla="*/ 824252 h 1252696"/>
              <a:gd name="connsiteX179" fmla="*/ 5430507 w 5736574"/>
              <a:gd name="connsiteY179" fmla="*/ 768699 h 1252696"/>
              <a:gd name="connsiteX180" fmla="*/ 5440556 w 5736574"/>
              <a:gd name="connsiteY180" fmla="*/ 753626 h 1252696"/>
              <a:gd name="connsiteX181" fmla="*/ 5455628 w 5736574"/>
              <a:gd name="connsiteY181" fmla="*/ 708409 h 1252696"/>
              <a:gd name="connsiteX182" fmla="*/ 5465676 w 5736574"/>
              <a:gd name="connsiteY182" fmla="*/ 683288 h 1252696"/>
              <a:gd name="connsiteX183" fmla="*/ 5475725 w 5736574"/>
              <a:gd name="connsiteY183" fmla="*/ 643094 h 1252696"/>
              <a:gd name="connsiteX184" fmla="*/ 5490797 w 5736574"/>
              <a:gd name="connsiteY184" fmla="*/ 617973 h 1252696"/>
              <a:gd name="connsiteX185" fmla="*/ 5505870 w 5736574"/>
              <a:gd name="connsiteY185" fmla="*/ 572756 h 1252696"/>
              <a:gd name="connsiteX186" fmla="*/ 5525966 w 5736574"/>
              <a:gd name="connsiteY186" fmla="*/ 522514 h 1252696"/>
              <a:gd name="connsiteX187" fmla="*/ 5546063 w 5736574"/>
              <a:gd name="connsiteY187" fmla="*/ 467248 h 1252696"/>
              <a:gd name="connsiteX188" fmla="*/ 5556112 w 5736574"/>
              <a:gd name="connsiteY188" fmla="*/ 411982 h 1252696"/>
              <a:gd name="connsiteX189" fmla="*/ 5566160 w 5736574"/>
              <a:gd name="connsiteY189" fmla="*/ 381837 h 1252696"/>
              <a:gd name="connsiteX190" fmla="*/ 5576208 w 5736574"/>
              <a:gd name="connsiteY190" fmla="*/ 356716 h 1252696"/>
              <a:gd name="connsiteX191" fmla="*/ 5596305 w 5736574"/>
              <a:gd name="connsiteY191" fmla="*/ 316523 h 1252696"/>
              <a:gd name="connsiteX192" fmla="*/ 5616402 w 5736574"/>
              <a:gd name="connsiteY192" fmla="*/ 246184 h 1252696"/>
              <a:gd name="connsiteX193" fmla="*/ 5621426 w 5736574"/>
              <a:gd name="connsiteY193" fmla="*/ 226088 h 1252696"/>
              <a:gd name="connsiteX194" fmla="*/ 5631474 w 5736574"/>
              <a:gd name="connsiteY194" fmla="*/ 216039 h 1252696"/>
              <a:gd name="connsiteX195" fmla="*/ 5636498 w 5736574"/>
              <a:gd name="connsiteY195" fmla="*/ 200967 h 1252696"/>
              <a:gd name="connsiteX196" fmla="*/ 5651048 w 5736574"/>
              <a:gd name="connsiteY196" fmla="*/ 190395 h 1252696"/>
              <a:gd name="connsiteX197" fmla="*/ 5673002 w 5736574"/>
              <a:gd name="connsiteY197" fmla="*/ 153892 h 1252696"/>
              <a:gd name="connsiteX198" fmla="*/ 5725912 w 5736574"/>
              <a:gd name="connsiteY198" fmla="*/ 89362 h 1252696"/>
              <a:gd name="connsiteX199" fmla="*/ 5728032 w 5736574"/>
              <a:gd name="connsiteY199" fmla="*/ 42287 h 1252696"/>
              <a:gd name="connsiteX200" fmla="*/ 5633594 w 5736574"/>
              <a:gd name="connsiteY200" fmla="*/ 25357 h 1252696"/>
              <a:gd name="connsiteX201" fmla="*/ 5536250 w 5736574"/>
              <a:gd name="connsiteY201" fmla="*/ 27214 h 1252696"/>
              <a:gd name="connsiteX202" fmla="*/ 5469679 w 5736574"/>
              <a:gd name="connsiteY202" fmla="*/ 39381 h 1252696"/>
              <a:gd name="connsiteX203" fmla="*/ 5378434 w 5736574"/>
              <a:gd name="connsiteY203" fmla="*/ 39644 h 1252696"/>
              <a:gd name="connsiteX204" fmla="*/ 5308592 w 5736574"/>
              <a:gd name="connsiteY204" fmla="*/ 42287 h 1252696"/>
              <a:gd name="connsiteX205" fmla="*/ 5237992 w 5736574"/>
              <a:gd name="connsiteY205" fmla="*/ 54455 h 1252696"/>
              <a:gd name="connsiteX206" fmla="*/ 5108202 w 5736574"/>
              <a:gd name="connsiteY206" fmla="*/ 37524 h 1252696"/>
              <a:gd name="connsiteX207" fmla="*/ 5019336 w 5736574"/>
              <a:gd name="connsiteY207" fmla="*/ 39120 h 1252696"/>
              <a:gd name="connsiteX208" fmla="*/ 4945543 w 5736574"/>
              <a:gd name="connsiteY208" fmla="*/ 41240 h 1252696"/>
              <a:gd name="connsiteX209" fmla="*/ 4822582 w 5736574"/>
              <a:gd name="connsiteY209" fmla="*/ 50242 h 1252696"/>
              <a:gd name="connsiteX210" fmla="*/ 4726887 w 5736574"/>
              <a:gd name="connsiteY210" fmla="*/ 29073 h 1252696"/>
              <a:gd name="connsiteX211" fmla="*/ 4627686 w 5736574"/>
              <a:gd name="connsiteY211" fmla="*/ 41240 h 1252696"/>
              <a:gd name="connsiteX212" fmla="*/ 4564490 w 5736574"/>
              <a:gd name="connsiteY212" fmla="*/ 46264 h 1252696"/>
              <a:gd name="connsiteX213" fmla="*/ 4416906 w 5736574"/>
              <a:gd name="connsiteY213" fmla="*/ 44406 h 1252696"/>
              <a:gd name="connsiteX214" fmla="*/ 4139294 w 5736574"/>
              <a:gd name="connsiteY214" fmla="*/ 60290 h 1252696"/>
              <a:gd name="connsiteX215" fmla="*/ 3918230 w 5736574"/>
              <a:gd name="connsiteY215" fmla="*/ 50242 h 1252696"/>
              <a:gd name="connsiteX216" fmla="*/ 3873013 w 5736574"/>
              <a:gd name="connsiteY216" fmla="*/ 45217 h 1252696"/>
              <a:gd name="connsiteX217" fmla="*/ 3687118 w 5736574"/>
              <a:gd name="connsiteY217" fmla="*/ 40193 h 1252696"/>
              <a:gd name="connsiteX218" fmla="*/ 3661997 w 5736574"/>
              <a:gd name="connsiteY218" fmla="*/ 35169 h 1252696"/>
              <a:gd name="connsiteX219" fmla="*/ 3626828 w 5736574"/>
              <a:gd name="connsiteY219" fmla="*/ 25121 h 1252696"/>
              <a:gd name="connsiteX220" fmla="*/ 3546441 w 5736574"/>
              <a:gd name="connsiteY220" fmla="*/ 20097 h 1252696"/>
              <a:gd name="connsiteX221" fmla="*/ 3310305 w 5736574"/>
              <a:gd name="connsiteY221" fmla="*/ 25121 h 1252696"/>
              <a:gd name="connsiteX222" fmla="*/ 3265087 w 5736574"/>
              <a:gd name="connsiteY222" fmla="*/ 30145 h 1252696"/>
              <a:gd name="connsiteX223" fmla="*/ 3174652 w 5736574"/>
              <a:gd name="connsiteY223" fmla="*/ 35169 h 1252696"/>
              <a:gd name="connsiteX224" fmla="*/ 2581799 w 5736574"/>
              <a:gd name="connsiteY224" fmla="*/ 45217 h 1252696"/>
              <a:gd name="connsiteX225" fmla="*/ 2255228 w 5736574"/>
              <a:gd name="connsiteY225" fmla="*/ 40193 h 1252696"/>
              <a:gd name="connsiteX226" fmla="*/ 1973874 w 5736574"/>
              <a:gd name="connsiteY226" fmla="*/ 30145 h 1252696"/>
              <a:gd name="connsiteX227" fmla="*/ 1943729 w 5736574"/>
              <a:gd name="connsiteY227" fmla="*/ 25121 h 1252696"/>
              <a:gd name="connsiteX228" fmla="*/ 1848270 w 5736574"/>
              <a:gd name="connsiteY228" fmla="*/ 20097 h 1252696"/>
              <a:gd name="connsiteX229" fmla="*/ 1767883 w 5736574"/>
              <a:gd name="connsiteY229" fmla="*/ 10048 h 1252696"/>
              <a:gd name="connsiteX230" fmla="*/ 1501602 w 5736574"/>
              <a:gd name="connsiteY230" fmla="*/ 20097 h 1252696"/>
              <a:gd name="connsiteX231" fmla="*/ 1466432 w 5736574"/>
              <a:gd name="connsiteY231" fmla="*/ 25121 h 1252696"/>
              <a:gd name="connsiteX232" fmla="*/ 1426239 w 5736574"/>
              <a:gd name="connsiteY232" fmla="*/ 30145 h 1252696"/>
              <a:gd name="connsiteX233" fmla="*/ 1340828 w 5736574"/>
              <a:gd name="connsiteY233" fmla="*/ 45217 h 1252696"/>
              <a:gd name="connsiteX234" fmla="*/ 1094643 w 5736574"/>
              <a:gd name="connsiteY234" fmla="*/ 35169 h 1252696"/>
              <a:gd name="connsiteX235" fmla="*/ 979087 w 5736574"/>
              <a:gd name="connsiteY235" fmla="*/ 20097 h 1252696"/>
              <a:gd name="connsiteX236" fmla="*/ 938894 w 5736574"/>
              <a:gd name="connsiteY236" fmla="*/ 10048 h 1252696"/>
              <a:gd name="connsiteX237" fmla="*/ 813290 w 5736574"/>
              <a:gd name="connsiteY237" fmla="*/ 0 h 1252696"/>
              <a:gd name="connsiteX238" fmla="*/ 742951 w 5736574"/>
              <a:gd name="connsiteY238" fmla="*/ 5024 h 1252696"/>
              <a:gd name="connsiteX239" fmla="*/ 582177 w 5736574"/>
              <a:gd name="connsiteY239" fmla="*/ 15072 h 1252696"/>
              <a:gd name="connsiteX240" fmla="*/ 431452 w 5736574"/>
              <a:gd name="connsiteY240" fmla="*/ 5024 h 1252696"/>
              <a:gd name="connsiteX241" fmla="*/ 411356 w 5736574"/>
              <a:gd name="connsiteY241" fmla="*/ 0 h 1252696"/>
              <a:gd name="connsiteX242" fmla="*/ 280727 w 5736574"/>
              <a:gd name="connsiteY242" fmla="*/ 10048 h 1252696"/>
              <a:gd name="connsiteX243" fmla="*/ 260630 w 5736574"/>
              <a:gd name="connsiteY243" fmla="*/ 15072 h 1252696"/>
              <a:gd name="connsiteX244" fmla="*/ 99857 w 5736574"/>
              <a:gd name="connsiteY244" fmla="*/ 20097 h 1252696"/>
              <a:gd name="connsiteX245" fmla="*/ 4397 w 5736574"/>
              <a:gd name="connsiteY245" fmla="*/ 30145 h 1252696"/>
              <a:gd name="connsiteX0" fmla="*/ 8480 w 5740657"/>
              <a:gd name="connsiteY0" fmla="*/ 30145 h 1252696"/>
              <a:gd name="connsiteX1" fmla="*/ 4242 w 5740657"/>
              <a:gd name="connsiteY1" fmla="*/ 101269 h 1252696"/>
              <a:gd name="connsiteX2" fmla="*/ 4503 w 5740657"/>
              <a:gd name="connsiteY2" fmla="*/ 145963 h 1252696"/>
              <a:gd name="connsiteX3" fmla="*/ 7146 w 5740657"/>
              <a:gd name="connsiteY3" fmla="*/ 224230 h 1252696"/>
              <a:gd name="connsiteX4" fmla="*/ 17193 w 5740657"/>
              <a:gd name="connsiteY4" fmla="*/ 342455 h 1252696"/>
              <a:gd name="connsiteX5" fmla="*/ 12693 w 5740657"/>
              <a:gd name="connsiteY5" fmla="*/ 569459 h 1252696"/>
              <a:gd name="connsiteX6" fmla="*/ 20099 w 5740657"/>
              <a:gd name="connsiteY6" fmla="*/ 852252 h 1252696"/>
              <a:gd name="connsiteX7" fmla="*/ 19575 w 5740657"/>
              <a:gd name="connsiteY7" fmla="*/ 1008786 h 1252696"/>
              <a:gd name="connsiteX8" fmla="*/ 28577 w 5740657"/>
              <a:gd name="connsiteY8" fmla="*/ 1100294 h 1252696"/>
              <a:gd name="connsiteX9" fmla="*/ 23553 w 5740657"/>
              <a:gd name="connsiteY9" fmla="*/ 1150536 h 1252696"/>
              <a:gd name="connsiteX10" fmla="*/ 28577 w 5740657"/>
              <a:gd name="connsiteY10" fmla="*/ 1170633 h 1252696"/>
              <a:gd name="connsiteX11" fmla="*/ 38625 w 5740657"/>
              <a:gd name="connsiteY11" fmla="*/ 1160584 h 1252696"/>
              <a:gd name="connsiteX12" fmla="*/ 58722 w 5740657"/>
              <a:gd name="connsiteY12" fmla="*/ 1100294 h 1252696"/>
              <a:gd name="connsiteX13" fmla="*/ 63746 w 5740657"/>
              <a:gd name="connsiteY13" fmla="*/ 1085222 h 1252696"/>
              <a:gd name="connsiteX14" fmla="*/ 73795 w 5740657"/>
              <a:gd name="connsiteY14" fmla="*/ 1075173 h 1252696"/>
              <a:gd name="connsiteX15" fmla="*/ 98915 w 5740657"/>
              <a:gd name="connsiteY15" fmla="*/ 1045028 h 1252696"/>
              <a:gd name="connsiteX16" fmla="*/ 113988 w 5740657"/>
              <a:gd name="connsiteY16" fmla="*/ 1040004 h 1252696"/>
              <a:gd name="connsiteX17" fmla="*/ 139109 w 5740657"/>
              <a:gd name="connsiteY17" fmla="*/ 1019908 h 1252696"/>
              <a:gd name="connsiteX18" fmla="*/ 154181 w 5740657"/>
              <a:gd name="connsiteY18" fmla="*/ 1009859 h 1252696"/>
              <a:gd name="connsiteX19" fmla="*/ 179302 w 5740657"/>
              <a:gd name="connsiteY19" fmla="*/ 994787 h 1252696"/>
              <a:gd name="connsiteX20" fmla="*/ 219496 w 5740657"/>
              <a:gd name="connsiteY20" fmla="*/ 984738 h 1252696"/>
              <a:gd name="connsiteX21" fmla="*/ 289834 w 5740657"/>
              <a:gd name="connsiteY21" fmla="*/ 994787 h 1252696"/>
              <a:gd name="connsiteX22" fmla="*/ 304907 w 5740657"/>
              <a:gd name="connsiteY22" fmla="*/ 1004835 h 1252696"/>
              <a:gd name="connsiteX23" fmla="*/ 325003 w 5740657"/>
              <a:gd name="connsiteY23" fmla="*/ 1034980 h 1252696"/>
              <a:gd name="connsiteX24" fmla="*/ 360173 w 5740657"/>
              <a:gd name="connsiteY24" fmla="*/ 1065125 h 1252696"/>
              <a:gd name="connsiteX25" fmla="*/ 370221 w 5740657"/>
              <a:gd name="connsiteY25" fmla="*/ 1080198 h 1252696"/>
              <a:gd name="connsiteX26" fmla="*/ 385293 w 5740657"/>
              <a:gd name="connsiteY26" fmla="*/ 1085222 h 1252696"/>
              <a:gd name="connsiteX27" fmla="*/ 400366 w 5740657"/>
              <a:gd name="connsiteY27" fmla="*/ 1095270 h 1252696"/>
              <a:gd name="connsiteX28" fmla="*/ 410414 w 5740657"/>
              <a:gd name="connsiteY28" fmla="*/ 1105319 h 1252696"/>
              <a:gd name="connsiteX29" fmla="*/ 425487 w 5740657"/>
              <a:gd name="connsiteY29" fmla="*/ 1110343 h 1252696"/>
              <a:gd name="connsiteX30" fmla="*/ 440559 w 5740657"/>
              <a:gd name="connsiteY30" fmla="*/ 1120391 h 1252696"/>
              <a:gd name="connsiteX31" fmla="*/ 470704 w 5740657"/>
              <a:gd name="connsiteY31" fmla="*/ 1130439 h 1252696"/>
              <a:gd name="connsiteX32" fmla="*/ 525970 w 5740657"/>
              <a:gd name="connsiteY32" fmla="*/ 1115367 h 1252696"/>
              <a:gd name="connsiteX33" fmla="*/ 556115 w 5740657"/>
              <a:gd name="connsiteY33" fmla="*/ 1075173 h 1252696"/>
              <a:gd name="connsiteX34" fmla="*/ 571188 w 5740657"/>
              <a:gd name="connsiteY34" fmla="*/ 1070149 h 1252696"/>
              <a:gd name="connsiteX35" fmla="*/ 586260 w 5740657"/>
              <a:gd name="connsiteY35" fmla="*/ 1060101 h 1252696"/>
              <a:gd name="connsiteX36" fmla="*/ 641526 w 5740657"/>
              <a:gd name="connsiteY36" fmla="*/ 1045028 h 1252696"/>
              <a:gd name="connsiteX37" fmla="*/ 656599 w 5740657"/>
              <a:gd name="connsiteY37" fmla="*/ 1040004 h 1252696"/>
              <a:gd name="connsiteX38" fmla="*/ 696792 w 5740657"/>
              <a:gd name="connsiteY38" fmla="*/ 1045028 h 1252696"/>
              <a:gd name="connsiteX39" fmla="*/ 726937 w 5740657"/>
              <a:gd name="connsiteY39" fmla="*/ 1055077 h 1252696"/>
              <a:gd name="connsiteX40" fmla="*/ 736986 w 5740657"/>
              <a:gd name="connsiteY40" fmla="*/ 1065125 h 1252696"/>
              <a:gd name="connsiteX41" fmla="*/ 772155 w 5740657"/>
              <a:gd name="connsiteY41" fmla="*/ 1080198 h 1252696"/>
              <a:gd name="connsiteX42" fmla="*/ 807324 w 5740657"/>
              <a:gd name="connsiteY42" fmla="*/ 1105319 h 1252696"/>
              <a:gd name="connsiteX43" fmla="*/ 837469 w 5740657"/>
              <a:gd name="connsiteY43" fmla="*/ 1130439 h 1252696"/>
              <a:gd name="connsiteX44" fmla="*/ 872639 w 5740657"/>
              <a:gd name="connsiteY44" fmla="*/ 1140488 h 1252696"/>
              <a:gd name="connsiteX45" fmla="*/ 912832 w 5740657"/>
              <a:gd name="connsiteY45" fmla="*/ 1175657 h 1252696"/>
              <a:gd name="connsiteX46" fmla="*/ 942977 w 5740657"/>
              <a:gd name="connsiteY46" fmla="*/ 1185705 h 1252696"/>
              <a:gd name="connsiteX47" fmla="*/ 983170 w 5740657"/>
              <a:gd name="connsiteY47" fmla="*/ 1180681 h 1252696"/>
              <a:gd name="connsiteX48" fmla="*/ 993219 w 5740657"/>
              <a:gd name="connsiteY48" fmla="*/ 1170633 h 1252696"/>
              <a:gd name="connsiteX49" fmla="*/ 1008291 w 5740657"/>
              <a:gd name="connsiteY49" fmla="*/ 1150536 h 1252696"/>
              <a:gd name="connsiteX50" fmla="*/ 1018340 w 5740657"/>
              <a:gd name="connsiteY50" fmla="*/ 1120391 h 1252696"/>
              <a:gd name="connsiteX51" fmla="*/ 1043460 w 5740657"/>
              <a:gd name="connsiteY51" fmla="*/ 1095270 h 1252696"/>
              <a:gd name="connsiteX52" fmla="*/ 1053509 w 5740657"/>
              <a:gd name="connsiteY52" fmla="*/ 1085222 h 1252696"/>
              <a:gd name="connsiteX53" fmla="*/ 1078630 w 5740657"/>
              <a:gd name="connsiteY53" fmla="*/ 1065125 h 1252696"/>
              <a:gd name="connsiteX54" fmla="*/ 1093702 w 5740657"/>
              <a:gd name="connsiteY54" fmla="*/ 1050053 h 1252696"/>
              <a:gd name="connsiteX55" fmla="*/ 1123847 w 5740657"/>
              <a:gd name="connsiteY55" fmla="*/ 1040004 h 1252696"/>
              <a:gd name="connsiteX56" fmla="*/ 1138920 w 5740657"/>
              <a:gd name="connsiteY56" fmla="*/ 1034980 h 1252696"/>
              <a:gd name="connsiteX57" fmla="*/ 1164041 w 5740657"/>
              <a:gd name="connsiteY57" fmla="*/ 1019908 h 1252696"/>
              <a:gd name="connsiteX58" fmla="*/ 1179113 w 5740657"/>
              <a:gd name="connsiteY58" fmla="*/ 1014883 h 1252696"/>
              <a:gd name="connsiteX59" fmla="*/ 1199210 w 5740657"/>
              <a:gd name="connsiteY59" fmla="*/ 1004835 h 1252696"/>
              <a:gd name="connsiteX60" fmla="*/ 1284621 w 5740657"/>
              <a:gd name="connsiteY60" fmla="*/ 1014883 h 1252696"/>
              <a:gd name="connsiteX61" fmla="*/ 1299693 w 5740657"/>
              <a:gd name="connsiteY61" fmla="*/ 1024932 h 1252696"/>
              <a:gd name="connsiteX62" fmla="*/ 1314766 w 5740657"/>
              <a:gd name="connsiteY62" fmla="*/ 1029956 h 1252696"/>
              <a:gd name="connsiteX63" fmla="*/ 1329839 w 5740657"/>
              <a:gd name="connsiteY63" fmla="*/ 1060101 h 1252696"/>
              <a:gd name="connsiteX64" fmla="*/ 1344911 w 5740657"/>
              <a:gd name="connsiteY64" fmla="*/ 1065125 h 1252696"/>
              <a:gd name="connsiteX65" fmla="*/ 1359984 w 5740657"/>
              <a:gd name="connsiteY65" fmla="*/ 1075173 h 1252696"/>
              <a:gd name="connsiteX66" fmla="*/ 1400177 w 5740657"/>
              <a:gd name="connsiteY66" fmla="*/ 1090246 h 1252696"/>
              <a:gd name="connsiteX67" fmla="*/ 1450419 w 5740657"/>
              <a:gd name="connsiteY67" fmla="*/ 1105319 h 1252696"/>
              <a:gd name="connsiteX68" fmla="*/ 1465491 w 5740657"/>
              <a:gd name="connsiteY68" fmla="*/ 1110343 h 1252696"/>
              <a:gd name="connsiteX69" fmla="*/ 1500660 w 5740657"/>
              <a:gd name="connsiteY69" fmla="*/ 1120391 h 1252696"/>
              <a:gd name="connsiteX70" fmla="*/ 1555926 w 5740657"/>
              <a:gd name="connsiteY70" fmla="*/ 1115367 h 1252696"/>
              <a:gd name="connsiteX71" fmla="*/ 1570999 w 5740657"/>
              <a:gd name="connsiteY71" fmla="*/ 1110343 h 1252696"/>
              <a:gd name="connsiteX72" fmla="*/ 1591096 w 5740657"/>
              <a:gd name="connsiteY72" fmla="*/ 1090246 h 1252696"/>
              <a:gd name="connsiteX73" fmla="*/ 1641337 w 5740657"/>
              <a:gd name="connsiteY73" fmla="*/ 1050053 h 1252696"/>
              <a:gd name="connsiteX74" fmla="*/ 1656410 w 5740657"/>
              <a:gd name="connsiteY74" fmla="*/ 1029956 h 1252696"/>
              <a:gd name="connsiteX75" fmla="*/ 1691579 w 5740657"/>
              <a:gd name="connsiteY75" fmla="*/ 1019908 h 1252696"/>
              <a:gd name="connsiteX76" fmla="*/ 1792063 w 5740657"/>
              <a:gd name="connsiteY76" fmla="*/ 1029956 h 1252696"/>
              <a:gd name="connsiteX77" fmla="*/ 1822208 w 5740657"/>
              <a:gd name="connsiteY77" fmla="*/ 1040004 h 1252696"/>
              <a:gd name="connsiteX78" fmla="*/ 1857377 w 5740657"/>
              <a:gd name="connsiteY78" fmla="*/ 1050053 h 1252696"/>
              <a:gd name="connsiteX79" fmla="*/ 1872449 w 5740657"/>
              <a:gd name="connsiteY79" fmla="*/ 1060101 h 1252696"/>
              <a:gd name="connsiteX80" fmla="*/ 1897570 w 5740657"/>
              <a:gd name="connsiteY80" fmla="*/ 1065125 h 1252696"/>
              <a:gd name="connsiteX81" fmla="*/ 1943311 w 5740657"/>
              <a:gd name="connsiteY81" fmla="*/ 1099510 h 1252696"/>
              <a:gd name="connsiteX82" fmla="*/ 1980076 w 5740657"/>
              <a:gd name="connsiteY82" fmla="*/ 1130727 h 1252696"/>
              <a:gd name="connsiteX83" fmla="*/ 2018151 w 5740657"/>
              <a:gd name="connsiteY83" fmla="*/ 1157968 h 1252696"/>
              <a:gd name="connsiteX84" fmla="*/ 2045652 w 5740657"/>
              <a:gd name="connsiteY84" fmla="*/ 1156371 h 1252696"/>
              <a:gd name="connsiteX85" fmla="*/ 2123658 w 5740657"/>
              <a:gd name="connsiteY85" fmla="*/ 1120391 h 1252696"/>
              <a:gd name="connsiteX86" fmla="*/ 2133707 w 5740657"/>
              <a:gd name="connsiteY86" fmla="*/ 1110343 h 1252696"/>
              <a:gd name="connsiteX87" fmla="*/ 2154065 w 5740657"/>
              <a:gd name="connsiteY87" fmla="*/ 1090769 h 1252696"/>
              <a:gd name="connsiteX88" fmla="*/ 2193997 w 5740657"/>
              <a:gd name="connsiteY88" fmla="*/ 1048718 h 1252696"/>
              <a:gd name="connsiteX89" fmla="*/ 2237357 w 5740657"/>
              <a:gd name="connsiteY89" fmla="*/ 1018311 h 1252696"/>
              <a:gd name="connsiteX90" fmla="*/ 2304529 w 5740657"/>
              <a:gd name="connsiteY90" fmla="*/ 994787 h 1252696"/>
              <a:gd name="connsiteX91" fmla="*/ 2319601 w 5740657"/>
              <a:gd name="connsiteY91" fmla="*/ 989763 h 1252696"/>
              <a:gd name="connsiteX92" fmla="*/ 2408702 w 5740657"/>
              <a:gd name="connsiteY92" fmla="*/ 999288 h 1252696"/>
              <a:gd name="connsiteX93" fmla="*/ 2465302 w 5740657"/>
              <a:gd name="connsiteY93" fmla="*/ 1024932 h 1252696"/>
              <a:gd name="connsiteX94" fmla="*/ 2480375 w 5740657"/>
              <a:gd name="connsiteY94" fmla="*/ 1029956 h 1252696"/>
              <a:gd name="connsiteX95" fmla="*/ 2490423 w 5740657"/>
              <a:gd name="connsiteY95" fmla="*/ 1045028 h 1252696"/>
              <a:gd name="connsiteX96" fmla="*/ 2500471 w 5740657"/>
              <a:gd name="connsiteY96" fmla="*/ 1055077 h 1252696"/>
              <a:gd name="connsiteX97" fmla="*/ 2535641 w 5740657"/>
              <a:gd name="connsiteY97" fmla="*/ 1095270 h 1252696"/>
              <a:gd name="connsiteX98" fmla="*/ 2570810 w 5740657"/>
              <a:gd name="connsiteY98" fmla="*/ 1135464 h 1252696"/>
              <a:gd name="connsiteX99" fmla="*/ 2585882 w 5740657"/>
              <a:gd name="connsiteY99" fmla="*/ 1145512 h 1252696"/>
              <a:gd name="connsiteX100" fmla="*/ 2626076 w 5740657"/>
              <a:gd name="connsiteY100" fmla="*/ 1170633 h 1252696"/>
              <a:gd name="connsiteX101" fmla="*/ 2661245 w 5740657"/>
              <a:gd name="connsiteY101" fmla="*/ 1160584 h 1252696"/>
              <a:gd name="connsiteX102" fmla="*/ 2686366 w 5740657"/>
              <a:gd name="connsiteY102" fmla="*/ 1145512 h 1252696"/>
              <a:gd name="connsiteX103" fmla="*/ 2716511 w 5740657"/>
              <a:gd name="connsiteY103" fmla="*/ 1130439 h 1252696"/>
              <a:gd name="connsiteX104" fmla="*/ 2731584 w 5740657"/>
              <a:gd name="connsiteY104" fmla="*/ 1120391 h 1252696"/>
              <a:gd name="connsiteX105" fmla="*/ 2751680 w 5740657"/>
              <a:gd name="connsiteY105" fmla="*/ 1115367 h 1252696"/>
              <a:gd name="connsiteX106" fmla="*/ 2781825 w 5740657"/>
              <a:gd name="connsiteY106" fmla="*/ 1105319 h 1252696"/>
              <a:gd name="connsiteX107" fmla="*/ 2848448 w 5740657"/>
              <a:gd name="connsiteY107" fmla="*/ 1077554 h 1252696"/>
              <a:gd name="connsiteX108" fmla="*/ 2887856 w 5740657"/>
              <a:gd name="connsiteY108" fmla="*/ 1077292 h 1252696"/>
              <a:gd name="connsiteX109" fmla="*/ 2924883 w 5740657"/>
              <a:gd name="connsiteY109" fmla="*/ 1087079 h 1252696"/>
              <a:gd name="connsiteX110" fmla="*/ 2962696 w 5740657"/>
              <a:gd name="connsiteY110" fmla="*/ 1125415 h 1252696"/>
              <a:gd name="connsiteX111" fmla="*/ 2982792 w 5740657"/>
              <a:gd name="connsiteY111" fmla="*/ 1155560 h 1252696"/>
              <a:gd name="connsiteX112" fmla="*/ 3001293 w 5740657"/>
              <a:gd name="connsiteY112" fmla="*/ 1187825 h 1252696"/>
              <a:gd name="connsiteX113" fmla="*/ 3042271 w 5740657"/>
              <a:gd name="connsiteY113" fmla="*/ 1222994 h 1252696"/>
              <a:gd name="connsiteX114" fmla="*/ 3079561 w 5740657"/>
              <a:gd name="connsiteY114" fmla="*/ 1252354 h 1252696"/>
              <a:gd name="connsiteX115" fmla="*/ 3133518 w 5740657"/>
              <a:gd name="connsiteY115" fmla="*/ 1240971 h 1252696"/>
              <a:gd name="connsiteX116" fmla="*/ 3181378 w 5740657"/>
              <a:gd name="connsiteY116" fmla="*/ 1207372 h 1252696"/>
              <a:gd name="connsiteX117" fmla="*/ 3232928 w 5740657"/>
              <a:gd name="connsiteY117" fmla="*/ 1178561 h 1252696"/>
              <a:gd name="connsiteX118" fmla="*/ 3285027 w 5740657"/>
              <a:gd name="connsiteY118" fmla="*/ 1153440 h 1252696"/>
              <a:gd name="connsiteX119" fmla="*/ 3314388 w 5740657"/>
              <a:gd name="connsiteY119" fmla="*/ 1145512 h 1252696"/>
              <a:gd name="connsiteX120" fmla="*/ 3354581 w 5740657"/>
              <a:gd name="connsiteY120" fmla="*/ 1140488 h 1252696"/>
              <a:gd name="connsiteX121" fmla="*/ 3409847 w 5740657"/>
              <a:gd name="connsiteY121" fmla="*/ 1155560 h 1252696"/>
              <a:gd name="connsiteX122" fmla="*/ 3429944 w 5740657"/>
              <a:gd name="connsiteY122" fmla="*/ 1165609 h 1252696"/>
              <a:gd name="connsiteX123" fmla="*/ 3445017 w 5740657"/>
              <a:gd name="connsiteY123" fmla="*/ 1175657 h 1252696"/>
              <a:gd name="connsiteX124" fmla="*/ 3460089 w 5740657"/>
              <a:gd name="connsiteY124" fmla="*/ 1180681 h 1252696"/>
              <a:gd name="connsiteX125" fmla="*/ 3470137 w 5740657"/>
              <a:gd name="connsiteY125" fmla="*/ 1195754 h 1252696"/>
              <a:gd name="connsiteX126" fmla="*/ 3530428 w 5740657"/>
              <a:gd name="connsiteY126" fmla="*/ 1200778 h 1252696"/>
              <a:gd name="connsiteX127" fmla="*/ 3545500 w 5740657"/>
              <a:gd name="connsiteY127" fmla="*/ 1190730 h 1252696"/>
              <a:gd name="connsiteX128" fmla="*/ 3570621 w 5740657"/>
              <a:gd name="connsiteY128" fmla="*/ 1180681 h 1252696"/>
              <a:gd name="connsiteX129" fmla="*/ 3590718 w 5740657"/>
              <a:gd name="connsiteY129" fmla="*/ 1150536 h 1252696"/>
              <a:gd name="connsiteX130" fmla="*/ 3620863 w 5740657"/>
              <a:gd name="connsiteY130" fmla="*/ 1125415 h 1252696"/>
              <a:gd name="connsiteX131" fmla="*/ 3635935 w 5740657"/>
              <a:gd name="connsiteY131" fmla="*/ 1105319 h 1252696"/>
              <a:gd name="connsiteX132" fmla="*/ 3666080 w 5740657"/>
              <a:gd name="connsiteY132" fmla="*/ 1085222 h 1252696"/>
              <a:gd name="connsiteX133" fmla="*/ 3701249 w 5740657"/>
              <a:gd name="connsiteY133" fmla="*/ 1070149 h 1252696"/>
              <a:gd name="connsiteX134" fmla="*/ 3711298 w 5740657"/>
              <a:gd name="connsiteY134" fmla="*/ 1060101 h 1252696"/>
              <a:gd name="connsiteX135" fmla="*/ 3746467 w 5740657"/>
              <a:gd name="connsiteY135" fmla="*/ 1047148 h 1252696"/>
              <a:gd name="connsiteX136" fmla="*/ 3802518 w 5740657"/>
              <a:gd name="connsiteY136" fmla="*/ 1043982 h 1252696"/>
              <a:gd name="connsiteX137" fmla="*/ 3863044 w 5740657"/>
              <a:gd name="connsiteY137" fmla="*/ 1072033 h 1252696"/>
              <a:gd name="connsiteX138" fmla="*/ 3905619 w 5740657"/>
              <a:gd name="connsiteY138" fmla="*/ 1101367 h 1252696"/>
              <a:gd name="connsiteX139" fmla="*/ 3961434 w 5740657"/>
              <a:gd name="connsiteY139" fmla="*/ 1142346 h 1252696"/>
              <a:gd name="connsiteX140" fmla="*/ 4022797 w 5740657"/>
              <a:gd name="connsiteY140" fmla="*/ 1165609 h 1252696"/>
              <a:gd name="connsiteX141" fmla="*/ 4068014 w 5740657"/>
              <a:gd name="connsiteY141" fmla="*/ 1150536 h 1252696"/>
              <a:gd name="connsiteX142" fmla="*/ 4083087 w 5740657"/>
              <a:gd name="connsiteY142" fmla="*/ 1125415 h 1252696"/>
              <a:gd name="connsiteX143" fmla="*/ 4103184 w 5740657"/>
              <a:gd name="connsiteY143" fmla="*/ 1105319 h 1252696"/>
              <a:gd name="connsiteX144" fmla="*/ 4133329 w 5740657"/>
              <a:gd name="connsiteY144" fmla="*/ 1075173 h 1252696"/>
              <a:gd name="connsiteX145" fmla="*/ 4153425 w 5740657"/>
              <a:gd name="connsiteY145" fmla="*/ 1040004 h 1252696"/>
              <a:gd name="connsiteX146" fmla="*/ 4163474 w 5740657"/>
              <a:gd name="connsiteY146" fmla="*/ 1019908 h 1252696"/>
              <a:gd name="connsiteX147" fmla="*/ 4168498 w 5740657"/>
              <a:gd name="connsiteY147" fmla="*/ 1004835 h 1252696"/>
              <a:gd name="connsiteX148" fmla="*/ 4188595 w 5740657"/>
              <a:gd name="connsiteY148" fmla="*/ 984738 h 1252696"/>
              <a:gd name="connsiteX149" fmla="*/ 4203667 w 5740657"/>
              <a:gd name="connsiteY149" fmla="*/ 979714 h 1252696"/>
              <a:gd name="connsiteX150" fmla="*/ 4238836 w 5740657"/>
              <a:gd name="connsiteY150" fmla="*/ 954593 h 1252696"/>
              <a:gd name="connsiteX151" fmla="*/ 4279030 w 5740657"/>
              <a:gd name="connsiteY151" fmla="*/ 934497 h 1252696"/>
              <a:gd name="connsiteX152" fmla="*/ 4314199 w 5740657"/>
              <a:gd name="connsiteY152" fmla="*/ 914400 h 1252696"/>
              <a:gd name="connsiteX153" fmla="*/ 4329271 w 5740657"/>
              <a:gd name="connsiteY153" fmla="*/ 904352 h 1252696"/>
              <a:gd name="connsiteX154" fmla="*/ 4365487 w 5740657"/>
              <a:gd name="connsiteY154" fmla="*/ 909114 h 1252696"/>
              <a:gd name="connsiteX155" fmla="*/ 4420492 w 5740657"/>
              <a:gd name="connsiteY155" fmla="*/ 946141 h 1252696"/>
              <a:gd name="connsiteX156" fmla="*/ 4465709 w 5740657"/>
              <a:gd name="connsiteY156" fmla="*/ 1006955 h 1252696"/>
              <a:gd name="connsiteX157" fmla="*/ 4534713 w 5740657"/>
              <a:gd name="connsiteY157" fmla="*/ 1037650 h 1252696"/>
              <a:gd name="connsiteX158" fmla="*/ 4600577 w 5740657"/>
              <a:gd name="connsiteY158" fmla="*/ 969666 h 1252696"/>
              <a:gd name="connsiteX159" fmla="*/ 4620674 w 5740657"/>
              <a:gd name="connsiteY159" fmla="*/ 959617 h 1252696"/>
              <a:gd name="connsiteX160" fmla="*/ 4635746 w 5740657"/>
              <a:gd name="connsiteY160" fmla="*/ 944545 h 1252696"/>
              <a:gd name="connsiteX161" fmla="*/ 4655843 w 5740657"/>
              <a:gd name="connsiteY161" fmla="*/ 934497 h 1252696"/>
              <a:gd name="connsiteX162" fmla="*/ 4675940 w 5740657"/>
              <a:gd name="connsiteY162" fmla="*/ 919424 h 1252696"/>
              <a:gd name="connsiteX163" fmla="*/ 4741254 w 5740657"/>
              <a:gd name="connsiteY163" fmla="*/ 884255 h 1252696"/>
              <a:gd name="connsiteX164" fmla="*/ 4766375 w 5740657"/>
              <a:gd name="connsiteY164" fmla="*/ 879231 h 1252696"/>
              <a:gd name="connsiteX165" fmla="*/ 4781447 w 5740657"/>
              <a:gd name="connsiteY165" fmla="*/ 874206 h 1252696"/>
              <a:gd name="connsiteX166" fmla="*/ 4822687 w 5740657"/>
              <a:gd name="connsiteY166" fmla="*/ 873944 h 1252696"/>
              <a:gd name="connsiteX167" fmla="*/ 4880858 w 5740657"/>
              <a:gd name="connsiteY167" fmla="*/ 895638 h 1252696"/>
              <a:gd name="connsiteX168" fmla="*/ 4938740 w 5740657"/>
              <a:gd name="connsiteY168" fmla="*/ 934523 h 1252696"/>
              <a:gd name="connsiteX169" fmla="*/ 4998795 w 5740657"/>
              <a:gd name="connsiteY169" fmla="*/ 1006746 h 1252696"/>
              <a:gd name="connsiteX170" fmla="*/ 5028155 w 5740657"/>
              <a:gd name="connsiteY170" fmla="*/ 1051963 h 1252696"/>
              <a:gd name="connsiteX171" fmla="*/ 5095616 w 5740657"/>
              <a:gd name="connsiteY171" fmla="*/ 1016506 h 1252696"/>
              <a:gd name="connsiteX172" fmla="*/ 5147715 w 5740657"/>
              <a:gd name="connsiteY172" fmla="*/ 948261 h 1252696"/>
              <a:gd name="connsiteX173" fmla="*/ 5192645 w 5740657"/>
              <a:gd name="connsiteY173" fmla="*/ 886112 h 1252696"/>
              <a:gd name="connsiteX174" fmla="*/ 5229672 w 5740657"/>
              <a:gd name="connsiteY174" fmla="*/ 856230 h 1252696"/>
              <a:gd name="connsiteX175" fmla="*/ 5264030 w 5740657"/>
              <a:gd name="connsiteY175" fmla="*/ 822918 h 1252696"/>
              <a:gd name="connsiteX176" fmla="*/ 5298675 w 5740657"/>
              <a:gd name="connsiteY176" fmla="*/ 800440 h 1252696"/>
              <a:gd name="connsiteX177" fmla="*/ 5337823 w 5740657"/>
              <a:gd name="connsiteY177" fmla="*/ 794893 h 1252696"/>
              <a:gd name="connsiteX178" fmla="*/ 5415567 w 5740657"/>
              <a:gd name="connsiteY178" fmla="*/ 824252 h 1252696"/>
              <a:gd name="connsiteX179" fmla="*/ 5434590 w 5740657"/>
              <a:gd name="connsiteY179" fmla="*/ 768699 h 1252696"/>
              <a:gd name="connsiteX180" fmla="*/ 5444639 w 5740657"/>
              <a:gd name="connsiteY180" fmla="*/ 753626 h 1252696"/>
              <a:gd name="connsiteX181" fmla="*/ 5459711 w 5740657"/>
              <a:gd name="connsiteY181" fmla="*/ 708409 h 1252696"/>
              <a:gd name="connsiteX182" fmla="*/ 5469759 w 5740657"/>
              <a:gd name="connsiteY182" fmla="*/ 683288 h 1252696"/>
              <a:gd name="connsiteX183" fmla="*/ 5479808 w 5740657"/>
              <a:gd name="connsiteY183" fmla="*/ 643094 h 1252696"/>
              <a:gd name="connsiteX184" fmla="*/ 5494880 w 5740657"/>
              <a:gd name="connsiteY184" fmla="*/ 617973 h 1252696"/>
              <a:gd name="connsiteX185" fmla="*/ 5509953 w 5740657"/>
              <a:gd name="connsiteY185" fmla="*/ 572756 h 1252696"/>
              <a:gd name="connsiteX186" fmla="*/ 5530049 w 5740657"/>
              <a:gd name="connsiteY186" fmla="*/ 522514 h 1252696"/>
              <a:gd name="connsiteX187" fmla="*/ 5550146 w 5740657"/>
              <a:gd name="connsiteY187" fmla="*/ 467248 h 1252696"/>
              <a:gd name="connsiteX188" fmla="*/ 5560195 w 5740657"/>
              <a:gd name="connsiteY188" fmla="*/ 411982 h 1252696"/>
              <a:gd name="connsiteX189" fmla="*/ 5570243 w 5740657"/>
              <a:gd name="connsiteY189" fmla="*/ 381837 h 1252696"/>
              <a:gd name="connsiteX190" fmla="*/ 5580291 w 5740657"/>
              <a:gd name="connsiteY190" fmla="*/ 356716 h 1252696"/>
              <a:gd name="connsiteX191" fmla="*/ 5600388 w 5740657"/>
              <a:gd name="connsiteY191" fmla="*/ 316523 h 1252696"/>
              <a:gd name="connsiteX192" fmla="*/ 5620485 w 5740657"/>
              <a:gd name="connsiteY192" fmla="*/ 246184 h 1252696"/>
              <a:gd name="connsiteX193" fmla="*/ 5625509 w 5740657"/>
              <a:gd name="connsiteY193" fmla="*/ 226088 h 1252696"/>
              <a:gd name="connsiteX194" fmla="*/ 5635557 w 5740657"/>
              <a:gd name="connsiteY194" fmla="*/ 216039 h 1252696"/>
              <a:gd name="connsiteX195" fmla="*/ 5640581 w 5740657"/>
              <a:gd name="connsiteY195" fmla="*/ 200967 h 1252696"/>
              <a:gd name="connsiteX196" fmla="*/ 5655131 w 5740657"/>
              <a:gd name="connsiteY196" fmla="*/ 190395 h 1252696"/>
              <a:gd name="connsiteX197" fmla="*/ 5677085 w 5740657"/>
              <a:gd name="connsiteY197" fmla="*/ 153892 h 1252696"/>
              <a:gd name="connsiteX198" fmla="*/ 5729995 w 5740657"/>
              <a:gd name="connsiteY198" fmla="*/ 89362 h 1252696"/>
              <a:gd name="connsiteX199" fmla="*/ 5732115 w 5740657"/>
              <a:gd name="connsiteY199" fmla="*/ 42287 h 1252696"/>
              <a:gd name="connsiteX200" fmla="*/ 5637677 w 5740657"/>
              <a:gd name="connsiteY200" fmla="*/ 25357 h 1252696"/>
              <a:gd name="connsiteX201" fmla="*/ 5540333 w 5740657"/>
              <a:gd name="connsiteY201" fmla="*/ 27214 h 1252696"/>
              <a:gd name="connsiteX202" fmla="*/ 5473762 w 5740657"/>
              <a:gd name="connsiteY202" fmla="*/ 39381 h 1252696"/>
              <a:gd name="connsiteX203" fmla="*/ 5382517 w 5740657"/>
              <a:gd name="connsiteY203" fmla="*/ 39644 h 1252696"/>
              <a:gd name="connsiteX204" fmla="*/ 5312675 w 5740657"/>
              <a:gd name="connsiteY204" fmla="*/ 42287 h 1252696"/>
              <a:gd name="connsiteX205" fmla="*/ 5242075 w 5740657"/>
              <a:gd name="connsiteY205" fmla="*/ 54455 h 1252696"/>
              <a:gd name="connsiteX206" fmla="*/ 5112285 w 5740657"/>
              <a:gd name="connsiteY206" fmla="*/ 37524 h 1252696"/>
              <a:gd name="connsiteX207" fmla="*/ 5023419 w 5740657"/>
              <a:gd name="connsiteY207" fmla="*/ 39120 h 1252696"/>
              <a:gd name="connsiteX208" fmla="*/ 4949626 w 5740657"/>
              <a:gd name="connsiteY208" fmla="*/ 41240 h 1252696"/>
              <a:gd name="connsiteX209" fmla="*/ 4826665 w 5740657"/>
              <a:gd name="connsiteY209" fmla="*/ 50242 h 1252696"/>
              <a:gd name="connsiteX210" fmla="*/ 4730970 w 5740657"/>
              <a:gd name="connsiteY210" fmla="*/ 29073 h 1252696"/>
              <a:gd name="connsiteX211" fmla="*/ 4631769 w 5740657"/>
              <a:gd name="connsiteY211" fmla="*/ 41240 h 1252696"/>
              <a:gd name="connsiteX212" fmla="*/ 4568573 w 5740657"/>
              <a:gd name="connsiteY212" fmla="*/ 46264 h 1252696"/>
              <a:gd name="connsiteX213" fmla="*/ 4420989 w 5740657"/>
              <a:gd name="connsiteY213" fmla="*/ 44406 h 1252696"/>
              <a:gd name="connsiteX214" fmla="*/ 4143377 w 5740657"/>
              <a:gd name="connsiteY214" fmla="*/ 60290 h 1252696"/>
              <a:gd name="connsiteX215" fmla="*/ 3922313 w 5740657"/>
              <a:gd name="connsiteY215" fmla="*/ 50242 h 1252696"/>
              <a:gd name="connsiteX216" fmla="*/ 3877096 w 5740657"/>
              <a:gd name="connsiteY216" fmla="*/ 45217 h 1252696"/>
              <a:gd name="connsiteX217" fmla="*/ 3691201 w 5740657"/>
              <a:gd name="connsiteY217" fmla="*/ 40193 h 1252696"/>
              <a:gd name="connsiteX218" fmla="*/ 3666080 w 5740657"/>
              <a:gd name="connsiteY218" fmla="*/ 35169 h 1252696"/>
              <a:gd name="connsiteX219" fmla="*/ 3630911 w 5740657"/>
              <a:gd name="connsiteY219" fmla="*/ 25121 h 1252696"/>
              <a:gd name="connsiteX220" fmla="*/ 3550524 w 5740657"/>
              <a:gd name="connsiteY220" fmla="*/ 20097 h 1252696"/>
              <a:gd name="connsiteX221" fmla="*/ 3314388 w 5740657"/>
              <a:gd name="connsiteY221" fmla="*/ 25121 h 1252696"/>
              <a:gd name="connsiteX222" fmla="*/ 3269170 w 5740657"/>
              <a:gd name="connsiteY222" fmla="*/ 30145 h 1252696"/>
              <a:gd name="connsiteX223" fmla="*/ 3178735 w 5740657"/>
              <a:gd name="connsiteY223" fmla="*/ 35169 h 1252696"/>
              <a:gd name="connsiteX224" fmla="*/ 2585882 w 5740657"/>
              <a:gd name="connsiteY224" fmla="*/ 45217 h 1252696"/>
              <a:gd name="connsiteX225" fmla="*/ 2259311 w 5740657"/>
              <a:gd name="connsiteY225" fmla="*/ 40193 h 1252696"/>
              <a:gd name="connsiteX226" fmla="*/ 1977957 w 5740657"/>
              <a:gd name="connsiteY226" fmla="*/ 30145 h 1252696"/>
              <a:gd name="connsiteX227" fmla="*/ 1947812 w 5740657"/>
              <a:gd name="connsiteY227" fmla="*/ 25121 h 1252696"/>
              <a:gd name="connsiteX228" fmla="*/ 1852353 w 5740657"/>
              <a:gd name="connsiteY228" fmla="*/ 20097 h 1252696"/>
              <a:gd name="connsiteX229" fmla="*/ 1771966 w 5740657"/>
              <a:gd name="connsiteY229" fmla="*/ 10048 h 1252696"/>
              <a:gd name="connsiteX230" fmla="*/ 1505685 w 5740657"/>
              <a:gd name="connsiteY230" fmla="*/ 20097 h 1252696"/>
              <a:gd name="connsiteX231" fmla="*/ 1470515 w 5740657"/>
              <a:gd name="connsiteY231" fmla="*/ 25121 h 1252696"/>
              <a:gd name="connsiteX232" fmla="*/ 1430322 w 5740657"/>
              <a:gd name="connsiteY232" fmla="*/ 30145 h 1252696"/>
              <a:gd name="connsiteX233" fmla="*/ 1344911 w 5740657"/>
              <a:gd name="connsiteY233" fmla="*/ 45217 h 1252696"/>
              <a:gd name="connsiteX234" fmla="*/ 1098726 w 5740657"/>
              <a:gd name="connsiteY234" fmla="*/ 35169 h 1252696"/>
              <a:gd name="connsiteX235" fmla="*/ 983170 w 5740657"/>
              <a:gd name="connsiteY235" fmla="*/ 20097 h 1252696"/>
              <a:gd name="connsiteX236" fmla="*/ 942977 w 5740657"/>
              <a:gd name="connsiteY236" fmla="*/ 10048 h 1252696"/>
              <a:gd name="connsiteX237" fmla="*/ 817373 w 5740657"/>
              <a:gd name="connsiteY237" fmla="*/ 0 h 1252696"/>
              <a:gd name="connsiteX238" fmla="*/ 747034 w 5740657"/>
              <a:gd name="connsiteY238" fmla="*/ 5024 h 1252696"/>
              <a:gd name="connsiteX239" fmla="*/ 586260 w 5740657"/>
              <a:gd name="connsiteY239" fmla="*/ 15072 h 1252696"/>
              <a:gd name="connsiteX240" fmla="*/ 435535 w 5740657"/>
              <a:gd name="connsiteY240" fmla="*/ 5024 h 1252696"/>
              <a:gd name="connsiteX241" fmla="*/ 415439 w 5740657"/>
              <a:gd name="connsiteY241" fmla="*/ 0 h 1252696"/>
              <a:gd name="connsiteX242" fmla="*/ 284810 w 5740657"/>
              <a:gd name="connsiteY242" fmla="*/ 10048 h 1252696"/>
              <a:gd name="connsiteX243" fmla="*/ 264713 w 5740657"/>
              <a:gd name="connsiteY243" fmla="*/ 15072 h 1252696"/>
              <a:gd name="connsiteX244" fmla="*/ 103940 w 5740657"/>
              <a:gd name="connsiteY244" fmla="*/ 20097 h 1252696"/>
              <a:gd name="connsiteX245" fmla="*/ 8480 w 5740657"/>
              <a:gd name="connsiteY245" fmla="*/ 30145 h 1252696"/>
              <a:gd name="connsiteX0" fmla="*/ 8480 w 5740657"/>
              <a:gd name="connsiteY0" fmla="*/ 30145 h 1252696"/>
              <a:gd name="connsiteX1" fmla="*/ 4242 w 5740657"/>
              <a:gd name="connsiteY1" fmla="*/ 101269 h 1252696"/>
              <a:gd name="connsiteX2" fmla="*/ 4503 w 5740657"/>
              <a:gd name="connsiteY2" fmla="*/ 145963 h 1252696"/>
              <a:gd name="connsiteX3" fmla="*/ 7146 w 5740657"/>
              <a:gd name="connsiteY3" fmla="*/ 224230 h 1252696"/>
              <a:gd name="connsiteX4" fmla="*/ 17193 w 5740657"/>
              <a:gd name="connsiteY4" fmla="*/ 342455 h 1252696"/>
              <a:gd name="connsiteX5" fmla="*/ 12693 w 5740657"/>
              <a:gd name="connsiteY5" fmla="*/ 569459 h 1252696"/>
              <a:gd name="connsiteX6" fmla="*/ 20099 w 5740657"/>
              <a:gd name="connsiteY6" fmla="*/ 852252 h 1252696"/>
              <a:gd name="connsiteX7" fmla="*/ 19575 w 5740657"/>
              <a:gd name="connsiteY7" fmla="*/ 1008786 h 1252696"/>
              <a:gd name="connsiteX8" fmla="*/ 28577 w 5740657"/>
              <a:gd name="connsiteY8" fmla="*/ 1100294 h 1252696"/>
              <a:gd name="connsiteX9" fmla="*/ 23553 w 5740657"/>
              <a:gd name="connsiteY9" fmla="*/ 1150536 h 1252696"/>
              <a:gd name="connsiteX10" fmla="*/ 28577 w 5740657"/>
              <a:gd name="connsiteY10" fmla="*/ 1170633 h 1252696"/>
              <a:gd name="connsiteX11" fmla="*/ 38625 w 5740657"/>
              <a:gd name="connsiteY11" fmla="*/ 1160584 h 1252696"/>
              <a:gd name="connsiteX12" fmla="*/ 58722 w 5740657"/>
              <a:gd name="connsiteY12" fmla="*/ 1100294 h 1252696"/>
              <a:gd name="connsiteX13" fmla="*/ 63746 w 5740657"/>
              <a:gd name="connsiteY13" fmla="*/ 1085222 h 1252696"/>
              <a:gd name="connsiteX14" fmla="*/ 73795 w 5740657"/>
              <a:gd name="connsiteY14" fmla="*/ 1075173 h 1252696"/>
              <a:gd name="connsiteX15" fmla="*/ 98915 w 5740657"/>
              <a:gd name="connsiteY15" fmla="*/ 1045028 h 1252696"/>
              <a:gd name="connsiteX16" fmla="*/ 113988 w 5740657"/>
              <a:gd name="connsiteY16" fmla="*/ 1040004 h 1252696"/>
              <a:gd name="connsiteX17" fmla="*/ 139109 w 5740657"/>
              <a:gd name="connsiteY17" fmla="*/ 1019908 h 1252696"/>
              <a:gd name="connsiteX18" fmla="*/ 154181 w 5740657"/>
              <a:gd name="connsiteY18" fmla="*/ 1009859 h 1252696"/>
              <a:gd name="connsiteX19" fmla="*/ 179302 w 5740657"/>
              <a:gd name="connsiteY19" fmla="*/ 994787 h 1252696"/>
              <a:gd name="connsiteX20" fmla="*/ 219496 w 5740657"/>
              <a:gd name="connsiteY20" fmla="*/ 984738 h 1252696"/>
              <a:gd name="connsiteX21" fmla="*/ 289834 w 5740657"/>
              <a:gd name="connsiteY21" fmla="*/ 994787 h 1252696"/>
              <a:gd name="connsiteX22" fmla="*/ 304907 w 5740657"/>
              <a:gd name="connsiteY22" fmla="*/ 1004835 h 1252696"/>
              <a:gd name="connsiteX23" fmla="*/ 325003 w 5740657"/>
              <a:gd name="connsiteY23" fmla="*/ 1034980 h 1252696"/>
              <a:gd name="connsiteX24" fmla="*/ 360173 w 5740657"/>
              <a:gd name="connsiteY24" fmla="*/ 1065125 h 1252696"/>
              <a:gd name="connsiteX25" fmla="*/ 370221 w 5740657"/>
              <a:gd name="connsiteY25" fmla="*/ 1080198 h 1252696"/>
              <a:gd name="connsiteX26" fmla="*/ 385293 w 5740657"/>
              <a:gd name="connsiteY26" fmla="*/ 1085222 h 1252696"/>
              <a:gd name="connsiteX27" fmla="*/ 400366 w 5740657"/>
              <a:gd name="connsiteY27" fmla="*/ 1095270 h 1252696"/>
              <a:gd name="connsiteX28" fmla="*/ 410414 w 5740657"/>
              <a:gd name="connsiteY28" fmla="*/ 1105319 h 1252696"/>
              <a:gd name="connsiteX29" fmla="*/ 425487 w 5740657"/>
              <a:gd name="connsiteY29" fmla="*/ 1110343 h 1252696"/>
              <a:gd name="connsiteX30" fmla="*/ 440559 w 5740657"/>
              <a:gd name="connsiteY30" fmla="*/ 1120391 h 1252696"/>
              <a:gd name="connsiteX31" fmla="*/ 470704 w 5740657"/>
              <a:gd name="connsiteY31" fmla="*/ 1130439 h 1252696"/>
              <a:gd name="connsiteX32" fmla="*/ 525970 w 5740657"/>
              <a:gd name="connsiteY32" fmla="*/ 1115367 h 1252696"/>
              <a:gd name="connsiteX33" fmla="*/ 556115 w 5740657"/>
              <a:gd name="connsiteY33" fmla="*/ 1075173 h 1252696"/>
              <a:gd name="connsiteX34" fmla="*/ 571188 w 5740657"/>
              <a:gd name="connsiteY34" fmla="*/ 1070149 h 1252696"/>
              <a:gd name="connsiteX35" fmla="*/ 586260 w 5740657"/>
              <a:gd name="connsiteY35" fmla="*/ 1060101 h 1252696"/>
              <a:gd name="connsiteX36" fmla="*/ 641526 w 5740657"/>
              <a:gd name="connsiteY36" fmla="*/ 1045028 h 1252696"/>
              <a:gd name="connsiteX37" fmla="*/ 656599 w 5740657"/>
              <a:gd name="connsiteY37" fmla="*/ 1040004 h 1252696"/>
              <a:gd name="connsiteX38" fmla="*/ 696792 w 5740657"/>
              <a:gd name="connsiteY38" fmla="*/ 1045028 h 1252696"/>
              <a:gd name="connsiteX39" fmla="*/ 726937 w 5740657"/>
              <a:gd name="connsiteY39" fmla="*/ 1055077 h 1252696"/>
              <a:gd name="connsiteX40" fmla="*/ 736986 w 5740657"/>
              <a:gd name="connsiteY40" fmla="*/ 1065125 h 1252696"/>
              <a:gd name="connsiteX41" fmla="*/ 772155 w 5740657"/>
              <a:gd name="connsiteY41" fmla="*/ 1080198 h 1252696"/>
              <a:gd name="connsiteX42" fmla="*/ 807324 w 5740657"/>
              <a:gd name="connsiteY42" fmla="*/ 1105319 h 1252696"/>
              <a:gd name="connsiteX43" fmla="*/ 837469 w 5740657"/>
              <a:gd name="connsiteY43" fmla="*/ 1130439 h 1252696"/>
              <a:gd name="connsiteX44" fmla="*/ 872639 w 5740657"/>
              <a:gd name="connsiteY44" fmla="*/ 1140488 h 1252696"/>
              <a:gd name="connsiteX45" fmla="*/ 912832 w 5740657"/>
              <a:gd name="connsiteY45" fmla="*/ 1175657 h 1252696"/>
              <a:gd name="connsiteX46" fmla="*/ 942977 w 5740657"/>
              <a:gd name="connsiteY46" fmla="*/ 1185705 h 1252696"/>
              <a:gd name="connsiteX47" fmla="*/ 983170 w 5740657"/>
              <a:gd name="connsiteY47" fmla="*/ 1180681 h 1252696"/>
              <a:gd name="connsiteX48" fmla="*/ 993219 w 5740657"/>
              <a:gd name="connsiteY48" fmla="*/ 1170633 h 1252696"/>
              <a:gd name="connsiteX49" fmla="*/ 1008291 w 5740657"/>
              <a:gd name="connsiteY49" fmla="*/ 1150536 h 1252696"/>
              <a:gd name="connsiteX50" fmla="*/ 1018340 w 5740657"/>
              <a:gd name="connsiteY50" fmla="*/ 1120391 h 1252696"/>
              <a:gd name="connsiteX51" fmla="*/ 1043460 w 5740657"/>
              <a:gd name="connsiteY51" fmla="*/ 1095270 h 1252696"/>
              <a:gd name="connsiteX52" fmla="*/ 1053509 w 5740657"/>
              <a:gd name="connsiteY52" fmla="*/ 1085222 h 1252696"/>
              <a:gd name="connsiteX53" fmla="*/ 1078630 w 5740657"/>
              <a:gd name="connsiteY53" fmla="*/ 1065125 h 1252696"/>
              <a:gd name="connsiteX54" fmla="*/ 1093702 w 5740657"/>
              <a:gd name="connsiteY54" fmla="*/ 1050053 h 1252696"/>
              <a:gd name="connsiteX55" fmla="*/ 1123847 w 5740657"/>
              <a:gd name="connsiteY55" fmla="*/ 1040004 h 1252696"/>
              <a:gd name="connsiteX56" fmla="*/ 1138920 w 5740657"/>
              <a:gd name="connsiteY56" fmla="*/ 1034980 h 1252696"/>
              <a:gd name="connsiteX57" fmla="*/ 1164041 w 5740657"/>
              <a:gd name="connsiteY57" fmla="*/ 1019908 h 1252696"/>
              <a:gd name="connsiteX58" fmla="*/ 1179113 w 5740657"/>
              <a:gd name="connsiteY58" fmla="*/ 1014883 h 1252696"/>
              <a:gd name="connsiteX59" fmla="*/ 1199210 w 5740657"/>
              <a:gd name="connsiteY59" fmla="*/ 1004835 h 1252696"/>
              <a:gd name="connsiteX60" fmla="*/ 1284621 w 5740657"/>
              <a:gd name="connsiteY60" fmla="*/ 1014883 h 1252696"/>
              <a:gd name="connsiteX61" fmla="*/ 1299693 w 5740657"/>
              <a:gd name="connsiteY61" fmla="*/ 1024932 h 1252696"/>
              <a:gd name="connsiteX62" fmla="*/ 1314766 w 5740657"/>
              <a:gd name="connsiteY62" fmla="*/ 1029956 h 1252696"/>
              <a:gd name="connsiteX63" fmla="*/ 1329839 w 5740657"/>
              <a:gd name="connsiteY63" fmla="*/ 1060101 h 1252696"/>
              <a:gd name="connsiteX64" fmla="*/ 1344911 w 5740657"/>
              <a:gd name="connsiteY64" fmla="*/ 1065125 h 1252696"/>
              <a:gd name="connsiteX65" fmla="*/ 1359984 w 5740657"/>
              <a:gd name="connsiteY65" fmla="*/ 1075173 h 1252696"/>
              <a:gd name="connsiteX66" fmla="*/ 1400177 w 5740657"/>
              <a:gd name="connsiteY66" fmla="*/ 1090246 h 1252696"/>
              <a:gd name="connsiteX67" fmla="*/ 1450419 w 5740657"/>
              <a:gd name="connsiteY67" fmla="*/ 1105319 h 1252696"/>
              <a:gd name="connsiteX68" fmla="*/ 1465491 w 5740657"/>
              <a:gd name="connsiteY68" fmla="*/ 1110343 h 1252696"/>
              <a:gd name="connsiteX69" fmla="*/ 1500660 w 5740657"/>
              <a:gd name="connsiteY69" fmla="*/ 1120391 h 1252696"/>
              <a:gd name="connsiteX70" fmla="*/ 1555926 w 5740657"/>
              <a:gd name="connsiteY70" fmla="*/ 1115367 h 1252696"/>
              <a:gd name="connsiteX71" fmla="*/ 1570999 w 5740657"/>
              <a:gd name="connsiteY71" fmla="*/ 1110343 h 1252696"/>
              <a:gd name="connsiteX72" fmla="*/ 1591096 w 5740657"/>
              <a:gd name="connsiteY72" fmla="*/ 1090246 h 1252696"/>
              <a:gd name="connsiteX73" fmla="*/ 1641337 w 5740657"/>
              <a:gd name="connsiteY73" fmla="*/ 1050053 h 1252696"/>
              <a:gd name="connsiteX74" fmla="*/ 1656410 w 5740657"/>
              <a:gd name="connsiteY74" fmla="*/ 1029956 h 1252696"/>
              <a:gd name="connsiteX75" fmla="*/ 1691579 w 5740657"/>
              <a:gd name="connsiteY75" fmla="*/ 1019908 h 1252696"/>
              <a:gd name="connsiteX76" fmla="*/ 1792063 w 5740657"/>
              <a:gd name="connsiteY76" fmla="*/ 1029956 h 1252696"/>
              <a:gd name="connsiteX77" fmla="*/ 1822208 w 5740657"/>
              <a:gd name="connsiteY77" fmla="*/ 1040004 h 1252696"/>
              <a:gd name="connsiteX78" fmla="*/ 1857377 w 5740657"/>
              <a:gd name="connsiteY78" fmla="*/ 1050053 h 1252696"/>
              <a:gd name="connsiteX79" fmla="*/ 1872449 w 5740657"/>
              <a:gd name="connsiteY79" fmla="*/ 1060101 h 1252696"/>
              <a:gd name="connsiteX80" fmla="*/ 1897570 w 5740657"/>
              <a:gd name="connsiteY80" fmla="*/ 1065125 h 1252696"/>
              <a:gd name="connsiteX81" fmla="*/ 1943311 w 5740657"/>
              <a:gd name="connsiteY81" fmla="*/ 1099510 h 1252696"/>
              <a:gd name="connsiteX82" fmla="*/ 1980076 w 5740657"/>
              <a:gd name="connsiteY82" fmla="*/ 1130727 h 1252696"/>
              <a:gd name="connsiteX83" fmla="*/ 2018151 w 5740657"/>
              <a:gd name="connsiteY83" fmla="*/ 1157968 h 1252696"/>
              <a:gd name="connsiteX84" fmla="*/ 2045652 w 5740657"/>
              <a:gd name="connsiteY84" fmla="*/ 1156371 h 1252696"/>
              <a:gd name="connsiteX85" fmla="*/ 2123658 w 5740657"/>
              <a:gd name="connsiteY85" fmla="*/ 1120391 h 1252696"/>
              <a:gd name="connsiteX86" fmla="*/ 2133707 w 5740657"/>
              <a:gd name="connsiteY86" fmla="*/ 1110343 h 1252696"/>
              <a:gd name="connsiteX87" fmla="*/ 2154065 w 5740657"/>
              <a:gd name="connsiteY87" fmla="*/ 1090769 h 1252696"/>
              <a:gd name="connsiteX88" fmla="*/ 2193997 w 5740657"/>
              <a:gd name="connsiteY88" fmla="*/ 1048718 h 1252696"/>
              <a:gd name="connsiteX89" fmla="*/ 2237357 w 5740657"/>
              <a:gd name="connsiteY89" fmla="*/ 1018311 h 1252696"/>
              <a:gd name="connsiteX90" fmla="*/ 2304529 w 5740657"/>
              <a:gd name="connsiteY90" fmla="*/ 994787 h 1252696"/>
              <a:gd name="connsiteX91" fmla="*/ 2319601 w 5740657"/>
              <a:gd name="connsiteY91" fmla="*/ 989763 h 1252696"/>
              <a:gd name="connsiteX92" fmla="*/ 2408702 w 5740657"/>
              <a:gd name="connsiteY92" fmla="*/ 999288 h 1252696"/>
              <a:gd name="connsiteX93" fmla="*/ 2465302 w 5740657"/>
              <a:gd name="connsiteY93" fmla="*/ 1024932 h 1252696"/>
              <a:gd name="connsiteX94" fmla="*/ 2480375 w 5740657"/>
              <a:gd name="connsiteY94" fmla="*/ 1029956 h 1252696"/>
              <a:gd name="connsiteX95" fmla="*/ 2490423 w 5740657"/>
              <a:gd name="connsiteY95" fmla="*/ 1045028 h 1252696"/>
              <a:gd name="connsiteX96" fmla="*/ 2500471 w 5740657"/>
              <a:gd name="connsiteY96" fmla="*/ 1055077 h 1252696"/>
              <a:gd name="connsiteX97" fmla="*/ 2535641 w 5740657"/>
              <a:gd name="connsiteY97" fmla="*/ 1095270 h 1252696"/>
              <a:gd name="connsiteX98" fmla="*/ 2570810 w 5740657"/>
              <a:gd name="connsiteY98" fmla="*/ 1135464 h 1252696"/>
              <a:gd name="connsiteX99" fmla="*/ 2585882 w 5740657"/>
              <a:gd name="connsiteY99" fmla="*/ 1145512 h 1252696"/>
              <a:gd name="connsiteX100" fmla="*/ 2626076 w 5740657"/>
              <a:gd name="connsiteY100" fmla="*/ 1170633 h 1252696"/>
              <a:gd name="connsiteX101" fmla="*/ 2661245 w 5740657"/>
              <a:gd name="connsiteY101" fmla="*/ 1160584 h 1252696"/>
              <a:gd name="connsiteX102" fmla="*/ 2686366 w 5740657"/>
              <a:gd name="connsiteY102" fmla="*/ 1145512 h 1252696"/>
              <a:gd name="connsiteX103" fmla="*/ 2716511 w 5740657"/>
              <a:gd name="connsiteY103" fmla="*/ 1130439 h 1252696"/>
              <a:gd name="connsiteX104" fmla="*/ 2731584 w 5740657"/>
              <a:gd name="connsiteY104" fmla="*/ 1120391 h 1252696"/>
              <a:gd name="connsiteX105" fmla="*/ 2751680 w 5740657"/>
              <a:gd name="connsiteY105" fmla="*/ 1115367 h 1252696"/>
              <a:gd name="connsiteX106" fmla="*/ 2781825 w 5740657"/>
              <a:gd name="connsiteY106" fmla="*/ 1105319 h 1252696"/>
              <a:gd name="connsiteX107" fmla="*/ 2848448 w 5740657"/>
              <a:gd name="connsiteY107" fmla="*/ 1077554 h 1252696"/>
              <a:gd name="connsiteX108" fmla="*/ 2887856 w 5740657"/>
              <a:gd name="connsiteY108" fmla="*/ 1077292 h 1252696"/>
              <a:gd name="connsiteX109" fmla="*/ 2924883 w 5740657"/>
              <a:gd name="connsiteY109" fmla="*/ 1087079 h 1252696"/>
              <a:gd name="connsiteX110" fmla="*/ 2962696 w 5740657"/>
              <a:gd name="connsiteY110" fmla="*/ 1125415 h 1252696"/>
              <a:gd name="connsiteX111" fmla="*/ 2982792 w 5740657"/>
              <a:gd name="connsiteY111" fmla="*/ 1155560 h 1252696"/>
              <a:gd name="connsiteX112" fmla="*/ 3001293 w 5740657"/>
              <a:gd name="connsiteY112" fmla="*/ 1187825 h 1252696"/>
              <a:gd name="connsiteX113" fmla="*/ 3042271 w 5740657"/>
              <a:gd name="connsiteY113" fmla="*/ 1222994 h 1252696"/>
              <a:gd name="connsiteX114" fmla="*/ 3079561 w 5740657"/>
              <a:gd name="connsiteY114" fmla="*/ 1252354 h 1252696"/>
              <a:gd name="connsiteX115" fmla="*/ 3133518 w 5740657"/>
              <a:gd name="connsiteY115" fmla="*/ 1240971 h 1252696"/>
              <a:gd name="connsiteX116" fmla="*/ 3181378 w 5740657"/>
              <a:gd name="connsiteY116" fmla="*/ 1207372 h 1252696"/>
              <a:gd name="connsiteX117" fmla="*/ 3232928 w 5740657"/>
              <a:gd name="connsiteY117" fmla="*/ 1178561 h 1252696"/>
              <a:gd name="connsiteX118" fmla="*/ 3285027 w 5740657"/>
              <a:gd name="connsiteY118" fmla="*/ 1153440 h 1252696"/>
              <a:gd name="connsiteX119" fmla="*/ 3314388 w 5740657"/>
              <a:gd name="connsiteY119" fmla="*/ 1145512 h 1252696"/>
              <a:gd name="connsiteX120" fmla="*/ 3354581 w 5740657"/>
              <a:gd name="connsiteY120" fmla="*/ 1140488 h 1252696"/>
              <a:gd name="connsiteX121" fmla="*/ 3409847 w 5740657"/>
              <a:gd name="connsiteY121" fmla="*/ 1155560 h 1252696"/>
              <a:gd name="connsiteX122" fmla="*/ 3429944 w 5740657"/>
              <a:gd name="connsiteY122" fmla="*/ 1165609 h 1252696"/>
              <a:gd name="connsiteX123" fmla="*/ 3445017 w 5740657"/>
              <a:gd name="connsiteY123" fmla="*/ 1175657 h 1252696"/>
              <a:gd name="connsiteX124" fmla="*/ 3460089 w 5740657"/>
              <a:gd name="connsiteY124" fmla="*/ 1180681 h 1252696"/>
              <a:gd name="connsiteX125" fmla="*/ 3470137 w 5740657"/>
              <a:gd name="connsiteY125" fmla="*/ 1195754 h 1252696"/>
              <a:gd name="connsiteX126" fmla="*/ 3530428 w 5740657"/>
              <a:gd name="connsiteY126" fmla="*/ 1200778 h 1252696"/>
              <a:gd name="connsiteX127" fmla="*/ 3545500 w 5740657"/>
              <a:gd name="connsiteY127" fmla="*/ 1190730 h 1252696"/>
              <a:gd name="connsiteX128" fmla="*/ 3570621 w 5740657"/>
              <a:gd name="connsiteY128" fmla="*/ 1180681 h 1252696"/>
              <a:gd name="connsiteX129" fmla="*/ 3590718 w 5740657"/>
              <a:gd name="connsiteY129" fmla="*/ 1150536 h 1252696"/>
              <a:gd name="connsiteX130" fmla="*/ 3620863 w 5740657"/>
              <a:gd name="connsiteY130" fmla="*/ 1125415 h 1252696"/>
              <a:gd name="connsiteX131" fmla="*/ 3635935 w 5740657"/>
              <a:gd name="connsiteY131" fmla="*/ 1105319 h 1252696"/>
              <a:gd name="connsiteX132" fmla="*/ 3666080 w 5740657"/>
              <a:gd name="connsiteY132" fmla="*/ 1085222 h 1252696"/>
              <a:gd name="connsiteX133" fmla="*/ 3701249 w 5740657"/>
              <a:gd name="connsiteY133" fmla="*/ 1070149 h 1252696"/>
              <a:gd name="connsiteX134" fmla="*/ 3711298 w 5740657"/>
              <a:gd name="connsiteY134" fmla="*/ 1060101 h 1252696"/>
              <a:gd name="connsiteX135" fmla="*/ 3746467 w 5740657"/>
              <a:gd name="connsiteY135" fmla="*/ 1047148 h 1252696"/>
              <a:gd name="connsiteX136" fmla="*/ 3802518 w 5740657"/>
              <a:gd name="connsiteY136" fmla="*/ 1043982 h 1252696"/>
              <a:gd name="connsiteX137" fmla="*/ 3863044 w 5740657"/>
              <a:gd name="connsiteY137" fmla="*/ 1072033 h 1252696"/>
              <a:gd name="connsiteX138" fmla="*/ 3905619 w 5740657"/>
              <a:gd name="connsiteY138" fmla="*/ 1101367 h 1252696"/>
              <a:gd name="connsiteX139" fmla="*/ 3961434 w 5740657"/>
              <a:gd name="connsiteY139" fmla="*/ 1142346 h 1252696"/>
              <a:gd name="connsiteX140" fmla="*/ 4022797 w 5740657"/>
              <a:gd name="connsiteY140" fmla="*/ 1165609 h 1252696"/>
              <a:gd name="connsiteX141" fmla="*/ 4068014 w 5740657"/>
              <a:gd name="connsiteY141" fmla="*/ 1150536 h 1252696"/>
              <a:gd name="connsiteX142" fmla="*/ 4083087 w 5740657"/>
              <a:gd name="connsiteY142" fmla="*/ 1125415 h 1252696"/>
              <a:gd name="connsiteX143" fmla="*/ 4103184 w 5740657"/>
              <a:gd name="connsiteY143" fmla="*/ 1105319 h 1252696"/>
              <a:gd name="connsiteX144" fmla="*/ 4133329 w 5740657"/>
              <a:gd name="connsiteY144" fmla="*/ 1075173 h 1252696"/>
              <a:gd name="connsiteX145" fmla="*/ 4153425 w 5740657"/>
              <a:gd name="connsiteY145" fmla="*/ 1040004 h 1252696"/>
              <a:gd name="connsiteX146" fmla="*/ 4163474 w 5740657"/>
              <a:gd name="connsiteY146" fmla="*/ 1019908 h 1252696"/>
              <a:gd name="connsiteX147" fmla="*/ 4168498 w 5740657"/>
              <a:gd name="connsiteY147" fmla="*/ 1004835 h 1252696"/>
              <a:gd name="connsiteX148" fmla="*/ 4188595 w 5740657"/>
              <a:gd name="connsiteY148" fmla="*/ 984738 h 1252696"/>
              <a:gd name="connsiteX149" fmla="*/ 4203667 w 5740657"/>
              <a:gd name="connsiteY149" fmla="*/ 979714 h 1252696"/>
              <a:gd name="connsiteX150" fmla="*/ 4238836 w 5740657"/>
              <a:gd name="connsiteY150" fmla="*/ 954593 h 1252696"/>
              <a:gd name="connsiteX151" fmla="*/ 4279030 w 5740657"/>
              <a:gd name="connsiteY151" fmla="*/ 934497 h 1252696"/>
              <a:gd name="connsiteX152" fmla="*/ 4314199 w 5740657"/>
              <a:gd name="connsiteY152" fmla="*/ 914400 h 1252696"/>
              <a:gd name="connsiteX153" fmla="*/ 4329271 w 5740657"/>
              <a:gd name="connsiteY153" fmla="*/ 904352 h 1252696"/>
              <a:gd name="connsiteX154" fmla="*/ 4365487 w 5740657"/>
              <a:gd name="connsiteY154" fmla="*/ 909114 h 1252696"/>
              <a:gd name="connsiteX155" fmla="*/ 4420492 w 5740657"/>
              <a:gd name="connsiteY155" fmla="*/ 946141 h 1252696"/>
              <a:gd name="connsiteX156" fmla="*/ 4465709 w 5740657"/>
              <a:gd name="connsiteY156" fmla="*/ 1006955 h 1252696"/>
              <a:gd name="connsiteX157" fmla="*/ 4534713 w 5740657"/>
              <a:gd name="connsiteY157" fmla="*/ 1037650 h 1252696"/>
              <a:gd name="connsiteX158" fmla="*/ 4600577 w 5740657"/>
              <a:gd name="connsiteY158" fmla="*/ 969666 h 1252696"/>
              <a:gd name="connsiteX159" fmla="*/ 4620674 w 5740657"/>
              <a:gd name="connsiteY159" fmla="*/ 959617 h 1252696"/>
              <a:gd name="connsiteX160" fmla="*/ 4635746 w 5740657"/>
              <a:gd name="connsiteY160" fmla="*/ 944545 h 1252696"/>
              <a:gd name="connsiteX161" fmla="*/ 4655843 w 5740657"/>
              <a:gd name="connsiteY161" fmla="*/ 934497 h 1252696"/>
              <a:gd name="connsiteX162" fmla="*/ 4675940 w 5740657"/>
              <a:gd name="connsiteY162" fmla="*/ 919424 h 1252696"/>
              <a:gd name="connsiteX163" fmla="*/ 4741254 w 5740657"/>
              <a:gd name="connsiteY163" fmla="*/ 884255 h 1252696"/>
              <a:gd name="connsiteX164" fmla="*/ 4766375 w 5740657"/>
              <a:gd name="connsiteY164" fmla="*/ 879231 h 1252696"/>
              <a:gd name="connsiteX165" fmla="*/ 4781447 w 5740657"/>
              <a:gd name="connsiteY165" fmla="*/ 874206 h 1252696"/>
              <a:gd name="connsiteX166" fmla="*/ 4822687 w 5740657"/>
              <a:gd name="connsiteY166" fmla="*/ 873944 h 1252696"/>
              <a:gd name="connsiteX167" fmla="*/ 4880858 w 5740657"/>
              <a:gd name="connsiteY167" fmla="*/ 895638 h 1252696"/>
              <a:gd name="connsiteX168" fmla="*/ 4938740 w 5740657"/>
              <a:gd name="connsiteY168" fmla="*/ 934523 h 1252696"/>
              <a:gd name="connsiteX169" fmla="*/ 4998795 w 5740657"/>
              <a:gd name="connsiteY169" fmla="*/ 1006746 h 1252696"/>
              <a:gd name="connsiteX170" fmla="*/ 5028155 w 5740657"/>
              <a:gd name="connsiteY170" fmla="*/ 1051963 h 1252696"/>
              <a:gd name="connsiteX171" fmla="*/ 5095616 w 5740657"/>
              <a:gd name="connsiteY171" fmla="*/ 1016506 h 1252696"/>
              <a:gd name="connsiteX172" fmla="*/ 5147715 w 5740657"/>
              <a:gd name="connsiteY172" fmla="*/ 948261 h 1252696"/>
              <a:gd name="connsiteX173" fmla="*/ 5192645 w 5740657"/>
              <a:gd name="connsiteY173" fmla="*/ 886112 h 1252696"/>
              <a:gd name="connsiteX174" fmla="*/ 5229672 w 5740657"/>
              <a:gd name="connsiteY174" fmla="*/ 856230 h 1252696"/>
              <a:gd name="connsiteX175" fmla="*/ 5264030 w 5740657"/>
              <a:gd name="connsiteY175" fmla="*/ 822918 h 1252696"/>
              <a:gd name="connsiteX176" fmla="*/ 5298675 w 5740657"/>
              <a:gd name="connsiteY176" fmla="*/ 800440 h 1252696"/>
              <a:gd name="connsiteX177" fmla="*/ 5337823 w 5740657"/>
              <a:gd name="connsiteY177" fmla="*/ 794893 h 1252696"/>
              <a:gd name="connsiteX178" fmla="*/ 5415567 w 5740657"/>
              <a:gd name="connsiteY178" fmla="*/ 824252 h 1252696"/>
              <a:gd name="connsiteX179" fmla="*/ 5434590 w 5740657"/>
              <a:gd name="connsiteY179" fmla="*/ 768699 h 1252696"/>
              <a:gd name="connsiteX180" fmla="*/ 5444639 w 5740657"/>
              <a:gd name="connsiteY180" fmla="*/ 753626 h 1252696"/>
              <a:gd name="connsiteX181" fmla="*/ 5459711 w 5740657"/>
              <a:gd name="connsiteY181" fmla="*/ 708409 h 1252696"/>
              <a:gd name="connsiteX182" fmla="*/ 5469759 w 5740657"/>
              <a:gd name="connsiteY182" fmla="*/ 683288 h 1252696"/>
              <a:gd name="connsiteX183" fmla="*/ 5479808 w 5740657"/>
              <a:gd name="connsiteY183" fmla="*/ 643094 h 1252696"/>
              <a:gd name="connsiteX184" fmla="*/ 5494880 w 5740657"/>
              <a:gd name="connsiteY184" fmla="*/ 617973 h 1252696"/>
              <a:gd name="connsiteX185" fmla="*/ 5509953 w 5740657"/>
              <a:gd name="connsiteY185" fmla="*/ 572756 h 1252696"/>
              <a:gd name="connsiteX186" fmla="*/ 5530049 w 5740657"/>
              <a:gd name="connsiteY186" fmla="*/ 522514 h 1252696"/>
              <a:gd name="connsiteX187" fmla="*/ 5550146 w 5740657"/>
              <a:gd name="connsiteY187" fmla="*/ 467248 h 1252696"/>
              <a:gd name="connsiteX188" fmla="*/ 5560195 w 5740657"/>
              <a:gd name="connsiteY188" fmla="*/ 411982 h 1252696"/>
              <a:gd name="connsiteX189" fmla="*/ 5570243 w 5740657"/>
              <a:gd name="connsiteY189" fmla="*/ 381837 h 1252696"/>
              <a:gd name="connsiteX190" fmla="*/ 5580291 w 5740657"/>
              <a:gd name="connsiteY190" fmla="*/ 356716 h 1252696"/>
              <a:gd name="connsiteX191" fmla="*/ 5600388 w 5740657"/>
              <a:gd name="connsiteY191" fmla="*/ 316523 h 1252696"/>
              <a:gd name="connsiteX192" fmla="*/ 5620485 w 5740657"/>
              <a:gd name="connsiteY192" fmla="*/ 246184 h 1252696"/>
              <a:gd name="connsiteX193" fmla="*/ 5625509 w 5740657"/>
              <a:gd name="connsiteY193" fmla="*/ 226088 h 1252696"/>
              <a:gd name="connsiteX194" fmla="*/ 5635557 w 5740657"/>
              <a:gd name="connsiteY194" fmla="*/ 216039 h 1252696"/>
              <a:gd name="connsiteX195" fmla="*/ 5640581 w 5740657"/>
              <a:gd name="connsiteY195" fmla="*/ 200967 h 1252696"/>
              <a:gd name="connsiteX196" fmla="*/ 5655131 w 5740657"/>
              <a:gd name="connsiteY196" fmla="*/ 190395 h 1252696"/>
              <a:gd name="connsiteX197" fmla="*/ 5677085 w 5740657"/>
              <a:gd name="connsiteY197" fmla="*/ 153892 h 1252696"/>
              <a:gd name="connsiteX198" fmla="*/ 5729995 w 5740657"/>
              <a:gd name="connsiteY198" fmla="*/ 89362 h 1252696"/>
              <a:gd name="connsiteX199" fmla="*/ 5732115 w 5740657"/>
              <a:gd name="connsiteY199" fmla="*/ 42287 h 1252696"/>
              <a:gd name="connsiteX200" fmla="*/ 5637677 w 5740657"/>
              <a:gd name="connsiteY200" fmla="*/ 25357 h 1252696"/>
              <a:gd name="connsiteX201" fmla="*/ 5540333 w 5740657"/>
              <a:gd name="connsiteY201" fmla="*/ 27214 h 1252696"/>
              <a:gd name="connsiteX202" fmla="*/ 5473762 w 5740657"/>
              <a:gd name="connsiteY202" fmla="*/ 39381 h 1252696"/>
              <a:gd name="connsiteX203" fmla="*/ 5382517 w 5740657"/>
              <a:gd name="connsiteY203" fmla="*/ 39644 h 1252696"/>
              <a:gd name="connsiteX204" fmla="*/ 5312675 w 5740657"/>
              <a:gd name="connsiteY204" fmla="*/ 42287 h 1252696"/>
              <a:gd name="connsiteX205" fmla="*/ 5242075 w 5740657"/>
              <a:gd name="connsiteY205" fmla="*/ 54455 h 1252696"/>
              <a:gd name="connsiteX206" fmla="*/ 5112285 w 5740657"/>
              <a:gd name="connsiteY206" fmla="*/ 37524 h 1252696"/>
              <a:gd name="connsiteX207" fmla="*/ 5023419 w 5740657"/>
              <a:gd name="connsiteY207" fmla="*/ 39120 h 1252696"/>
              <a:gd name="connsiteX208" fmla="*/ 4949626 w 5740657"/>
              <a:gd name="connsiteY208" fmla="*/ 41240 h 1252696"/>
              <a:gd name="connsiteX209" fmla="*/ 4826665 w 5740657"/>
              <a:gd name="connsiteY209" fmla="*/ 50242 h 1252696"/>
              <a:gd name="connsiteX210" fmla="*/ 4730970 w 5740657"/>
              <a:gd name="connsiteY210" fmla="*/ 29073 h 1252696"/>
              <a:gd name="connsiteX211" fmla="*/ 4631769 w 5740657"/>
              <a:gd name="connsiteY211" fmla="*/ 41240 h 1252696"/>
              <a:gd name="connsiteX212" fmla="*/ 4568573 w 5740657"/>
              <a:gd name="connsiteY212" fmla="*/ 46264 h 1252696"/>
              <a:gd name="connsiteX213" fmla="*/ 4420989 w 5740657"/>
              <a:gd name="connsiteY213" fmla="*/ 44406 h 1252696"/>
              <a:gd name="connsiteX214" fmla="*/ 4143377 w 5740657"/>
              <a:gd name="connsiteY214" fmla="*/ 60290 h 1252696"/>
              <a:gd name="connsiteX215" fmla="*/ 3922313 w 5740657"/>
              <a:gd name="connsiteY215" fmla="*/ 50242 h 1252696"/>
              <a:gd name="connsiteX216" fmla="*/ 3877096 w 5740657"/>
              <a:gd name="connsiteY216" fmla="*/ 45217 h 1252696"/>
              <a:gd name="connsiteX217" fmla="*/ 3691201 w 5740657"/>
              <a:gd name="connsiteY217" fmla="*/ 40193 h 1252696"/>
              <a:gd name="connsiteX218" fmla="*/ 3666080 w 5740657"/>
              <a:gd name="connsiteY218" fmla="*/ 35169 h 1252696"/>
              <a:gd name="connsiteX219" fmla="*/ 3630911 w 5740657"/>
              <a:gd name="connsiteY219" fmla="*/ 25121 h 1252696"/>
              <a:gd name="connsiteX220" fmla="*/ 3550524 w 5740657"/>
              <a:gd name="connsiteY220" fmla="*/ 20097 h 1252696"/>
              <a:gd name="connsiteX221" fmla="*/ 3314388 w 5740657"/>
              <a:gd name="connsiteY221" fmla="*/ 25121 h 1252696"/>
              <a:gd name="connsiteX222" fmla="*/ 3269170 w 5740657"/>
              <a:gd name="connsiteY222" fmla="*/ 30145 h 1252696"/>
              <a:gd name="connsiteX223" fmla="*/ 3178735 w 5740657"/>
              <a:gd name="connsiteY223" fmla="*/ 35169 h 1252696"/>
              <a:gd name="connsiteX224" fmla="*/ 2585882 w 5740657"/>
              <a:gd name="connsiteY224" fmla="*/ 45217 h 1252696"/>
              <a:gd name="connsiteX225" fmla="*/ 2259311 w 5740657"/>
              <a:gd name="connsiteY225" fmla="*/ 40193 h 1252696"/>
              <a:gd name="connsiteX226" fmla="*/ 1977957 w 5740657"/>
              <a:gd name="connsiteY226" fmla="*/ 30145 h 1252696"/>
              <a:gd name="connsiteX227" fmla="*/ 1947812 w 5740657"/>
              <a:gd name="connsiteY227" fmla="*/ 25121 h 1252696"/>
              <a:gd name="connsiteX228" fmla="*/ 1852353 w 5740657"/>
              <a:gd name="connsiteY228" fmla="*/ 20097 h 1252696"/>
              <a:gd name="connsiteX229" fmla="*/ 1771966 w 5740657"/>
              <a:gd name="connsiteY229" fmla="*/ 10048 h 1252696"/>
              <a:gd name="connsiteX230" fmla="*/ 1505685 w 5740657"/>
              <a:gd name="connsiteY230" fmla="*/ 20097 h 1252696"/>
              <a:gd name="connsiteX231" fmla="*/ 1470515 w 5740657"/>
              <a:gd name="connsiteY231" fmla="*/ 25121 h 1252696"/>
              <a:gd name="connsiteX232" fmla="*/ 1430322 w 5740657"/>
              <a:gd name="connsiteY232" fmla="*/ 30145 h 1252696"/>
              <a:gd name="connsiteX233" fmla="*/ 1302049 w 5740657"/>
              <a:gd name="connsiteY233" fmla="*/ 21404 h 1252696"/>
              <a:gd name="connsiteX234" fmla="*/ 1098726 w 5740657"/>
              <a:gd name="connsiteY234" fmla="*/ 35169 h 1252696"/>
              <a:gd name="connsiteX235" fmla="*/ 983170 w 5740657"/>
              <a:gd name="connsiteY235" fmla="*/ 20097 h 1252696"/>
              <a:gd name="connsiteX236" fmla="*/ 942977 w 5740657"/>
              <a:gd name="connsiteY236" fmla="*/ 10048 h 1252696"/>
              <a:gd name="connsiteX237" fmla="*/ 817373 w 5740657"/>
              <a:gd name="connsiteY237" fmla="*/ 0 h 1252696"/>
              <a:gd name="connsiteX238" fmla="*/ 747034 w 5740657"/>
              <a:gd name="connsiteY238" fmla="*/ 5024 h 1252696"/>
              <a:gd name="connsiteX239" fmla="*/ 586260 w 5740657"/>
              <a:gd name="connsiteY239" fmla="*/ 15072 h 1252696"/>
              <a:gd name="connsiteX240" fmla="*/ 435535 w 5740657"/>
              <a:gd name="connsiteY240" fmla="*/ 5024 h 1252696"/>
              <a:gd name="connsiteX241" fmla="*/ 415439 w 5740657"/>
              <a:gd name="connsiteY241" fmla="*/ 0 h 1252696"/>
              <a:gd name="connsiteX242" fmla="*/ 284810 w 5740657"/>
              <a:gd name="connsiteY242" fmla="*/ 10048 h 1252696"/>
              <a:gd name="connsiteX243" fmla="*/ 264713 w 5740657"/>
              <a:gd name="connsiteY243" fmla="*/ 15072 h 1252696"/>
              <a:gd name="connsiteX244" fmla="*/ 103940 w 5740657"/>
              <a:gd name="connsiteY244" fmla="*/ 20097 h 1252696"/>
              <a:gd name="connsiteX245" fmla="*/ 8480 w 5740657"/>
              <a:gd name="connsiteY245" fmla="*/ 30145 h 1252696"/>
              <a:gd name="connsiteX0" fmla="*/ 8480 w 5740657"/>
              <a:gd name="connsiteY0" fmla="*/ 30145 h 1252696"/>
              <a:gd name="connsiteX1" fmla="*/ 4242 w 5740657"/>
              <a:gd name="connsiteY1" fmla="*/ 101269 h 1252696"/>
              <a:gd name="connsiteX2" fmla="*/ 4503 w 5740657"/>
              <a:gd name="connsiteY2" fmla="*/ 145963 h 1252696"/>
              <a:gd name="connsiteX3" fmla="*/ 7146 w 5740657"/>
              <a:gd name="connsiteY3" fmla="*/ 224230 h 1252696"/>
              <a:gd name="connsiteX4" fmla="*/ 17193 w 5740657"/>
              <a:gd name="connsiteY4" fmla="*/ 342455 h 1252696"/>
              <a:gd name="connsiteX5" fmla="*/ 12693 w 5740657"/>
              <a:gd name="connsiteY5" fmla="*/ 569459 h 1252696"/>
              <a:gd name="connsiteX6" fmla="*/ 20099 w 5740657"/>
              <a:gd name="connsiteY6" fmla="*/ 852252 h 1252696"/>
              <a:gd name="connsiteX7" fmla="*/ 19575 w 5740657"/>
              <a:gd name="connsiteY7" fmla="*/ 1008786 h 1252696"/>
              <a:gd name="connsiteX8" fmla="*/ 28577 w 5740657"/>
              <a:gd name="connsiteY8" fmla="*/ 1100294 h 1252696"/>
              <a:gd name="connsiteX9" fmla="*/ 23553 w 5740657"/>
              <a:gd name="connsiteY9" fmla="*/ 1150536 h 1252696"/>
              <a:gd name="connsiteX10" fmla="*/ 28577 w 5740657"/>
              <a:gd name="connsiteY10" fmla="*/ 1170633 h 1252696"/>
              <a:gd name="connsiteX11" fmla="*/ 38625 w 5740657"/>
              <a:gd name="connsiteY11" fmla="*/ 1160584 h 1252696"/>
              <a:gd name="connsiteX12" fmla="*/ 58722 w 5740657"/>
              <a:gd name="connsiteY12" fmla="*/ 1100294 h 1252696"/>
              <a:gd name="connsiteX13" fmla="*/ 63746 w 5740657"/>
              <a:gd name="connsiteY13" fmla="*/ 1085222 h 1252696"/>
              <a:gd name="connsiteX14" fmla="*/ 73795 w 5740657"/>
              <a:gd name="connsiteY14" fmla="*/ 1075173 h 1252696"/>
              <a:gd name="connsiteX15" fmla="*/ 98915 w 5740657"/>
              <a:gd name="connsiteY15" fmla="*/ 1045028 h 1252696"/>
              <a:gd name="connsiteX16" fmla="*/ 113988 w 5740657"/>
              <a:gd name="connsiteY16" fmla="*/ 1040004 h 1252696"/>
              <a:gd name="connsiteX17" fmla="*/ 139109 w 5740657"/>
              <a:gd name="connsiteY17" fmla="*/ 1019908 h 1252696"/>
              <a:gd name="connsiteX18" fmla="*/ 154181 w 5740657"/>
              <a:gd name="connsiteY18" fmla="*/ 1009859 h 1252696"/>
              <a:gd name="connsiteX19" fmla="*/ 179302 w 5740657"/>
              <a:gd name="connsiteY19" fmla="*/ 994787 h 1252696"/>
              <a:gd name="connsiteX20" fmla="*/ 219496 w 5740657"/>
              <a:gd name="connsiteY20" fmla="*/ 984738 h 1252696"/>
              <a:gd name="connsiteX21" fmla="*/ 289834 w 5740657"/>
              <a:gd name="connsiteY21" fmla="*/ 994787 h 1252696"/>
              <a:gd name="connsiteX22" fmla="*/ 304907 w 5740657"/>
              <a:gd name="connsiteY22" fmla="*/ 1004835 h 1252696"/>
              <a:gd name="connsiteX23" fmla="*/ 325003 w 5740657"/>
              <a:gd name="connsiteY23" fmla="*/ 1034980 h 1252696"/>
              <a:gd name="connsiteX24" fmla="*/ 360173 w 5740657"/>
              <a:gd name="connsiteY24" fmla="*/ 1065125 h 1252696"/>
              <a:gd name="connsiteX25" fmla="*/ 370221 w 5740657"/>
              <a:gd name="connsiteY25" fmla="*/ 1080198 h 1252696"/>
              <a:gd name="connsiteX26" fmla="*/ 385293 w 5740657"/>
              <a:gd name="connsiteY26" fmla="*/ 1085222 h 1252696"/>
              <a:gd name="connsiteX27" fmla="*/ 400366 w 5740657"/>
              <a:gd name="connsiteY27" fmla="*/ 1095270 h 1252696"/>
              <a:gd name="connsiteX28" fmla="*/ 410414 w 5740657"/>
              <a:gd name="connsiteY28" fmla="*/ 1105319 h 1252696"/>
              <a:gd name="connsiteX29" fmla="*/ 425487 w 5740657"/>
              <a:gd name="connsiteY29" fmla="*/ 1110343 h 1252696"/>
              <a:gd name="connsiteX30" fmla="*/ 440559 w 5740657"/>
              <a:gd name="connsiteY30" fmla="*/ 1120391 h 1252696"/>
              <a:gd name="connsiteX31" fmla="*/ 470704 w 5740657"/>
              <a:gd name="connsiteY31" fmla="*/ 1130439 h 1252696"/>
              <a:gd name="connsiteX32" fmla="*/ 525970 w 5740657"/>
              <a:gd name="connsiteY32" fmla="*/ 1115367 h 1252696"/>
              <a:gd name="connsiteX33" fmla="*/ 556115 w 5740657"/>
              <a:gd name="connsiteY33" fmla="*/ 1075173 h 1252696"/>
              <a:gd name="connsiteX34" fmla="*/ 571188 w 5740657"/>
              <a:gd name="connsiteY34" fmla="*/ 1070149 h 1252696"/>
              <a:gd name="connsiteX35" fmla="*/ 586260 w 5740657"/>
              <a:gd name="connsiteY35" fmla="*/ 1060101 h 1252696"/>
              <a:gd name="connsiteX36" fmla="*/ 641526 w 5740657"/>
              <a:gd name="connsiteY36" fmla="*/ 1045028 h 1252696"/>
              <a:gd name="connsiteX37" fmla="*/ 656599 w 5740657"/>
              <a:gd name="connsiteY37" fmla="*/ 1040004 h 1252696"/>
              <a:gd name="connsiteX38" fmla="*/ 696792 w 5740657"/>
              <a:gd name="connsiteY38" fmla="*/ 1045028 h 1252696"/>
              <a:gd name="connsiteX39" fmla="*/ 726937 w 5740657"/>
              <a:gd name="connsiteY39" fmla="*/ 1055077 h 1252696"/>
              <a:gd name="connsiteX40" fmla="*/ 736986 w 5740657"/>
              <a:gd name="connsiteY40" fmla="*/ 1065125 h 1252696"/>
              <a:gd name="connsiteX41" fmla="*/ 772155 w 5740657"/>
              <a:gd name="connsiteY41" fmla="*/ 1080198 h 1252696"/>
              <a:gd name="connsiteX42" fmla="*/ 807324 w 5740657"/>
              <a:gd name="connsiteY42" fmla="*/ 1105319 h 1252696"/>
              <a:gd name="connsiteX43" fmla="*/ 837469 w 5740657"/>
              <a:gd name="connsiteY43" fmla="*/ 1130439 h 1252696"/>
              <a:gd name="connsiteX44" fmla="*/ 872639 w 5740657"/>
              <a:gd name="connsiteY44" fmla="*/ 1140488 h 1252696"/>
              <a:gd name="connsiteX45" fmla="*/ 912832 w 5740657"/>
              <a:gd name="connsiteY45" fmla="*/ 1175657 h 1252696"/>
              <a:gd name="connsiteX46" fmla="*/ 942977 w 5740657"/>
              <a:gd name="connsiteY46" fmla="*/ 1185705 h 1252696"/>
              <a:gd name="connsiteX47" fmla="*/ 983170 w 5740657"/>
              <a:gd name="connsiteY47" fmla="*/ 1180681 h 1252696"/>
              <a:gd name="connsiteX48" fmla="*/ 993219 w 5740657"/>
              <a:gd name="connsiteY48" fmla="*/ 1170633 h 1252696"/>
              <a:gd name="connsiteX49" fmla="*/ 1008291 w 5740657"/>
              <a:gd name="connsiteY49" fmla="*/ 1150536 h 1252696"/>
              <a:gd name="connsiteX50" fmla="*/ 1018340 w 5740657"/>
              <a:gd name="connsiteY50" fmla="*/ 1120391 h 1252696"/>
              <a:gd name="connsiteX51" fmla="*/ 1043460 w 5740657"/>
              <a:gd name="connsiteY51" fmla="*/ 1095270 h 1252696"/>
              <a:gd name="connsiteX52" fmla="*/ 1053509 w 5740657"/>
              <a:gd name="connsiteY52" fmla="*/ 1085222 h 1252696"/>
              <a:gd name="connsiteX53" fmla="*/ 1078630 w 5740657"/>
              <a:gd name="connsiteY53" fmla="*/ 1065125 h 1252696"/>
              <a:gd name="connsiteX54" fmla="*/ 1093702 w 5740657"/>
              <a:gd name="connsiteY54" fmla="*/ 1050053 h 1252696"/>
              <a:gd name="connsiteX55" fmla="*/ 1123847 w 5740657"/>
              <a:gd name="connsiteY55" fmla="*/ 1040004 h 1252696"/>
              <a:gd name="connsiteX56" fmla="*/ 1138920 w 5740657"/>
              <a:gd name="connsiteY56" fmla="*/ 1034980 h 1252696"/>
              <a:gd name="connsiteX57" fmla="*/ 1164041 w 5740657"/>
              <a:gd name="connsiteY57" fmla="*/ 1019908 h 1252696"/>
              <a:gd name="connsiteX58" fmla="*/ 1179113 w 5740657"/>
              <a:gd name="connsiteY58" fmla="*/ 1014883 h 1252696"/>
              <a:gd name="connsiteX59" fmla="*/ 1199210 w 5740657"/>
              <a:gd name="connsiteY59" fmla="*/ 1004835 h 1252696"/>
              <a:gd name="connsiteX60" fmla="*/ 1284621 w 5740657"/>
              <a:gd name="connsiteY60" fmla="*/ 1014883 h 1252696"/>
              <a:gd name="connsiteX61" fmla="*/ 1299693 w 5740657"/>
              <a:gd name="connsiteY61" fmla="*/ 1024932 h 1252696"/>
              <a:gd name="connsiteX62" fmla="*/ 1314766 w 5740657"/>
              <a:gd name="connsiteY62" fmla="*/ 1029956 h 1252696"/>
              <a:gd name="connsiteX63" fmla="*/ 1329839 w 5740657"/>
              <a:gd name="connsiteY63" fmla="*/ 1060101 h 1252696"/>
              <a:gd name="connsiteX64" fmla="*/ 1344911 w 5740657"/>
              <a:gd name="connsiteY64" fmla="*/ 1065125 h 1252696"/>
              <a:gd name="connsiteX65" fmla="*/ 1359984 w 5740657"/>
              <a:gd name="connsiteY65" fmla="*/ 1075173 h 1252696"/>
              <a:gd name="connsiteX66" fmla="*/ 1400177 w 5740657"/>
              <a:gd name="connsiteY66" fmla="*/ 1090246 h 1252696"/>
              <a:gd name="connsiteX67" fmla="*/ 1450419 w 5740657"/>
              <a:gd name="connsiteY67" fmla="*/ 1105319 h 1252696"/>
              <a:gd name="connsiteX68" fmla="*/ 1465491 w 5740657"/>
              <a:gd name="connsiteY68" fmla="*/ 1110343 h 1252696"/>
              <a:gd name="connsiteX69" fmla="*/ 1500660 w 5740657"/>
              <a:gd name="connsiteY69" fmla="*/ 1120391 h 1252696"/>
              <a:gd name="connsiteX70" fmla="*/ 1555926 w 5740657"/>
              <a:gd name="connsiteY70" fmla="*/ 1115367 h 1252696"/>
              <a:gd name="connsiteX71" fmla="*/ 1570999 w 5740657"/>
              <a:gd name="connsiteY71" fmla="*/ 1110343 h 1252696"/>
              <a:gd name="connsiteX72" fmla="*/ 1591096 w 5740657"/>
              <a:gd name="connsiteY72" fmla="*/ 1090246 h 1252696"/>
              <a:gd name="connsiteX73" fmla="*/ 1641337 w 5740657"/>
              <a:gd name="connsiteY73" fmla="*/ 1050053 h 1252696"/>
              <a:gd name="connsiteX74" fmla="*/ 1656410 w 5740657"/>
              <a:gd name="connsiteY74" fmla="*/ 1029956 h 1252696"/>
              <a:gd name="connsiteX75" fmla="*/ 1691579 w 5740657"/>
              <a:gd name="connsiteY75" fmla="*/ 1019908 h 1252696"/>
              <a:gd name="connsiteX76" fmla="*/ 1792063 w 5740657"/>
              <a:gd name="connsiteY76" fmla="*/ 1029956 h 1252696"/>
              <a:gd name="connsiteX77" fmla="*/ 1822208 w 5740657"/>
              <a:gd name="connsiteY77" fmla="*/ 1040004 h 1252696"/>
              <a:gd name="connsiteX78" fmla="*/ 1857377 w 5740657"/>
              <a:gd name="connsiteY78" fmla="*/ 1050053 h 1252696"/>
              <a:gd name="connsiteX79" fmla="*/ 1872449 w 5740657"/>
              <a:gd name="connsiteY79" fmla="*/ 1060101 h 1252696"/>
              <a:gd name="connsiteX80" fmla="*/ 1897570 w 5740657"/>
              <a:gd name="connsiteY80" fmla="*/ 1065125 h 1252696"/>
              <a:gd name="connsiteX81" fmla="*/ 1943311 w 5740657"/>
              <a:gd name="connsiteY81" fmla="*/ 1099510 h 1252696"/>
              <a:gd name="connsiteX82" fmla="*/ 1980076 w 5740657"/>
              <a:gd name="connsiteY82" fmla="*/ 1130727 h 1252696"/>
              <a:gd name="connsiteX83" fmla="*/ 2018151 w 5740657"/>
              <a:gd name="connsiteY83" fmla="*/ 1157968 h 1252696"/>
              <a:gd name="connsiteX84" fmla="*/ 2045652 w 5740657"/>
              <a:gd name="connsiteY84" fmla="*/ 1156371 h 1252696"/>
              <a:gd name="connsiteX85" fmla="*/ 2123658 w 5740657"/>
              <a:gd name="connsiteY85" fmla="*/ 1120391 h 1252696"/>
              <a:gd name="connsiteX86" fmla="*/ 2133707 w 5740657"/>
              <a:gd name="connsiteY86" fmla="*/ 1110343 h 1252696"/>
              <a:gd name="connsiteX87" fmla="*/ 2154065 w 5740657"/>
              <a:gd name="connsiteY87" fmla="*/ 1090769 h 1252696"/>
              <a:gd name="connsiteX88" fmla="*/ 2193997 w 5740657"/>
              <a:gd name="connsiteY88" fmla="*/ 1048718 h 1252696"/>
              <a:gd name="connsiteX89" fmla="*/ 2237357 w 5740657"/>
              <a:gd name="connsiteY89" fmla="*/ 1018311 h 1252696"/>
              <a:gd name="connsiteX90" fmla="*/ 2304529 w 5740657"/>
              <a:gd name="connsiteY90" fmla="*/ 994787 h 1252696"/>
              <a:gd name="connsiteX91" fmla="*/ 2319601 w 5740657"/>
              <a:gd name="connsiteY91" fmla="*/ 989763 h 1252696"/>
              <a:gd name="connsiteX92" fmla="*/ 2408702 w 5740657"/>
              <a:gd name="connsiteY92" fmla="*/ 999288 h 1252696"/>
              <a:gd name="connsiteX93" fmla="*/ 2465302 w 5740657"/>
              <a:gd name="connsiteY93" fmla="*/ 1024932 h 1252696"/>
              <a:gd name="connsiteX94" fmla="*/ 2480375 w 5740657"/>
              <a:gd name="connsiteY94" fmla="*/ 1029956 h 1252696"/>
              <a:gd name="connsiteX95" fmla="*/ 2490423 w 5740657"/>
              <a:gd name="connsiteY95" fmla="*/ 1045028 h 1252696"/>
              <a:gd name="connsiteX96" fmla="*/ 2500471 w 5740657"/>
              <a:gd name="connsiteY96" fmla="*/ 1055077 h 1252696"/>
              <a:gd name="connsiteX97" fmla="*/ 2535641 w 5740657"/>
              <a:gd name="connsiteY97" fmla="*/ 1095270 h 1252696"/>
              <a:gd name="connsiteX98" fmla="*/ 2570810 w 5740657"/>
              <a:gd name="connsiteY98" fmla="*/ 1135464 h 1252696"/>
              <a:gd name="connsiteX99" fmla="*/ 2585882 w 5740657"/>
              <a:gd name="connsiteY99" fmla="*/ 1145512 h 1252696"/>
              <a:gd name="connsiteX100" fmla="*/ 2626076 w 5740657"/>
              <a:gd name="connsiteY100" fmla="*/ 1170633 h 1252696"/>
              <a:gd name="connsiteX101" fmla="*/ 2661245 w 5740657"/>
              <a:gd name="connsiteY101" fmla="*/ 1160584 h 1252696"/>
              <a:gd name="connsiteX102" fmla="*/ 2686366 w 5740657"/>
              <a:gd name="connsiteY102" fmla="*/ 1145512 h 1252696"/>
              <a:gd name="connsiteX103" fmla="*/ 2716511 w 5740657"/>
              <a:gd name="connsiteY103" fmla="*/ 1130439 h 1252696"/>
              <a:gd name="connsiteX104" fmla="*/ 2731584 w 5740657"/>
              <a:gd name="connsiteY104" fmla="*/ 1120391 h 1252696"/>
              <a:gd name="connsiteX105" fmla="*/ 2751680 w 5740657"/>
              <a:gd name="connsiteY105" fmla="*/ 1115367 h 1252696"/>
              <a:gd name="connsiteX106" fmla="*/ 2781825 w 5740657"/>
              <a:gd name="connsiteY106" fmla="*/ 1105319 h 1252696"/>
              <a:gd name="connsiteX107" fmla="*/ 2848448 w 5740657"/>
              <a:gd name="connsiteY107" fmla="*/ 1077554 h 1252696"/>
              <a:gd name="connsiteX108" fmla="*/ 2887856 w 5740657"/>
              <a:gd name="connsiteY108" fmla="*/ 1077292 h 1252696"/>
              <a:gd name="connsiteX109" fmla="*/ 2924883 w 5740657"/>
              <a:gd name="connsiteY109" fmla="*/ 1087079 h 1252696"/>
              <a:gd name="connsiteX110" fmla="*/ 2962696 w 5740657"/>
              <a:gd name="connsiteY110" fmla="*/ 1125415 h 1252696"/>
              <a:gd name="connsiteX111" fmla="*/ 2982792 w 5740657"/>
              <a:gd name="connsiteY111" fmla="*/ 1155560 h 1252696"/>
              <a:gd name="connsiteX112" fmla="*/ 3001293 w 5740657"/>
              <a:gd name="connsiteY112" fmla="*/ 1187825 h 1252696"/>
              <a:gd name="connsiteX113" fmla="*/ 3042271 w 5740657"/>
              <a:gd name="connsiteY113" fmla="*/ 1222994 h 1252696"/>
              <a:gd name="connsiteX114" fmla="*/ 3079561 w 5740657"/>
              <a:gd name="connsiteY114" fmla="*/ 1252354 h 1252696"/>
              <a:gd name="connsiteX115" fmla="*/ 3133518 w 5740657"/>
              <a:gd name="connsiteY115" fmla="*/ 1240971 h 1252696"/>
              <a:gd name="connsiteX116" fmla="*/ 3181378 w 5740657"/>
              <a:gd name="connsiteY116" fmla="*/ 1207372 h 1252696"/>
              <a:gd name="connsiteX117" fmla="*/ 3232928 w 5740657"/>
              <a:gd name="connsiteY117" fmla="*/ 1178561 h 1252696"/>
              <a:gd name="connsiteX118" fmla="*/ 3285027 w 5740657"/>
              <a:gd name="connsiteY118" fmla="*/ 1153440 h 1252696"/>
              <a:gd name="connsiteX119" fmla="*/ 3314388 w 5740657"/>
              <a:gd name="connsiteY119" fmla="*/ 1145512 h 1252696"/>
              <a:gd name="connsiteX120" fmla="*/ 3354581 w 5740657"/>
              <a:gd name="connsiteY120" fmla="*/ 1140488 h 1252696"/>
              <a:gd name="connsiteX121" fmla="*/ 3409847 w 5740657"/>
              <a:gd name="connsiteY121" fmla="*/ 1155560 h 1252696"/>
              <a:gd name="connsiteX122" fmla="*/ 3429944 w 5740657"/>
              <a:gd name="connsiteY122" fmla="*/ 1165609 h 1252696"/>
              <a:gd name="connsiteX123" fmla="*/ 3445017 w 5740657"/>
              <a:gd name="connsiteY123" fmla="*/ 1175657 h 1252696"/>
              <a:gd name="connsiteX124" fmla="*/ 3460089 w 5740657"/>
              <a:gd name="connsiteY124" fmla="*/ 1180681 h 1252696"/>
              <a:gd name="connsiteX125" fmla="*/ 3470137 w 5740657"/>
              <a:gd name="connsiteY125" fmla="*/ 1195754 h 1252696"/>
              <a:gd name="connsiteX126" fmla="*/ 3530428 w 5740657"/>
              <a:gd name="connsiteY126" fmla="*/ 1200778 h 1252696"/>
              <a:gd name="connsiteX127" fmla="*/ 3545500 w 5740657"/>
              <a:gd name="connsiteY127" fmla="*/ 1190730 h 1252696"/>
              <a:gd name="connsiteX128" fmla="*/ 3570621 w 5740657"/>
              <a:gd name="connsiteY128" fmla="*/ 1180681 h 1252696"/>
              <a:gd name="connsiteX129" fmla="*/ 3590718 w 5740657"/>
              <a:gd name="connsiteY129" fmla="*/ 1150536 h 1252696"/>
              <a:gd name="connsiteX130" fmla="*/ 3620863 w 5740657"/>
              <a:gd name="connsiteY130" fmla="*/ 1125415 h 1252696"/>
              <a:gd name="connsiteX131" fmla="*/ 3635935 w 5740657"/>
              <a:gd name="connsiteY131" fmla="*/ 1105319 h 1252696"/>
              <a:gd name="connsiteX132" fmla="*/ 3666080 w 5740657"/>
              <a:gd name="connsiteY132" fmla="*/ 1085222 h 1252696"/>
              <a:gd name="connsiteX133" fmla="*/ 3701249 w 5740657"/>
              <a:gd name="connsiteY133" fmla="*/ 1070149 h 1252696"/>
              <a:gd name="connsiteX134" fmla="*/ 3711298 w 5740657"/>
              <a:gd name="connsiteY134" fmla="*/ 1060101 h 1252696"/>
              <a:gd name="connsiteX135" fmla="*/ 3746467 w 5740657"/>
              <a:gd name="connsiteY135" fmla="*/ 1047148 h 1252696"/>
              <a:gd name="connsiteX136" fmla="*/ 3802518 w 5740657"/>
              <a:gd name="connsiteY136" fmla="*/ 1043982 h 1252696"/>
              <a:gd name="connsiteX137" fmla="*/ 3863044 w 5740657"/>
              <a:gd name="connsiteY137" fmla="*/ 1072033 h 1252696"/>
              <a:gd name="connsiteX138" fmla="*/ 3905619 w 5740657"/>
              <a:gd name="connsiteY138" fmla="*/ 1101367 h 1252696"/>
              <a:gd name="connsiteX139" fmla="*/ 3961434 w 5740657"/>
              <a:gd name="connsiteY139" fmla="*/ 1142346 h 1252696"/>
              <a:gd name="connsiteX140" fmla="*/ 4022797 w 5740657"/>
              <a:gd name="connsiteY140" fmla="*/ 1165609 h 1252696"/>
              <a:gd name="connsiteX141" fmla="*/ 4068014 w 5740657"/>
              <a:gd name="connsiteY141" fmla="*/ 1150536 h 1252696"/>
              <a:gd name="connsiteX142" fmla="*/ 4083087 w 5740657"/>
              <a:gd name="connsiteY142" fmla="*/ 1125415 h 1252696"/>
              <a:gd name="connsiteX143" fmla="*/ 4103184 w 5740657"/>
              <a:gd name="connsiteY143" fmla="*/ 1105319 h 1252696"/>
              <a:gd name="connsiteX144" fmla="*/ 4133329 w 5740657"/>
              <a:gd name="connsiteY144" fmla="*/ 1075173 h 1252696"/>
              <a:gd name="connsiteX145" fmla="*/ 4153425 w 5740657"/>
              <a:gd name="connsiteY145" fmla="*/ 1040004 h 1252696"/>
              <a:gd name="connsiteX146" fmla="*/ 4163474 w 5740657"/>
              <a:gd name="connsiteY146" fmla="*/ 1019908 h 1252696"/>
              <a:gd name="connsiteX147" fmla="*/ 4168498 w 5740657"/>
              <a:gd name="connsiteY147" fmla="*/ 1004835 h 1252696"/>
              <a:gd name="connsiteX148" fmla="*/ 4188595 w 5740657"/>
              <a:gd name="connsiteY148" fmla="*/ 984738 h 1252696"/>
              <a:gd name="connsiteX149" fmla="*/ 4203667 w 5740657"/>
              <a:gd name="connsiteY149" fmla="*/ 979714 h 1252696"/>
              <a:gd name="connsiteX150" fmla="*/ 4238836 w 5740657"/>
              <a:gd name="connsiteY150" fmla="*/ 954593 h 1252696"/>
              <a:gd name="connsiteX151" fmla="*/ 4279030 w 5740657"/>
              <a:gd name="connsiteY151" fmla="*/ 934497 h 1252696"/>
              <a:gd name="connsiteX152" fmla="*/ 4314199 w 5740657"/>
              <a:gd name="connsiteY152" fmla="*/ 914400 h 1252696"/>
              <a:gd name="connsiteX153" fmla="*/ 4329271 w 5740657"/>
              <a:gd name="connsiteY153" fmla="*/ 904352 h 1252696"/>
              <a:gd name="connsiteX154" fmla="*/ 4365487 w 5740657"/>
              <a:gd name="connsiteY154" fmla="*/ 909114 h 1252696"/>
              <a:gd name="connsiteX155" fmla="*/ 4420492 w 5740657"/>
              <a:gd name="connsiteY155" fmla="*/ 946141 h 1252696"/>
              <a:gd name="connsiteX156" fmla="*/ 4465709 w 5740657"/>
              <a:gd name="connsiteY156" fmla="*/ 1006955 h 1252696"/>
              <a:gd name="connsiteX157" fmla="*/ 4534713 w 5740657"/>
              <a:gd name="connsiteY157" fmla="*/ 1037650 h 1252696"/>
              <a:gd name="connsiteX158" fmla="*/ 4600577 w 5740657"/>
              <a:gd name="connsiteY158" fmla="*/ 969666 h 1252696"/>
              <a:gd name="connsiteX159" fmla="*/ 4620674 w 5740657"/>
              <a:gd name="connsiteY159" fmla="*/ 959617 h 1252696"/>
              <a:gd name="connsiteX160" fmla="*/ 4635746 w 5740657"/>
              <a:gd name="connsiteY160" fmla="*/ 944545 h 1252696"/>
              <a:gd name="connsiteX161" fmla="*/ 4655843 w 5740657"/>
              <a:gd name="connsiteY161" fmla="*/ 934497 h 1252696"/>
              <a:gd name="connsiteX162" fmla="*/ 4675940 w 5740657"/>
              <a:gd name="connsiteY162" fmla="*/ 919424 h 1252696"/>
              <a:gd name="connsiteX163" fmla="*/ 4741254 w 5740657"/>
              <a:gd name="connsiteY163" fmla="*/ 884255 h 1252696"/>
              <a:gd name="connsiteX164" fmla="*/ 4766375 w 5740657"/>
              <a:gd name="connsiteY164" fmla="*/ 879231 h 1252696"/>
              <a:gd name="connsiteX165" fmla="*/ 4781447 w 5740657"/>
              <a:gd name="connsiteY165" fmla="*/ 874206 h 1252696"/>
              <a:gd name="connsiteX166" fmla="*/ 4822687 w 5740657"/>
              <a:gd name="connsiteY166" fmla="*/ 873944 h 1252696"/>
              <a:gd name="connsiteX167" fmla="*/ 4880858 w 5740657"/>
              <a:gd name="connsiteY167" fmla="*/ 895638 h 1252696"/>
              <a:gd name="connsiteX168" fmla="*/ 4938740 w 5740657"/>
              <a:gd name="connsiteY168" fmla="*/ 934523 h 1252696"/>
              <a:gd name="connsiteX169" fmla="*/ 4998795 w 5740657"/>
              <a:gd name="connsiteY169" fmla="*/ 1006746 h 1252696"/>
              <a:gd name="connsiteX170" fmla="*/ 5028155 w 5740657"/>
              <a:gd name="connsiteY170" fmla="*/ 1051963 h 1252696"/>
              <a:gd name="connsiteX171" fmla="*/ 5095616 w 5740657"/>
              <a:gd name="connsiteY171" fmla="*/ 1016506 h 1252696"/>
              <a:gd name="connsiteX172" fmla="*/ 5147715 w 5740657"/>
              <a:gd name="connsiteY172" fmla="*/ 948261 h 1252696"/>
              <a:gd name="connsiteX173" fmla="*/ 5192645 w 5740657"/>
              <a:gd name="connsiteY173" fmla="*/ 886112 h 1252696"/>
              <a:gd name="connsiteX174" fmla="*/ 5229672 w 5740657"/>
              <a:gd name="connsiteY174" fmla="*/ 856230 h 1252696"/>
              <a:gd name="connsiteX175" fmla="*/ 5264030 w 5740657"/>
              <a:gd name="connsiteY175" fmla="*/ 822918 h 1252696"/>
              <a:gd name="connsiteX176" fmla="*/ 5298675 w 5740657"/>
              <a:gd name="connsiteY176" fmla="*/ 800440 h 1252696"/>
              <a:gd name="connsiteX177" fmla="*/ 5337823 w 5740657"/>
              <a:gd name="connsiteY177" fmla="*/ 794893 h 1252696"/>
              <a:gd name="connsiteX178" fmla="*/ 5415567 w 5740657"/>
              <a:gd name="connsiteY178" fmla="*/ 824252 h 1252696"/>
              <a:gd name="connsiteX179" fmla="*/ 5434590 w 5740657"/>
              <a:gd name="connsiteY179" fmla="*/ 768699 h 1252696"/>
              <a:gd name="connsiteX180" fmla="*/ 5444639 w 5740657"/>
              <a:gd name="connsiteY180" fmla="*/ 753626 h 1252696"/>
              <a:gd name="connsiteX181" fmla="*/ 5459711 w 5740657"/>
              <a:gd name="connsiteY181" fmla="*/ 708409 h 1252696"/>
              <a:gd name="connsiteX182" fmla="*/ 5469759 w 5740657"/>
              <a:gd name="connsiteY182" fmla="*/ 683288 h 1252696"/>
              <a:gd name="connsiteX183" fmla="*/ 5479808 w 5740657"/>
              <a:gd name="connsiteY183" fmla="*/ 643094 h 1252696"/>
              <a:gd name="connsiteX184" fmla="*/ 5494880 w 5740657"/>
              <a:gd name="connsiteY184" fmla="*/ 617973 h 1252696"/>
              <a:gd name="connsiteX185" fmla="*/ 5509953 w 5740657"/>
              <a:gd name="connsiteY185" fmla="*/ 572756 h 1252696"/>
              <a:gd name="connsiteX186" fmla="*/ 5530049 w 5740657"/>
              <a:gd name="connsiteY186" fmla="*/ 522514 h 1252696"/>
              <a:gd name="connsiteX187" fmla="*/ 5550146 w 5740657"/>
              <a:gd name="connsiteY187" fmla="*/ 467248 h 1252696"/>
              <a:gd name="connsiteX188" fmla="*/ 5560195 w 5740657"/>
              <a:gd name="connsiteY188" fmla="*/ 411982 h 1252696"/>
              <a:gd name="connsiteX189" fmla="*/ 5570243 w 5740657"/>
              <a:gd name="connsiteY189" fmla="*/ 381837 h 1252696"/>
              <a:gd name="connsiteX190" fmla="*/ 5580291 w 5740657"/>
              <a:gd name="connsiteY190" fmla="*/ 356716 h 1252696"/>
              <a:gd name="connsiteX191" fmla="*/ 5600388 w 5740657"/>
              <a:gd name="connsiteY191" fmla="*/ 316523 h 1252696"/>
              <a:gd name="connsiteX192" fmla="*/ 5620485 w 5740657"/>
              <a:gd name="connsiteY192" fmla="*/ 246184 h 1252696"/>
              <a:gd name="connsiteX193" fmla="*/ 5625509 w 5740657"/>
              <a:gd name="connsiteY193" fmla="*/ 226088 h 1252696"/>
              <a:gd name="connsiteX194" fmla="*/ 5635557 w 5740657"/>
              <a:gd name="connsiteY194" fmla="*/ 216039 h 1252696"/>
              <a:gd name="connsiteX195" fmla="*/ 5640581 w 5740657"/>
              <a:gd name="connsiteY195" fmla="*/ 200967 h 1252696"/>
              <a:gd name="connsiteX196" fmla="*/ 5655131 w 5740657"/>
              <a:gd name="connsiteY196" fmla="*/ 190395 h 1252696"/>
              <a:gd name="connsiteX197" fmla="*/ 5677085 w 5740657"/>
              <a:gd name="connsiteY197" fmla="*/ 153892 h 1252696"/>
              <a:gd name="connsiteX198" fmla="*/ 5729995 w 5740657"/>
              <a:gd name="connsiteY198" fmla="*/ 89362 h 1252696"/>
              <a:gd name="connsiteX199" fmla="*/ 5732115 w 5740657"/>
              <a:gd name="connsiteY199" fmla="*/ 42287 h 1252696"/>
              <a:gd name="connsiteX200" fmla="*/ 5637677 w 5740657"/>
              <a:gd name="connsiteY200" fmla="*/ 25357 h 1252696"/>
              <a:gd name="connsiteX201" fmla="*/ 5540333 w 5740657"/>
              <a:gd name="connsiteY201" fmla="*/ 27214 h 1252696"/>
              <a:gd name="connsiteX202" fmla="*/ 5473762 w 5740657"/>
              <a:gd name="connsiteY202" fmla="*/ 39381 h 1252696"/>
              <a:gd name="connsiteX203" fmla="*/ 5382517 w 5740657"/>
              <a:gd name="connsiteY203" fmla="*/ 39644 h 1252696"/>
              <a:gd name="connsiteX204" fmla="*/ 5312675 w 5740657"/>
              <a:gd name="connsiteY204" fmla="*/ 42287 h 1252696"/>
              <a:gd name="connsiteX205" fmla="*/ 5242075 w 5740657"/>
              <a:gd name="connsiteY205" fmla="*/ 54455 h 1252696"/>
              <a:gd name="connsiteX206" fmla="*/ 5112285 w 5740657"/>
              <a:gd name="connsiteY206" fmla="*/ 37524 h 1252696"/>
              <a:gd name="connsiteX207" fmla="*/ 5023419 w 5740657"/>
              <a:gd name="connsiteY207" fmla="*/ 39120 h 1252696"/>
              <a:gd name="connsiteX208" fmla="*/ 4949626 w 5740657"/>
              <a:gd name="connsiteY208" fmla="*/ 41240 h 1252696"/>
              <a:gd name="connsiteX209" fmla="*/ 4826665 w 5740657"/>
              <a:gd name="connsiteY209" fmla="*/ 50242 h 1252696"/>
              <a:gd name="connsiteX210" fmla="*/ 4730970 w 5740657"/>
              <a:gd name="connsiteY210" fmla="*/ 29073 h 1252696"/>
              <a:gd name="connsiteX211" fmla="*/ 4631769 w 5740657"/>
              <a:gd name="connsiteY211" fmla="*/ 41240 h 1252696"/>
              <a:gd name="connsiteX212" fmla="*/ 4568573 w 5740657"/>
              <a:gd name="connsiteY212" fmla="*/ 46264 h 1252696"/>
              <a:gd name="connsiteX213" fmla="*/ 4420989 w 5740657"/>
              <a:gd name="connsiteY213" fmla="*/ 44406 h 1252696"/>
              <a:gd name="connsiteX214" fmla="*/ 4143377 w 5740657"/>
              <a:gd name="connsiteY214" fmla="*/ 60290 h 1252696"/>
              <a:gd name="connsiteX215" fmla="*/ 3922313 w 5740657"/>
              <a:gd name="connsiteY215" fmla="*/ 50242 h 1252696"/>
              <a:gd name="connsiteX216" fmla="*/ 3877096 w 5740657"/>
              <a:gd name="connsiteY216" fmla="*/ 45217 h 1252696"/>
              <a:gd name="connsiteX217" fmla="*/ 3691201 w 5740657"/>
              <a:gd name="connsiteY217" fmla="*/ 40193 h 1252696"/>
              <a:gd name="connsiteX218" fmla="*/ 3666080 w 5740657"/>
              <a:gd name="connsiteY218" fmla="*/ 35169 h 1252696"/>
              <a:gd name="connsiteX219" fmla="*/ 3630911 w 5740657"/>
              <a:gd name="connsiteY219" fmla="*/ 25121 h 1252696"/>
              <a:gd name="connsiteX220" fmla="*/ 3550524 w 5740657"/>
              <a:gd name="connsiteY220" fmla="*/ 20097 h 1252696"/>
              <a:gd name="connsiteX221" fmla="*/ 3314388 w 5740657"/>
              <a:gd name="connsiteY221" fmla="*/ 25121 h 1252696"/>
              <a:gd name="connsiteX222" fmla="*/ 3269170 w 5740657"/>
              <a:gd name="connsiteY222" fmla="*/ 30145 h 1252696"/>
              <a:gd name="connsiteX223" fmla="*/ 3178735 w 5740657"/>
              <a:gd name="connsiteY223" fmla="*/ 35169 h 1252696"/>
              <a:gd name="connsiteX224" fmla="*/ 2585882 w 5740657"/>
              <a:gd name="connsiteY224" fmla="*/ 45217 h 1252696"/>
              <a:gd name="connsiteX225" fmla="*/ 2259311 w 5740657"/>
              <a:gd name="connsiteY225" fmla="*/ 40193 h 1252696"/>
              <a:gd name="connsiteX226" fmla="*/ 1977957 w 5740657"/>
              <a:gd name="connsiteY226" fmla="*/ 30145 h 1252696"/>
              <a:gd name="connsiteX227" fmla="*/ 1947812 w 5740657"/>
              <a:gd name="connsiteY227" fmla="*/ 25121 h 1252696"/>
              <a:gd name="connsiteX228" fmla="*/ 1852353 w 5740657"/>
              <a:gd name="connsiteY228" fmla="*/ 20097 h 1252696"/>
              <a:gd name="connsiteX229" fmla="*/ 1771966 w 5740657"/>
              <a:gd name="connsiteY229" fmla="*/ 10048 h 1252696"/>
              <a:gd name="connsiteX230" fmla="*/ 1505685 w 5740657"/>
              <a:gd name="connsiteY230" fmla="*/ 20097 h 1252696"/>
              <a:gd name="connsiteX231" fmla="*/ 1470515 w 5740657"/>
              <a:gd name="connsiteY231" fmla="*/ 25121 h 1252696"/>
              <a:gd name="connsiteX232" fmla="*/ 1430322 w 5740657"/>
              <a:gd name="connsiteY232" fmla="*/ 30145 h 1252696"/>
              <a:gd name="connsiteX233" fmla="*/ 1302049 w 5740657"/>
              <a:gd name="connsiteY233" fmla="*/ 21404 h 1252696"/>
              <a:gd name="connsiteX234" fmla="*/ 1113013 w 5740657"/>
              <a:gd name="connsiteY234" fmla="*/ 16119 h 1252696"/>
              <a:gd name="connsiteX235" fmla="*/ 983170 w 5740657"/>
              <a:gd name="connsiteY235" fmla="*/ 20097 h 1252696"/>
              <a:gd name="connsiteX236" fmla="*/ 942977 w 5740657"/>
              <a:gd name="connsiteY236" fmla="*/ 10048 h 1252696"/>
              <a:gd name="connsiteX237" fmla="*/ 817373 w 5740657"/>
              <a:gd name="connsiteY237" fmla="*/ 0 h 1252696"/>
              <a:gd name="connsiteX238" fmla="*/ 747034 w 5740657"/>
              <a:gd name="connsiteY238" fmla="*/ 5024 h 1252696"/>
              <a:gd name="connsiteX239" fmla="*/ 586260 w 5740657"/>
              <a:gd name="connsiteY239" fmla="*/ 15072 h 1252696"/>
              <a:gd name="connsiteX240" fmla="*/ 435535 w 5740657"/>
              <a:gd name="connsiteY240" fmla="*/ 5024 h 1252696"/>
              <a:gd name="connsiteX241" fmla="*/ 415439 w 5740657"/>
              <a:gd name="connsiteY241" fmla="*/ 0 h 1252696"/>
              <a:gd name="connsiteX242" fmla="*/ 284810 w 5740657"/>
              <a:gd name="connsiteY242" fmla="*/ 10048 h 1252696"/>
              <a:gd name="connsiteX243" fmla="*/ 264713 w 5740657"/>
              <a:gd name="connsiteY243" fmla="*/ 15072 h 1252696"/>
              <a:gd name="connsiteX244" fmla="*/ 103940 w 5740657"/>
              <a:gd name="connsiteY244" fmla="*/ 20097 h 1252696"/>
              <a:gd name="connsiteX245" fmla="*/ 8480 w 5740657"/>
              <a:gd name="connsiteY245" fmla="*/ 30145 h 1252696"/>
              <a:gd name="connsiteX0" fmla="*/ 8480 w 5740657"/>
              <a:gd name="connsiteY0" fmla="*/ 30145 h 1252696"/>
              <a:gd name="connsiteX1" fmla="*/ 4242 w 5740657"/>
              <a:gd name="connsiteY1" fmla="*/ 101269 h 1252696"/>
              <a:gd name="connsiteX2" fmla="*/ 4503 w 5740657"/>
              <a:gd name="connsiteY2" fmla="*/ 145963 h 1252696"/>
              <a:gd name="connsiteX3" fmla="*/ 7146 w 5740657"/>
              <a:gd name="connsiteY3" fmla="*/ 224230 h 1252696"/>
              <a:gd name="connsiteX4" fmla="*/ 17193 w 5740657"/>
              <a:gd name="connsiteY4" fmla="*/ 342455 h 1252696"/>
              <a:gd name="connsiteX5" fmla="*/ 12693 w 5740657"/>
              <a:gd name="connsiteY5" fmla="*/ 569459 h 1252696"/>
              <a:gd name="connsiteX6" fmla="*/ 20099 w 5740657"/>
              <a:gd name="connsiteY6" fmla="*/ 852252 h 1252696"/>
              <a:gd name="connsiteX7" fmla="*/ 19575 w 5740657"/>
              <a:gd name="connsiteY7" fmla="*/ 1008786 h 1252696"/>
              <a:gd name="connsiteX8" fmla="*/ 28577 w 5740657"/>
              <a:gd name="connsiteY8" fmla="*/ 1100294 h 1252696"/>
              <a:gd name="connsiteX9" fmla="*/ 23553 w 5740657"/>
              <a:gd name="connsiteY9" fmla="*/ 1150536 h 1252696"/>
              <a:gd name="connsiteX10" fmla="*/ 28577 w 5740657"/>
              <a:gd name="connsiteY10" fmla="*/ 1170633 h 1252696"/>
              <a:gd name="connsiteX11" fmla="*/ 38625 w 5740657"/>
              <a:gd name="connsiteY11" fmla="*/ 1160584 h 1252696"/>
              <a:gd name="connsiteX12" fmla="*/ 58722 w 5740657"/>
              <a:gd name="connsiteY12" fmla="*/ 1100294 h 1252696"/>
              <a:gd name="connsiteX13" fmla="*/ 63746 w 5740657"/>
              <a:gd name="connsiteY13" fmla="*/ 1085222 h 1252696"/>
              <a:gd name="connsiteX14" fmla="*/ 73795 w 5740657"/>
              <a:gd name="connsiteY14" fmla="*/ 1075173 h 1252696"/>
              <a:gd name="connsiteX15" fmla="*/ 98915 w 5740657"/>
              <a:gd name="connsiteY15" fmla="*/ 1045028 h 1252696"/>
              <a:gd name="connsiteX16" fmla="*/ 113988 w 5740657"/>
              <a:gd name="connsiteY16" fmla="*/ 1040004 h 1252696"/>
              <a:gd name="connsiteX17" fmla="*/ 139109 w 5740657"/>
              <a:gd name="connsiteY17" fmla="*/ 1019908 h 1252696"/>
              <a:gd name="connsiteX18" fmla="*/ 154181 w 5740657"/>
              <a:gd name="connsiteY18" fmla="*/ 1009859 h 1252696"/>
              <a:gd name="connsiteX19" fmla="*/ 179302 w 5740657"/>
              <a:gd name="connsiteY19" fmla="*/ 994787 h 1252696"/>
              <a:gd name="connsiteX20" fmla="*/ 219496 w 5740657"/>
              <a:gd name="connsiteY20" fmla="*/ 984738 h 1252696"/>
              <a:gd name="connsiteX21" fmla="*/ 289834 w 5740657"/>
              <a:gd name="connsiteY21" fmla="*/ 994787 h 1252696"/>
              <a:gd name="connsiteX22" fmla="*/ 304907 w 5740657"/>
              <a:gd name="connsiteY22" fmla="*/ 1004835 h 1252696"/>
              <a:gd name="connsiteX23" fmla="*/ 325003 w 5740657"/>
              <a:gd name="connsiteY23" fmla="*/ 1034980 h 1252696"/>
              <a:gd name="connsiteX24" fmla="*/ 360173 w 5740657"/>
              <a:gd name="connsiteY24" fmla="*/ 1065125 h 1252696"/>
              <a:gd name="connsiteX25" fmla="*/ 370221 w 5740657"/>
              <a:gd name="connsiteY25" fmla="*/ 1080198 h 1252696"/>
              <a:gd name="connsiteX26" fmla="*/ 385293 w 5740657"/>
              <a:gd name="connsiteY26" fmla="*/ 1085222 h 1252696"/>
              <a:gd name="connsiteX27" fmla="*/ 400366 w 5740657"/>
              <a:gd name="connsiteY27" fmla="*/ 1095270 h 1252696"/>
              <a:gd name="connsiteX28" fmla="*/ 410414 w 5740657"/>
              <a:gd name="connsiteY28" fmla="*/ 1105319 h 1252696"/>
              <a:gd name="connsiteX29" fmla="*/ 425487 w 5740657"/>
              <a:gd name="connsiteY29" fmla="*/ 1110343 h 1252696"/>
              <a:gd name="connsiteX30" fmla="*/ 440559 w 5740657"/>
              <a:gd name="connsiteY30" fmla="*/ 1120391 h 1252696"/>
              <a:gd name="connsiteX31" fmla="*/ 470704 w 5740657"/>
              <a:gd name="connsiteY31" fmla="*/ 1130439 h 1252696"/>
              <a:gd name="connsiteX32" fmla="*/ 525970 w 5740657"/>
              <a:gd name="connsiteY32" fmla="*/ 1115367 h 1252696"/>
              <a:gd name="connsiteX33" fmla="*/ 556115 w 5740657"/>
              <a:gd name="connsiteY33" fmla="*/ 1075173 h 1252696"/>
              <a:gd name="connsiteX34" fmla="*/ 571188 w 5740657"/>
              <a:gd name="connsiteY34" fmla="*/ 1070149 h 1252696"/>
              <a:gd name="connsiteX35" fmla="*/ 586260 w 5740657"/>
              <a:gd name="connsiteY35" fmla="*/ 1060101 h 1252696"/>
              <a:gd name="connsiteX36" fmla="*/ 641526 w 5740657"/>
              <a:gd name="connsiteY36" fmla="*/ 1045028 h 1252696"/>
              <a:gd name="connsiteX37" fmla="*/ 656599 w 5740657"/>
              <a:gd name="connsiteY37" fmla="*/ 1040004 h 1252696"/>
              <a:gd name="connsiteX38" fmla="*/ 696792 w 5740657"/>
              <a:gd name="connsiteY38" fmla="*/ 1045028 h 1252696"/>
              <a:gd name="connsiteX39" fmla="*/ 726937 w 5740657"/>
              <a:gd name="connsiteY39" fmla="*/ 1055077 h 1252696"/>
              <a:gd name="connsiteX40" fmla="*/ 736986 w 5740657"/>
              <a:gd name="connsiteY40" fmla="*/ 1065125 h 1252696"/>
              <a:gd name="connsiteX41" fmla="*/ 772155 w 5740657"/>
              <a:gd name="connsiteY41" fmla="*/ 1080198 h 1252696"/>
              <a:gd name="connsiteX42" fmla="*/ 807324 w 5740657"/>
              <a:gd name="connsiteY42" fmla="*/ 1105319 h 1252696"/>
              <a:gd name="connsiteX43" fmla="*/ 837469 w 5740657"/>
              <a:gd name="connsiteY43" fmla="*/ 1130439 h 1252696"/>
              <a:gd name="connsiteX44" fmla="*/ 872639 w 5740657"/>
              <a:gd name="connsiteY44" fmla="*/ 1140488 h 1252696"/>
              <a:gd name="connsiteX45" fmla="*/ 912832 w 5740657"/>
              <a:gd name="connsiteY45" fmla="*/ 1175657 h 1252696"/>
              <a:gd name="connsiteX46" fmla="*/ 942977 w 5740657"/>
              <a:gd name="connsiteY46" fmla="*/ 1185705 h 1252696"/>
              <a:gd name="connsiteX47" fmla="*/ 983170 w 5740657"/>
              <a:gd name="connsiteY47" fmla="*/ 1180681 h 1252696"/>
              <a:gd name="connsiteX48" fmla="*/ 993219 w 5740657"/>
              <a:gd name="connsiteY48" fmla="*/ 1170633 h 1252696"/>
              <a:gd name="connsiteX49" fmla="*/ 1008291 w 5740657"/>
              <a:gd name="connsiteY49" fmla="*/ 1150536 h 1252696"/>
              <a:gd name="connsiteX50" fmla="*/ 1018340 w 5740657"/>
              <a:gd name="connsiteY50" fmla="*/ 1120391 h 1252696"/>
              <a:gd name="connsiteX51" fmla="*/ 1043460 w 5740657"/>
              <a:gd name="connsiteY51" fmla="*/ 1095270 h 1252696"/>
              <a:gd name="connsiteX52" fmla="*/ 1053509 w 5740657"/>
              <a:gd name="connsiteY52" fmla="*/ 1085222 h 1252696"/>
              <a:gd name="connsiteX53" fmla="*/ 1078630 w 5740657"/>
              <a:gd name="connsiteY53" fmla="*/ 1065125 h 1252696"/>
              <a:gd name="connsiteX54" fmla="*/ 1093702 w 5740657"/>
              <a:gd name="connsiteY54" fmla="*/ 1050053 h 1252696"/>
              <a:gd name="connsiteX55" fmla="*/ 1123847 w 5740657"/>
              <a:gd name="connsiteY55" fmla="*/ 1040004 h 1252696"/>
              <a:gd name="connsiteX56" fmla="*/ 1138920 w 5740657"/>
              <a:gd name="connsiteY56" fmla="*/ 1034980 h 1252696"/>
              <a:gd name="connsiteX57" fmla="*/ 1164041 w 5740657"/>
              <a:gd name="connsiteY57" fmla="*/ 1019908 h 1252696"/>
              <a:gd name="connsiteX58" fmla="*/ 1179113 w 5740657"/>
              <a:gd name="connsiteY58" fmla="*/ 1014883 h 1252696"/>
              <a:gd name="connsiteX59" fmla="*/ 1199210 w 5740657"/>
              <a:gd name="connsiteY59" fmla="*/ 1004835 h 1252696"/>
              <a:gd name="connsiteX60" fmla="*/ 1284621 w 5740657"/>
              <a:gd name="connsiteY60" fmla="*/ 1014883 h 1252696"/>
              <a:gd name="connsiteX61" fmla="*/ 1299693 w 5740657"/>
              <a:gd name="connsiteY61" fmla="*/ 1024932 h 1252696"/>
              <a:gd name="connsiteX62" fmla="*/ 1314766 w 5740657"/>
              <a:gd name="connsiteY62" fmla="*/ 1029956 h 1252696"/>
              <a:gd name="connsiteX63" fmla="*/ 1329839 w 5740657"/>
              <a:gd name="connsiteY63" fmla="*/ 1060101 h 1252696"/>
              <a:gd name="connsiteX64" fmla="*/ 1344911 w 5740657"/>
              <a:gd name="connsiteY64" fmla="*/ 1065125 h 1252696"/>
              <a:gd name="connsiteX65" fmla="*/ 1359984 w 5740657"/>
              <a:gd name="connsiteY65" fmla="*/ 1075173 h 1252696"/>
              <a:gd name="connsiteX66" fmla="*/ 1400177 w 5740657"/>
              <a:gd name="connsiteY66" fmla="*/ 1090246 h 1252696"/>
              <a:gd name="connsiteX67" fmla="*/ 1450419 w 5740657"/>
              <a:gd name="connsiteY67" fmla="*/ 1105319 h 1252696"/>
              <a:gd name="connsiteX68" fmla="*/ 1465491 w 5740657"/>
              <a:gd name="connsiteY68" fmla="*/ 1110343 h 1252696"/>
              <a:gd name="connsiteX69" fmla="*/ 1500660 w 5740657"/>
              <a:gd name="connsiteY69" fmla="*/ 1120391 h 1252696"/>
              <a:gd name="connsiteX70" fmla="*/ 1555926 w 5740657"/>
              <a:gd name="connsiteY70" fmla="*/ 1115367 h 1252696"/>
              <a:gd name="connsiteX71" fmla="*/ 1570999 w 5740657"/>
              <a:gd name="connsiteY71" fmla="*/ 1110343 h 1252696"/>
              <a:gd name="connsiteX72" fmla="*/ 1591096 w 5740657"/>
              <a:gd name="connsiteY72" fmla="*/ 1090246 h 1252696"/>
              <a:gd name="connsiteX73" fmla="*/ 1641337 w 5740657"/>
              <a:gd name="connsiteY73" fmla="*/ 1050053 h 1252696"/>
              <a:gd name="connsiteX74" fmla="*/ 1656410 w 5740657"/>
              <a:gd name="connsiteY74" fmla="*/ 1029956 h 1252696"/>
              <a:gd name="connsiteX75" fmla="*/ 1691579 w 5740657"/>
              <a:gd name="connsiteY75" fmla="*/ 1019908 h 1252696"/>
              <a:gd name="connsiteX76" fmla="*/ 1792063 w 5740657"/>
              <a:gd name="connsiteY76" fmla="*/ 1029956 h 1252696"/>
              <a:gd name="connsiteX77" fmla="*/ 1822208 w 5740657"/>
              <a:gd name="connsiteY77" fmla="*/ 1040004 h 1252696"/>
              <a:gd name="connsiteX78" fmla="*/ 1857377 w 5740657"/>
              <a:gd name="connsiteY78" fmla="*/ 1050053 h 1252696"/>
              <a:gd name="connsiteX79" fmla="*/ 1872449 w 5740657"/>
              <a:gd name="connsiteY79" fmla="*/ 1060101 h 1252696"/>
              <a:gd name="connsiteX80" fmla="*/ 1897570 w 5740657"/>
              <a:gd name="connsiteY80" fmla="*/ 1065125 h 1252696"/>
              <a:gd name="connsiteX81" fmla="*/ 1943311 w 5740657"/>
              <a:gd name="connsiteY81" fmla="*/ 1099510 h 1252696"/>
              <a:gd name="connsiteX82" fmla="*/ 1980076 w 5740657"/>
              <a:gd name="connsiteY82" fmla="*/ 1130727 h 1252696"/>
              <a:gd name="connsiteX83" fmla="*/ 2018151 w 5740657"/>
              <a:gd name="connsiteY83" fmla="*/ 1157968 h 1252696"/>
              <a:gd name="connsiteX84" fmla="*/ 2045652 w 5740657"/>
              <a:gd name="connsiteY84" fmla="*/ 1156371 h 1252696"/>
              <a:gd name="connsiteX85" fmla="*/ 2123658 w 5740657"/>
              <a:gd name="connsiteY85" fmla="*/ 1120391 h 1252696"/>
              <a:gd name="connsiteX86" fmla="*/ 2133707 w 5740657"/>
              <a:gd name="connsiteY86" fmla="*/ 1110343 h 1252696"/>
              <a:gd name="connsiteX87" fmla="*/ 2154065 w 5740657"/>
              <a:gd name="connsiteY87" fmla="*/ 1090769 h 1252696"/>
              <a:gd name="connsiteX88" fmla="*/ 2193997 w 5740657"/>
              <a:gd name="connsiteY88" fmla="*/ 1048718 h 1252696"/>
              <a:gd name="connsiteX89" fmla="*/ 2237357 w 5740657"/>
              <a:gd name="connsiteY89" fmla="*/ 1018311 h 1252696"/>
              <a:gd name="connsiteX90" fmla="*/ 2304529 w 5740657"/>
              <a:gd name="connsiteY90" fmla="*/ 994787 h 1252696"/>
              <a:gd name="connsiteX91" fmla="*/ 2319601 w 5740657"/>
              <a:gd name="connsiteY91" fmla="*/ 989763 h 1252696"/>
              <a:gd name="connsiteX92" fmla="*/ 2408702 w 5740657"/>
              <a:gd name="connsiteY92" fmla="*/ 999288 h 1252696"/>
              <a:gd name="connsiteX93" fmla="*/ 2465302 w 5740657"/>
              <a:gd name="connsiteY93" fmla="*/ 1024932 h 1252696"/>
              <a:gd name="connsiteX94" fmla="*/ 2480375 w 5740657"/>
              <a:gd name="connsiteY94" fmla="*/ 1029956 h 1252696"/>
              <a:gd name="connsiteX95" fmla="*/ 2490423 w 5740657"/>
              <a:gd name="connsiteY95" fmla="*/ 1045028 h 1252696"/>
              <a:gd name="connsiteX96" fmla="*/ 2500471 w 5740657"/>
              <a:gd name="connsiteY96" fmla="*/ 1055077 h 1252696"/>
              <a:gd name="connsiteX97" fmla="*/ 2535641 w 5740657"/>
              <a:gd name="connsiteY97" fmla="*/ 1095270 h 1252696"/>
              <a:gd name="connsiteX98" fmla="*/ 2570810 w 5740657"/>
              <a:gd name="connsiteY98" fmla="*/ 1135464 h 1252696"/>
              <a:gd name="connsiteX99" fmla="*/ 2585882 w 5740657"/>
              <a:gd name="connsiteY99" fmla="*/ 1145512 h 1252696"/>
              <a:gd name="connsiteX100" fmla="*/ 2626076 w 5740657"/>
              <a:gd name="connsiteY100" fmla="*/ 1170633 h 1252696"/>
              <a:gd name="connsiteX101" fmla="*/ 2661245 w 5740657"/>
              <a:gd name="connsiteY101" fmla="*/ 1160584 h 1252696"/>
              <a:gd name="connsiteX102" fmla="*/ 2686366 w 5740657"/>
              <a:gd name="connsiteY102" fmla="*/ 1145512 h 1252696"/>
              <a:gd name="connsiteX103" fmla="*/ 2716511 w 5740657"/>
              <a:gd name="connsiteY103" fmla="*/ 1130439 h 1252696"/>
              <a:gd name="connsiteX104" fmla="*/ 2731584 w 5740657"/>
              <a:gd name="connsiteY104" fmla="*/ 1120391 h 1252696"/>
              <a:gd name="connsiteX105" fmla="*/ 2751680 w 5740657"/>
              <a:gd name="connsiteY105" fmla="*/ 1115367 h 1252696"/>
              <a:gd name="connsiteX106" fmla="*/ 2781825 w 5740657"/>
              <a:gd name="connsiteY106" fmla="*/ 1105319 h 1252696"/>
              <a:gd name="connsiteX107" fmla="*/ 2848448 w 5740657"/>
              <a:gd name="connsiteY107" fmla="*/ 1077554 h 1252696"/>
              <a:gd name="connsiteX108" fmla="*/ 2887856 w 5740657"/>
              <a:gd name="connsiteY108" fmla="*/ 1077292 h 1252696"/>
              <a:gd name="connsiteX109" fmla="*/ 2924883 w 5740657"/>
              <a:gd name="connsiteY109" fmla="*/ 1087079 h 1252696"/>
              <a:gd name="connsiteX110" fmla="*/ 2962696 w 5740657"/>
              <a:gd name="connsiteY110" fmla="*/ 1125415 h 1252696"/>
              <a:gd name="connsiteX111" fmla="*/ 2982792 w 5740657"/>
              <a:gd name="connsiteY111" fmla="*/ 1155560 h 1252696"/>
              <a:gd name="connsiteX112" fmla="*/ 3001293 w 5740657"/>
              <a:gd name="connsiteY112" fmla="*/ 1187825 h 1252696"/>
              <a:gd name="connsiteX113" fmla="*/ 3042271 w 5740657"/>
              <a:gd name="connsiteY113" fmla="*/ 1222994 h 1252696"/>
              <a:gd name="connsiteX114" fmla="*/ 3079561 w 5740657"/>
              <a:gd name="connsiteY114" fmla="*/ 1252354 h 1252696"/>
              <a:gd name="connsiteX115" fmla="*/ 3133518 w 5740657"/>
              <a:gd name="connsiteY115" fmla="*/ 1240971 h 1252696"/>
              <a:gd name="connsiteX116" fmla="*/ 3181378 w 5740657"/>
              <a:gd name="connsiteY116" fmla="*/ 1207372 h 1252696"/>
              <a:gd name="connsiteX117" fmla="*/ 3232928 w 5740657"/>
              <a:gd name="connsiteY117" fmla="*/ 1178561 h 1252696"/>
              <a:gd name="connsiteX118" fmla="*/ 3285027 w 5740657"/>
              <a:gd name="connsiteY118" fmla="*/ 1153440 h 1252696"/>
              <a:gd name="connsiteX119" fmla="*/ 3314388 w 5740657"/>
              <a:gd name="connsiteY119" fmla="*/ 1145512 h 1252696"/>
              <a:gd name="connsiteX120" fmla="*/ 3354581 w 5740657"/>
              <a:gd name="connsiteY120" fmla="*/ 1140488 h 1252696"/>
              <a:gd name="connsiteX121" fmla="*/ 3409847 w 5740657"/>
              <a:gd name="connsiteY121" fmla="*/ 1155560 h 1252696"/>
              <a:gd name="connsiteX122" fmla="*/ 3429944 w 5740657"/>
              <a:gd name="connsiteY122" fmla="*/ 1165609 h 1252696"/>
              <a:gd name="connsiteX123" fmla="*/ 3445017 w 5740657"/>
              <a:gd name="connsiteY123" fmla="*/ 1175657 h 1252696"/>
              <a:gd name="connsiteX124" fmla="*/ 3460089 w 5740657"/>
              <a:gd name="connsiteY124" fmla="*/ 1180681 h 1252696"/>
              <a:gd name="connsiteX125" fmla="*/ 3470137 w 5740657"/>
              <a:gd name="connsiteY125" fmla="*/ 1195754 h 1252696"/>
              <a:gd name="connsiteX126" fmla="*/ 3530428 w 5740657"/>
              <a:gd name="connsiteY126" fmla="*/ 1200778 h 1252696"/>
              <a:gd name="connsiteX127" fmla="*/ 3545500 w 5740657"/>
              <a:gd name="connsiteY127" fmla="*/ 1190730 h 1252696"/>
              <a:gd name="connsiteX128" fmla="*/ 3570621 w 5740657"/>
              <a:gd name="connsiteY128" fmla="*/ 1180681 h 1252696"/>
              <a:gd name="connsiteX129" fmla="*/ 3590718 w 5740657"/>
              <a:gd name="connsiteY129" fmla="*/ 1150536 h 1252696"/>
              <a:gd name="connsiteX130" fmla="*/ 3620863 w 5740657"/>
              <a:gd name="connsiteY130" fmla="*/ 1125415 h 1252696"/>
              <a:gd name="connsiteX131" fmla="*/ 3635935 w 5740657"/>
              <a:gd name="connsiteY131" fmla="*/ 1105319 h 1252696"/>
              <a:gd name="connsiteX132" fmla="*/ 3666080 w 5740657"/>
              <a:gd name="connsiteY132" fmla="*/ 1085222 h 1252696"/>
              <a:gd name="connsiteX133" fmla="*/ 3701249 w 5740657"/>
              <a:gd name="connsiteY133" fmla="*/ 1070149 h 1252696"/>
              <a:gd name="connsiteX134" fmla="*/ 3711298 w 5740657"/>
              <a:gd name="connsiteY134" fmla="*/ 1060101 h 1252696"/>
              <a:gd name="connsiteX135" fmla="*/ 3746467 w 5740657"/>
              <a:gd name="connsiteY135" fmla="*/ 1047148 h 1252696"/>
              <a:gd name="connsiteX136" fmla="*/ 3802518 w 5740657"/>
              <a:gd name="connsiteY136" fmla="*/ 1043982 h 1252696"/>
              <a:gd name="connsiteX137" fmla="*/ 3863044 w 5740657"/>
              <a:gd name="connsiteY137" fmla="*/ 1072033 h 1252696"/>
              <a:gd name="connsiteX138" fmla="*/ 3905619 w 5740657"/>
              <a:gd name="connsiteY138" fmla="*/ 1101367 h 1252696"/>
              <a:gd name="connsiteX139" fmla="*/ 3961434 w 5740657"/>
              <a:gd name="connsiteY139" fmla="*/ 1142346 h 1252696"/>
              <a:gd name="connsiteX140" fmla="*/ 4022797 w 5740657"/>
              <a:gd name="connsiteY140" fmla="*/ 1165609 h 1252696"/>
              <a:gd name="connsiteX141" fmla="*/ 4068014 w 5740657"/>
              <a:gd name="connsiteY141" fmla="*/ 1150536 h 1252696"/>
              <a:gd name="connsiteX142" fmla="*/ 4083087 w 5740657"/>
              <a:gd name="connsiteY142" fmla="*/ 1125415 h 1252696"/>
              <a:gd name="connsiteX143" fmla="*/ 4103184 w 5740657"/>
              <a:gd name="connsiteY143" fmla="*/ 1105319 h 1252696"/>
              <a:gd name="connsiteX144" fmla="*/ 4133329 w 5740657"/>
              <a:gd name="connsiteY144" fmla="*/ 1075173 h 1252696"/>
              <a:gd name="connsiteX145" fmla="*/ 4153425 w 5740657"/>
              <a:gd name="connsiteY145" fmla="*/ 1040004 h 1252696"/>
              <a:gd name="connsiteX146" fmla="*/ 4163474 w 5740657"/>
              <a:gd name="connsiteY146" fmla="*/ 1019908 h 1252696"/>
              <a:gd name="connsiteX147" fmla="*/ 4168498 w 5740657"/>
              <a:gd name="connsiteY147" fmla="*/ 1004835 h 1252696"/>
              <a:gd name="connsiteX148" fmla="*/ 4188595 w 5740657"/>
              <a:gd name="connsiteY148" fmla="*/ 984738 h 1252696"/>
              <a:gd name="connsiteX149" fmla="*/ 4203667 w 5740657"/>
              <a:gd name="connsiteY149" fmla="*/ 979714 h 1252696"/>
              <a:gd name="connsiteX150" fmla="*/ 4238836 w 5740657"/>
              <a:gd name="connsiteY150" fmla="*/ 954593 h 1252696"/>
              <a:gd name="connsiteX151" fmla="*/ 4279030 w 5740657"/>
              <a:gd name="connsiteY151" fmla="*/ 934497 h 1252696"/>
              <a:gd name="connsiteX152" fmla="*/ 4314199 w 5740657"/>
              <a:gd name="connsiteY152" fmla="*/ 914400 h 1252696"/>
              <a:gd name="connsiteX153" fmla="*/ 4329271 w 5740657"/>
              <a:gd name="connsiteY153" fmla="*/ 904352 h 1252696"/>
              <a:gd name="connsiteX154" fmla="*/ 4365487 w 5740657"/>
              <a:gd name="connsiteY154" fmla="*/ 909114 h 1252696"/>
              <a:gd name="connsiteX155" fmla="*/ 4420492 w 5740657"/>
              <a:gd name="connsiteY155" fmla="*/ 946141 h 1252696"/>
              <a:gd name="connsiteX156" fmla="*/ 4465709 w 5740657"/>
              <a:gd name="connsiteY156" fmla="*/ 1006955 h 1252696"/>
              <a:gd name="connsiteX157" fmla="*/ 4534713 w 5740657"/>
              <a:gd name="connsiteY157" fmla="*/ 1037650 h 1252696"/>
              <a:gd name="connsiteX158" fmla="*/ 4600577 w 5740657"/>
              <a:gd name="connsiteY158" fmla="*/ 969666 h 1252696"/>
              <a:gd name="connsiteX159" fmla="*/ 4620674 w 5740657"/>
              <a:gd name="connsiteY159" fmla="*/ 959617 h 1252696"/>
              <a:gd name="connsiteX160" fmla="*/ 4635746 w 5740657"/>
              <a:gd name="connsiteY160" fmla="*/ 944545 h 1252696"/>
              <a:gd name="connsiteX161" fmla="*/ 4655843 w 5740657"/>
              <a:gd name="connsiteY161" fmla="*/ 934497 h 1252696"/>
              <a:gd name="connsiteX162" fmla="*/ 4675940 w 5740657"/>
              <a:gd name="connsiteY162" fmla="*/ 919424 h 1252696"/>
              <a:gd name="connsiteX163" fmla="*/ 4741254 w 5740657"/>
              <a:gd name="connsiteY163" fmla="*/ 884255 h 1252696"/>
              <a:gd name="connsiteX164" fmla="*/ 4766375 w 5740657"/>
              <a:gd name="connsiteY164" fmla="*/ 879231 h 1252696"/>
              <a:gd name="connsiteX165" fmla="*/ 4781447 w 5740657"/>
              <a:gd name="connsiteY165" fmla="*/ 874206 h 1252696"/>
              <a:gd name="connsiteX166" fmla="*/ 4822687 w 5740657"/>
              <a:gd name="connsiteY166" fmla="*/ 873944 h 1252696"/>
              <a:gd name="connsiteX167" fmla="*/ 4880858 w 5740657"/>
              <a:gd name="connsiteY167" fmla="*/ 895638 h 1252696"/>
              <a:gd name="connsiteX168" fmla="*/ 4938740 w 5740657"/>
              <a:gd name="connsiteY168" fmla="*/ 934523 h 1252696"/>
              <a:gd name="connsiteX169" fmla="*/ 4998795 w 5740657"/>
              <a:gd name="connsiteY169" fmla="*/ 1006746 h 1252696"/>
              <a:gd name="connsiteX170" fmla="*/ 5028155 w 5740657"/>
              <a:gd name="connsiteY170" fmla="*/ 1051963 h 1252696"/>
              <a:gd name="connsiteX171" fmla="*/ 5095616 w 5740657"/>
              <a:gd name="connsiteY171" fmla="*/ 1016506 h 1252696"/>
              <a:gd name="connsiteX172" fmla="*/ 5147715 w 5740657"/>
              <a:gd name="connsiteY172" fmla="*/ 948261 h 1252696"/>
              <a:gd name="connsiteX173" fmla="*/ 5192645 w 5740657"/>
              <a:gd name="connsiteY173" fmla="*/ 886112 h 1252696"/>
              <a:gd name="connsiteX174" fmla="*/ 5229672 w 5740657"/>
              <a:gd name="connsiteY174" fmla="*/ 856230 h 1252696"/>
              <a:gd name="connsiteX175" fmla="*/ 5264030 w 5740657"/>
              <a:gd name="connsiteY175" fmla="*/ 822918 h 1252696"/>
              <a:gd name="connsiteX176" fmla="*/ 5298675 w 5740657"/>
              <a:gd name="connsiteY176" fmla="*/ 800440 h 1252696"/>
              <a:gd name="connsiteX177" fmla="*/ 5337823 w 5740657"/>
              <a:gd name="connsiteY177" fmla="*/ 794893 h 1252696"/>
              <a:gd name="connsiteX178" fmla="*/ 5415567 w 5740657"/>
              <a:gd name="connsiteY178" fmla="*/ 824252 h 1252696"/>
              <a:gd name="connsiteX179" fmla="*/ 5434590 w 5740657"/>
              <a:gd name="connsiteY179" fmla="*/ 768699 h 1252696"/>
              <a:gd name="connsiteX180" fmla="*/ 5444639 w 5740657"/>
              <a:gd name="connsiteY180" fmla="*/ 753626 h 1252696"/>
              <a:gd name="connsiteX181" fmla="*/ 5459711 w 5740657"/>
              <a:gd name="connsiteY181" fmla="*/ 708409 h 1252696"/>
              <a:gd name="connsiteX182" fmla="*/ 5469759 w 5740657"/>
              <a:gd name="connsiteY182" fmla="*/ 683288 h 1252696"/>
              <a:gd name="connsiteX183" fmla="*/ 5479808 w 5740657"/>
              <a:gd name="connsiteY183" fmla="*/ 643094 h 1252696"/>
              <a:gd name="connsiteX184" fmla="*/ 5494880 w 5740657"/>
              <a:gd name="connsiteY184" fmla="*/ 617973 h 1252696"/>
              <a:gd name="connsiteX185" fmla="*/ 5509953 w 5740657"/>
              <a:gd name="connsiteY185" fmla="*/ 572756 h 1252696"/>
              <a:gd name="connsiteX186" fmla="*/ 5530049 w 5740657"/>
              <a:gd name="connsiteY186" fmla="*/ 522514 h 1252696"/>
              <a:gd name="connsiteX187" fmla="*/ 5550146 w 5740657"/>
              <a:gd name="connsiteY187" fmla="*/ 467248 h 1252696"/>
              <a:gd name="connsiteX188" fmla="*/ 5560195 w 5740657"/>
              <a:gd name="connsiteY188" fmla="*/ 411982 h 1252696"/>
              <a:gd name="connsiteX189" fmla="*/ 5570243 w 5740657"/>
              <a:gd name="connsiteY189" fmla="*/ 381837 h 1252696"/>
              <a:gd name="connsiteX190" fmla="*/ 5580291 w 5740657"/>
              <a:gd name="connsiteY190" fmla="*/ 356716 h 1252696"/>
              <a:gd name="connsiteX191" fmla="*/ 5600388 w 5740657"/>
              <a:gd name="connsiteY191" fmla="*/ 316523 h 1252696"/>
              <a:gd name="connsiteX192" fmla="*/ 5620485 w 5740657"/>
              <a:gd name="connsiteY192" fmla="*/ 246184 h 1252696"/>
              <a:gd name="connsiteX193" fmla="*/ 5625509 w 5740657"/>
              <a:gd name="connsiteY193" fmla="*/ 226088 h 1252696"/>
              <a:gd name="connsiteX194" fmla="*/ 5635557 w 5740657"/>
              <a:gd name="connsiteY194" fmla="*/ 216039 h 1252696"/>
              <a:gd name="connsiteX195" fmla="*/ 5640581 w 5740657"/>
              <a:gd name="connsiteY195" fmla="*/ 200967 h 1252696"/>
              <a:gd name="connsiteX196" fmla="*/ 5655131 w 5740657"/>
              <a:gd name="connsiteY196" fmla="*/ 190395 h 1252696"/>
              <a:gd name="connsiteX197" fmla="*/ 5677085 w 5740657"/>
              <a:gd name="connsiteY197" fmla="*/ 153892 h 1252696"/>
              <a:gd name="connsiteX198" fmla="*/ 5729995 w 5740657"/>
              <a:gd name="connsiteY198" fmla="*/ 89362 h 1252696"/>
              <a:gd name="connsiteX199" fmla="*/ 5732115 w 5740657"/>
              <a:gd name="connsiteY199" fmla="*/ 42287 h 1252696"/>
              <a:gd name="connsiteX200" fmla="*/ 5637677 w 5740657"/>
              <a:gd name="connsiteY200" fmla="*/ 25357 h 1252696"/>
              <a:gd name="connsiteX201" fmla="*/ 5540333 w 5740657"/>
              <a:gd name="connsiteY201" fmla="*/ 27214 h 1252696"/>
              <a:gd name="connsiteX202" fmla="*/ 5473762 w 5740657"/>
              <a:gd name="connsiteY202" fmla="*/ 39381 h 1252696"/>
              <a:gd name="connsiteX203" fmla="*/ 5382517 w 5740657"/>
              <a:gd name="connsiteY203" fmla="*/ 39644 h 1252696"/>
              <a:gd name="connsiteX204" fmla="*/ 5312675 w 5740657"/>
              <a:gd name="connsiteY204" fmla="*/ 42287 h 1252696"/>
              <a:gd name="connsiteX205" fmla="*/ 5242075 w 5740657"/>
              <a:gd name="connsiteY205" fmla="*/ 54455 h 1252696"/>
              <a:gd name="connsiteX206" fmla="*/ 5112285 w 5740657"/>
              <a:gd name="connsiteY206" fmla="*/ 37524 h 1252696"/>
              <a:gd name="connsiteX207" fmla="*/ 5023419 w 5740657"/>
              <a:gd name="connsiteY207" fmla="*/ 39120 h 1252696"/>
              <a:gd name="connsiteX208" fmla="*/ 4949626 w 5740657"/>
              <a:gd name="connsiteY208" fmla="*/ 41240 h 1252696"/>
              <a:gd name="connsiteX209" fmla="*/ 4826665 w 5740657"/>
              <a:gd name="connsiteY209" fmla="*/ 50242 h 1252696"/>
              <a:gd name="connsiteX210" fmla="*/ 4730970 w 5740657"/>
              <a:gd name="connsiteY210" fmla="*/ 29073 h 1252696"/>
              <a:gd name="connsiteX211" fmla="*/ 4631769 w 5740657"/>
              <a:gd name="connsiteY211" fmla="*/ 41240 h 1252696"/>
              <a:gd name="connsiteX212" fmla="*/ 4568573 w 5740657"/>
              <a:gd name="connsiteY212" fmla="*/ 46264 h 1252696"/>
              <a:gd name="connsiteX213" fmla="*/ 4420989 w 5740657"/>
              <a:gd name="connsiteY213" fmla="*/ 44406 h 1252696"/>
              <a:gd name="connsiteX214" fmla="*/ 4143377 w 5740657"/>
              <a:gd name="connsiteY214" fmla="*/ 60290 h 1252696"/>
              <a:gd name="connsiteX215" fmla="*/ 3922313 w 5740657"/>
              <a:gd name="connsiteY215" fmla="*/ 50242 h 1252696"/>
              <a:gd name="connsiteX216" fmla="*/ 3877096 w 5740657"/>
              <a:gd name="connsiteY216" fmla="*/ 45217 h 1252696"/>
              <a:gd name="connsiteX217" fmla="*/ 3691201 w 5740657"/>
              <a:gd name="connsiteY217" fmla="*/ 40193 h 1252696"/>
              <a:gd name="connsiteX218" fmla="*/ 3666080 w 5740657"/>
              <a:gd name="connsiteY218" fmla="*/ 35169 h 1252696"/>
              <a:gd name="connsiteX219" fmla="*/ 3630911 w 5740657"/>
              <a:gd name="connsiteY219" fmla="*/ 25121 h 1252696"/>
              <a:gd name="connsiteX220" fmla="*/ 3550524 w 5740657"/>
              <a:gd name="connsiteY220" fmla="*/ 20097 h 1252696"/>
              <a:gd name="connsiteX221" fmla="*/ 3314388 w 5740657"/>
              <a:gd name="connsiteY221" fmla="*/ 25121 h 1252696"/>
              <a:gd name="connsiteX222" fmla="*/ 3269170 w 5740657"/>
              <a:gd name="connsiteY222" fmla="*/ 30145 h 1252696"/>
              <a:gd name="connsiteX223" fmla="*/ 3178735 w 5740657"/>
              <a:gd name="connsiteY223" fmla="*/ 35169 h 1252696"/>
              <a:gd name="connsiteX224" fmla="*/ 2585882 w 5740657"/>
              <a:gd name="connsiteY224" fmla="*/ 45217 h 1252696"/>
              <a:gd name="connsiteX225" fmla="*/ 2259311 w 5740657"/>
              <a:gd name="connsiteY225" fmla="*/ 40193 h 1252696"/>
              <a:gd name="connsiteX226" fmla="*/ 1977957 w 5740657"/>
              <a:gd name="connsiteY226" fmla="*/ 30145 h 1252696"/>
              <a:gd name="connsiteX227" fmla="*/ 1947812 w 5740657"/>
              <a:gd name="connsiteY227" fmla="*/ 25121 h 1252696"/>
              <a:gd name="connsiteX228" fmla="*/ 1852353 w 5740657"/>
              <a:gd name="connsiteY228" fmla="*/ 20097 h 1252696"/>
              <a:gd name="connsiteX229" fmla="*/ 1771966 w 5740657"/>
              <a:gd name="connsiteY229" fmla="*/ 10048 h 1252696"/>
              <a:gd name="connsiteX230" fmla="*/ 1505685 w 5740657"/>
              <a:gd name="connsiteY230" fmla="*/ 20097 h 1252696"/>
              <a:gd name="connsiteX231" fmla="*/ 1470515 w 5740657"/>
              <a:gd name="connsiteY231" fmla="*/ 25121 h 1252696"/>
              <a:gd name="connsiteX232" fmla="*/ 1432703 w 5740657"/>
              <a:gd name="connsiteY232" fmla="*/ 20620 h 1252696"/>
              <a:gd name="connsiteX233" fmla="*/ 1302049 w 5740657"/>
              <a:gd name="connsiteY233" fmla="*/ 21404 h 1252696"/>
              <a:gd name="connsiteX234" fmla="*/ 1113013 w 5740657"/>
              <a:gd name="connsiteY234" fmla="*/ 16119 h 1252696"/>
              <a:gd name="connsiteX235" fmla="*/ 983170 w 5740657"/>
              <a:gd name="connsiteY235" fmla="*/ 20097 h 1252696"/>
              <a:gd name="connsiteX236" fmla="*/ 942977 w 5740657"/>
              <a:gd name="connsiteY236" fmla="*/ 10048 h 1252696"/>
              <a:gd name="connsiteX237" fmla="*/ 817373 w 5740657"/>
              <a:gd name="connsiteY237" fmla="*/ 0 h 1252696"/>
              <a:gd name="connsiteX238" fmla="*/ 747034 w 5740657"/>
              <a:gd name="connsiteY238" fmla="*/ 5024 h 1252696"/>
              <a:gd name="connsiteX239" fmla="*/ 586260 w 5740657"/>
              <a:gd name="connsiteY239" fmla="*/ 15072 h 1252696"/>
              <a:gd name="connsiteX240" fmla="*/ 435535 w 5740657"/>
              <a:gd name="connsiteY240" fmla="*/ 5024 h 1252696"/>
              <a:gd name="connsiteX241" fmla="*/ 415439 w 5740657"/>
              <a:gd name="connsiteY241" fmla="*/ 0 h 1252696"/>
              <a:gd name="connsiteX242" fmla="*/ 284810 w 5740657"/>
              <a:gd name="connsiteY242" fmla="*/ 10048 h 1252696"/>
              <a:gd name="connsiteX243" fmla="*/ 264713 w 5740657"/>
              <a:gd name="connsiteY243" fmla="*/ 15072 h 1252696"/>
              <a:gd name="connsiteX244" fmla="*/ 103940 w 5740657"/>
              <a:gd name="connsiteY244" fmla="*/ 20097 h 1252696"/>
              <a:gd name="connsiteX245" fmla="*/ 8480 w 5740657"/>
              <a:gd name="connsiteY245" fmla="*/ 30145 h 125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Lst>
            <a:rect l="l" t="t" r="r" b="b"/>
            <a:pathLst>
              <a:path w="5740657" h="1252696">
                <a:moveTo>
                  <a:pt x="8480" y="30145"/>
                </a:moveTo>
                <a:cubicBezTo>
                  <a:pt x="-8136" y="43674"/>
                  <a:pt x="4905" y="81966"/>
                  <a:pt x="4242" y="101269"/>
                </a:cubicBezTo>
                <a:cubicBezTo>
                  <a:pt x="3579" y="120572"/>
                  <a:pt x="2828" y="134240"/>
                  <a:pt x="4503" y="145963"/>
                </a:cubicBezTo>
                <a:cubicBezTo>
                  <a:pt x="6178" y="174433"/>
                  <a:pt x="5031" y="191481"/>
                  <a:pt x="7146" y="224230"/>
                </a:cubicBezTo>
                <a:cubicBezTo>
                  <a:pt x="9261" y="256979"/>
                  <a:pt x="6104" y="309186"/>
                  <a:pt x="17193" y="342455"/>
                </a:cubicBezTo>
                <a:cubicBezTo>
                  <a:pt x="18868" y="499879"/>
                  <a:pt x="12209" y="484493"/>
                  <a:pt x="12693" y="569459"/>
                </a:cubicBezTo>
                <a:cubicBezTo>
                  <a:pt x="13177" y="654425"/>
                  <a:pt x="18952" y="779031"/>
                  <a:pt x="20099" y="852252"/>
                </a:cubicBezTo>
                <a:cubicBezTo>
                  <a:pt x="21246" y="925473"/>
                  <a:pt x="18162" y="967446"/>
                  <a:pt x="19575" y="1008786"/>
                </a:cubicBezTo>
                <a:cubicBezTo>
                  <a:pt x="20988" y="1050126"/>
                  <a:pt x="37938" y="1062851"/>
                  <a:pt x="28577" y="1100294"/>
                </a:cubicBezTo>
                <a:cubicBezTo>
                  <a:pt x="26902" y="1117041"/>
                  <a:pt x="23553" y="1133705"/>
                  <a:pt x="23553" y="1150536"/>
                </a:cubicBezTo>
                <a:cubicBezTo>
                  <a:pt x="23553" y="1157441"/>
                  <a:pt x="22832" y="1166803"/>
                  <a:pt x="28577" y="1170633"/>
                </a:cubicBezTo>
                <a:cubicBezTo>
                  <a:pt x="32518" y="1173261"/>
                  <a:pt x="35276" y="1163934"/>
                  <a:pt x="38625" y="1160584"/>
                </a:cubicBezTo>
                <a:lnTo>
                  <a:pt x="58722" y="1100294"/>
                </a:lnTo>
                <a:cubicBezTo>
                  <a:pt x="60397" y="1095270"/>
                  <a:pt x="60001" y="1088967"/>
                  <a:pt x="63746" y="1085222"/>
                </a:cubicBezTo>
                <a:cubicBezTo>
                  <a:pt x="67096" y="1081872"/>
                  <a:pt x="70836" y="1078872"/>
                  <a:pt x="73795" y="1075173"/>
                </a:cubicBezTo>
                <a:cubicBezTo>
                  <a:pt x="84386" y="1061934"/>
                  <a:pt x="83572" y="1055257"/>
                  <a:pt x="98915" y="1045028"/>
                </a:cubicBezTo>
                <a:cubicBezTo>
                  <a:pt x="103322" y="1042090"/>
                  <a:pt x="108964" y="1041679"/>
                  <a:pt x="113988" y="1040004"/>
                </a:cubicBezTo>
                <a:cubicBezTo>
                  <a:pt x="160363" y="1009087"/>
                  <a:pt x="103325" y="1048536"/>
                  <a:pt x="139109" y="1019908"/>
                </a:cubicBezTo>
                <a:cubicBezTo>
                  <a:pt x="143824" y="1016136"/>
                  <a:pt x="149466" y="1013631"/>
                  <a:pt x="154181" y="1009859"/>
                </a:cubicBezTo>
                <a:cubicBezTo>
                  <a:pt x="171193" y="996249"/>
                  <a:pt x="156139" y="1001105"/>
                  <a:pt x="179302" y="994787"/>
                </a:cubicBezTo>
                <a:cubicBezTo>
                  <a:pt x="192626" y="991153"/>
                  <a:pt x="219496" y="984738"/>
                  <a:pt x="219496" y="984738"/>
                </a:cubicBezTo>
                <a:cubicBezTo>
                  <a:pt x="233616" y="986022"/>
                  <a:pt x="270503" y="985122"/>
                  <a:pt x="289834" y="994787"/>
                </a:cubicBezTo>
                <a:cubicBezTo>
                  <a:pt x="295235" y="997487"/>
                  <a:pt x="299883" y="1001486"/>
                  <a:pt x="304907" y="1004835"/>
                </a:cubicBezTo>
                <a:cubicBezTo>
                  <a:pt x="311606" y="1014883"/>
                  <a:pt x="314955" y="1028281"/>
                  <a:pt x="325003" y="1034980"/>
                </a:cubicBezTo>
                <a:cubicBezTo>
                  <a:pt x="338640" y="1044071"/>
                  <a:pt x="350427" y="1050505"/>
                  <a:pt x="360173" y="1065125"/>
                </a:cubicBezTo>
                <a:cubicBezTo>
                  <a:pt x="363522" y="1070149"/>
                  <a:pt x="365506" y="1076426"/>
                  <a:pt x="370221" y="1080198"/>
                </a:cubicBezTo>
                <a:cubicBezTo>
                  <a:pt x="374356" y="1083506"/>
                  <a:pt x="380556" y="1082854"/>
                  <a:pt x="385293" y="1085222"/>
                </a:cubicBezTo>
                <a:cubicBezTo>
                  <a:pt x="390694" y="1087922"/>
                  <a:pt x="395651" y="1091498"/>
                  <a:pt x="400366" y="1095270"/>
                </a:cubicBezTo>
                <a:cubicBezTo>
                  <a:pt x="404065" y="1098229"/>
                  <a:pt x="406352" y="1102882"/>
                  <a:pt x="410414" y="1105319"/>
                </a:cubicBezTo>
                <a:cubicBezTo>
                  <a:pt x="414955" y="1108044"/>
                  <a:pt x="420463" y="1108668"/>
                  <a:pt x="425487" y="1110343"/>
                </a:cubicBezTo>
                <a:cubicBezTo>
                  <a:pt x="430511" y="1113692"/>
                  <a:pt x="435041" y="1117939"/>
                  <a:pt x="440559" y="1120391"/>
                </a:cubicBezTo>
                <a:cubicBezTo>
                  <a:pt x="450238" y="1124693"/>
                  <a:pt x="470704" y="1130439"/>
                  <a:pt x="470704" y="1130439"/>
                </a:cubicBezTo>
                <a:cubicBezTo>
                  <a:pt x="489369" y="1128106"/>
                  <a:pt x="511970" y="1131366"/>
                  <a:pt x="525970" y="1115367"/>
                </a:cubicBezTo>
                <a:cubicBezTo>
                  <a:pt x="528719" y="1112225"/>
                  <a:pt x="545363" y="1081624"/>
                  <a:pt x="556115" y="1075173"/>
                </a:cubicBezTo>
                <a:cubicBezTo>
                  <a:pt x="560656" y="1072448"/>
                  <a:pt x="566164" y="1071824"/>
                  <a:pt x="571188" y="1070149"/>
                </a:cubicBezTo>
                <a:cubicBezTo>
                  <a:pt x="576212" y="1066800"/>
                  <a:pt x="580742" y="1062553"/>
                  <a:pt x="586260" y="1060101"/>
                </a:cubicBezTo>
                <a:cubicBezTo>
                  <a:pt x="613969" y="1047786"/>
                  <a:pt x="614515" y="1051781"/>
                  <a:pt x="641526" y="1045028"/>
                </a:cubicBezTo>
                <a:cubicBezTo>
                  <a:pt x="646664" y="1043743"/>
                  <a:pt x="651575" y="1041679"/>
                  <a:pt x="656599" y="1040004"/>
                </a:cubicBezTo>
                <a:cubicBezTo>
                  <a:pt x="669997" y="1041679"/>
                  <a:pt x="683590" y="1042199"/>
                  <a:pt x="696792" y="1045028"/>
                </a:cubicBezTo>
                <a:cubicBezTo>
                  <a:pt x="707149" y="1047247"/>
                  <a:pt x="726937" y="1055077"/>
                  <a:pt x="726937" y="1055077"/>
                </a:cubicBezTo>
                <a:cubicBezTo>
                  <a:pt x="730287" y="1058426"/>
                  <a:pt x="733045" y="1062497"/>
                  <a:pt x="736986" y="1065125"/>
                </a:cubicBezTo>
                <a:cubicBezTo>
                  <a:pt x="768344" y="1086029"/>
                  <a:pt x="745363" y="1066802"/>
                  <a:pt x="772155" y="1080198"/>
                </a:cubicBezTo>
                <a:cubicBezTo>
                  <a:pt x="778687" y="1083464"/>
                  <a:pt x="803903" y="1102468"/>
                  <a:pt x="807324" y="1105319"/>
                </a:cubicBezTo>
                <a:cubicBezTo>
                  <a:pt x="824238" y="1119414"/>
                  <a:pt x="811915" y="1115836"/>
                  <a:pt x="837469" y="1130439"/>
                </a:cubicBezTo>
                <a:cubicBezTo>
                  <a:pt x="843079" y="1133645"/>
                  <a:pt x="868283" y="1139399"/>
                  <a:pt x="872639" y="1140488"/>
                </a:cubicBezTo>
                <a:cubicBezTo>
                  <a:pt x="884362" y="1158072"/>
                  <a:pt x="887712" y="1167284"/>
                  <a:pt x="912832" y="1175657"/>
                </a:cubicBezTo>
                <a:lnTo>
                  <a:pt x="942977" y="1185705"/>
                </a:lnTo>
                <a:cubicBezTo>
                  <a:pt x="956375" y="1184030"/>
                  <a:pt x="970237" y="1184561"/>
                  <a:pt x="983170" y="1180681"/>
                </a:cubicBezTo>
                <a:cubicBezTo>
                  <a:pt x="987707" y="1179320"/>
                  <a:pt x="990186" y="1174272"/>
                  <a:pt x="993219" y="1170633"/>
                </a:cubicBezTo>
                <a:cubicBezTo>
                  <a:pt x="998580" y="1164200"/>
                  <a:pt x="1003267" y="1157235"/>
                  <a:pt x="1008291" y="1150536"/>
                </a:cubicBezTo>
                <a:cubicBezTo>
                  <a:pt x="1011641" y="1140488"/>
                  <a:pt x="1010851" y="1127881"/>
                  <a:pt x="1018340" y="1120391"/>
                </a:cubicBezTo>
                <a:lnTo>
                  <a:pt x="1043460" y="1095270"/>
                </a:lnTo>
                <a:cubicBezTo>
                  <a:pt x="1046810" y="1091920"/>
                  <a:pt x="1050882" y="1089163"/>
                  <a:pt x="1053509" y="1085222"/>
                </a:cubicBezTo>
                <a:cubicBezTo>
                  <a:pt x="1066495" y="1065742"/>
                  <a:pt x="1057828" y="1072058"/>
                  <a:pt x="1078630" y="1065125"/>
                </a:cubicBezTo>
                <a:cubicBezTo>
                  <a:pt x="1083654" y="1060101"/>
                  <a:pt x="1087491" y="1053504"/>
                  <a:pt x="1093702" y="1050053"/>
                </a:cubicBezTo>
                <a:cubicBezTo>
                  <a:pt x="1102961" y="1044909"/>
                  <a:pt x="1113799" y="1043354"/>
                  <a:pt x="1123847" y="1040004"/>
                </a:cubicBezTo>
                <a:cubicBezTo>
                  <a:pt x="1128871" y="1038329"/>
                  <a:pt x="1134379" y="1037705"/>
                  <a:pt x="1138920" y="1034980"/>
                </a:cubicBezTo>
                <a:cubicBezTo>
                  <a:pt x="1147294" y="1029956"/>
                  <a:pt x="1155307" y="1024275"/>
                  <a:pt x="1164041" y="1019908"/>
                </a:cubicBezTo>
                <a:cubicBezTo>
                  <a:pt x="1168778" y="1017540"/>
                  <a:pt x="1174245" y="1016969"/>
                  <a:pt x="1179113" y="1014883"/>
                </a:cubicBezTo>
                <a:cubicBezTo>
                  <a:pt x="1185997" y="1011933"/>
                  <a:pt x="1192511" y="1008184"/>
                  <a:pt x="1199210" y="1004835"/>
                </a:cubicBezTo>
                <a:lnTo>
                  <a:pt x="1284621" y="1014883"/>
                </a:lnTo>
                <a:cubicBezTo>
                  <a:pt x="1290446" y="1016472"/>
                  <a:pt x="1294292" y="1022232"/>
                  <a:pt x="1299693" y="1024932"/>
                </a:cubicBezTo>
                <a:cubicBezTo>
                  <a:pt x="1304430" y="1027301"/>
                  <a:pt x="1309742" y="1028281"/>
                  <a:pt x="1314766" y="1029956"/>
                </a:cubicBezTo>
                <a:cubicBezTo>
                  <a:pt x="1318076" y="1039886"/>
                  <a:pt x="1320984" y="1053017"/>
                  <a:pt x="1329839" y="1060101"/>
                </a:cubicBezTo>
                <a:cubicBezTo>
                  <a:pt x="1333974" y="1063409"/>
                  <a:pt x="1340174" y="1062757"/>
                  <a:pt x="1344911" y="1065125"/>
                </a:cubicBezTo>
                <a:cubicBezTo>
                  <a:pt x="1350312" y="1067825"/>
                  <a:pt x="1354583" y="1072473"/>
                  <a:pt x="1359984" y="1075173"/>
                </a:cubicBezTo>
                <a:cubicBezTo>
                  <a:pt x="1372008" y="1081185"/>
                  <a:pt x="1387127" y="1085896"/>
                  <a:pt x="1400177" y="1090246"/>
                </a:cubicBezTo>
                <a:cubicBezTo>
                  <a:pt x="1427671" y="1108575"/>
                  <a:pt x="1404234" y="1096081"/>
                  <a:pt x="1450419" y="1105319"/>
                </a:cubicBezTo>
                <a:cubicBezTo>
                  <a:pt x="1455612" y="1106358"/>
                  <a:pt x="1460399" y="1108888"/>
                  <a:pt x="1465491" y="1110343"/>
                </a:cubicBezTo>
                <a:cubicBezTo>
                  <a:pt x="1509651" y="1122960"/>
                  <a:pt x="1464523" y="1108345"/>
                  <a:pt x="1500660" y="1120391"/>
                </a:cubicBezTo>
                <a:cubicBezTo>
                  <a:pt x="1519082" y="1118716"/>
                  <a:pt x="1537614" y="1117983"/>
                  <a:pt x="1555926" y="1115367"/>
                </a:cubicBezTo>
                <a:cubicBezTo>
                  <a:pt x="1561169" y="1114618"/>
                  <a:pt x="1566689" y="1113421"/>
                  <a:pt x="1570999" y="1110343"/>
                </a:cubicBezTo>
                <a:cubicBezTo>
                  <a:pt x="1578708" y="1104837"/>
                  <a:pt x="1582622" y="1094483"/>
                  <a:pt x="1591096" y="1090246"/>
                </a:cubicBezTo>
                <a:cubicBezTo>
                  <a:pt x="1616431" y="1077578"/>
                  <a:pt x="1620072" y="1078406"/>
                  <a:pt x="1641337" y="1050053"/>
                </a:cubicBezTo>
                <a:cubicBezTo>
                  <a:pt x="1646361" y="1043354"/>
                  <a:pt x="1649977" y="1035317"/>
                  <a:pt x="1656410" y="1029956"/>
                </a:cubicBezTo>
                <a:cubicBezTo>
                  <a:pt x="1659499" y="1027382"/>
                  <a:pt x="1690510" y="1020175"/>
                  <a:pt x="1691579" y="1019908"/>
                </a:cubicBezTo>
                <a:cubicBezTo>
                  <a:pt x="1714651" y="1021556"/>
                  <a:pt x="1763620" y="1022845"/>
                  <a:pt x="1792063" y="1029956"/>
                </a:cubicBezTo>
                <a:cubicBezTo>
                  <a:pt x="1802339" y="1032525"/>
                  <a:pt x="1812063" y="1036961"/>
                  <a:pt x="1822208" y="1040004"/>
                </a:cubicBezTo>
                <a:cubicBezTo>
                  <a:pt x="1830263" y="1042420"/>
                  <a:pt x="1848930" y="1045830"/>
                  <a:pt x="1857377" y="1050053"/>
                </a:cubicBezTo>
                <a:cubicBezTo>
                  <a:pt x="1862778" y="1052753"/>
                  <a:pt x="1866795" y="1057981"/>
                  <a:pt x="1872449" y="1060101"/>
                </a:cubicBezTo>
                <a:cubicBezTo>
                  <a:pt x="1880445" y="1063099"/>
                  <a:pt x="1885760" y="1058557"/>
                  <a:pt x="1897570" y="1065125"/>
                </a:cubicBezTo>
                <a:cubicBezTo>
                  <a:pt x="1909380" y="1071693"/>
                  <a:pt x="1929560" y="1088576"/>
                  <a:pt x="1943311" y="1099510"/>
                </a:cubicBezTo>
                <a:cubicBezTo>
                  <a:pt x="1957062" y="1110444"/>
                  <a:pt x="1967603" y="1120984"/>
                  <a:pt x="1980076" y="1130727"/>
                </a:cubicBezTo>
                <a:cubicBezTo>
                  <a:pt x="1992549" y="1140470"/>
                  <a:pt x="2007222" y="1153694"/>
                  <a:pt x="2018151" y="1157968"/>
                </a:cubicBezTo>
                <a:cubicBezTo>
                  <a:pt x="2029080" y="1162242"/>
                  <a:pt x="2037279" y="1151347"/>
                  <a:pt x="2045652" y="1156371"/>
                </a:cubicBezTo>
                <a:cubicBezTo>
                  <a:pt x="2072448" y="1154696"/>
                  <a:pt x="2108982" y="1128062"/>
                  <a:pt x="2123658" y="1120391"/>
                </a:cubicBezTo>
                <a:cubicBezTo>
                  <a:pt x="2138334" y="1112720"/>
                  <a:pt x="2128639" y="1115280"/>
                  <a:pt x="2133707" y="1110343"/>
                </a:cubicBezTo>
                <a:cubicBezTo>
                  <a:pt x="2138775" y="1105406"/>
                  <a:pt x="2144017" y="1101040"/>
                  <a:pt x="2154065" y="1090769"/>
                </a:cubicBezTo>
                <a:cubicBezTo>
                  <a:pt x="2164113" y="1080498"/>
                  <a:pt x="2180115" y="1060794"/>
                  <a:pt x="2193997" y="1048718"/>
                </a:cubicBezTo>
                <a:cubicBezTo>
                  <a:pt x="2207879" y="1036642"/>
                  <a:pt x="2218935" y="1027299"/>
                  <a:pt x="2237357" y="1018311"/>
                </a:cubicBezTo>
                <a:cubicBezTo>
                  <a:pt x="2255779" y="1009323"/>
                  <a:pt x="2290822" y="999545"/>
                  <a:pt x="2304529" y="994787"/>
                </a:cubicBezTo>
                <a:cubicBezTo>
                  <a:pt x="2318236" y="990029"/>
                  <a:pt x="2302239" y="989013"/>
                  <a:pt x="2319601" y="989763"/>
                </a:cubicBezTo>
                <a:cubicBezTo>
                  <a:pt x="2336963" y="990513"/>
                  <a:pt x="2384418" y="993426"/>
                  <a:pt x="2408702" y="999288"/>
                </a:cubicBezTo>
                <a:cubicBezTo>
                  <a:pt x="2432986" y="1005150"/>
                  <a:pt x="2453357" y="1019821"/>
                  <a:pt x="2465302" y="1024932"/>
                </a:cubicBezTo>
                <a:cubicBezTo>
                  <a:pt x="2477247" y="1030043"/>
                  <a:pt x="2475351" y="1028281"/>
                  <a:pt x="2480375" y="1029956"/>
                </a:cubicBezTo>
                <a:cubicBezTo>
                  <a:pt x="2483724" y="1034980"/>
                  <a:pt x="2486651" y="1040313"/>
                  <a:pt x="2490423" y="1045028"/>
                </a:cubicBezTo>
                <a:cubicBezTo>
                  <a:pt x="2493382" y="1048727"/>
                  <a:pt x="2497629" y="1051287"/>
                  <a:pt x="2500471" y="1055077"/>
                </a:cubicBezTo>
                <a:cubicBezTo>
                  <a:pt x="2529777" y="1094152"/>
                  <a:pt x="2507590" y="1076570"/>
                  <a:pt x="2535641" y="1095270"/>
                </a:cubicBezTo>
                <a:cubicBezTo>
                  <a:pt x="2546264" y="1111205"/>
                  <a:pt x="2553174" y="1123707"/>
                  <a:pt x="2570810" y="1135464"/>
                </a:cubicBezTo>
                <a:cubicBezTo>
                  <a:pt x="2575834" y="1138813"/>
                  <a:pt x="2581298" y="1141582"/>
                  <a:pt x="2585882" y="1145512"/>
                </a:cubicBezTo>
                <a:cubicBezTo>
                  <a:pt x="2616739" y="1171961"/>
                  <a:pt x="2592504" y="1162240"/>
                  <a:pt x="2626076" y="1170633"/>
                </a:cubicBezTo>
                <a:cubicBezTo>
                  <a:pt x="2632523" y="1169021"/>
                  <a:pt x="2654031" y="1164191"/>
                  <a:pt x="2661245" y="1160584"/>
                </a:cubicBezTo>
                <a:cubicBezTo>
                  <a:pt x="2669979" y="1156217"/>
                  <a:pt x="2677793" y="1150188"/>
                  <a:pt x="2686366" y="1145512"/>
                </a:cubicBezTo>
                <a:cubicBezTo>
                  <a:pt x="2696229" y="1140132"/>
                  <a:pt x="2706690" y="1135895"/>
                  <a:pt x="2716511" y="1130439"/>
                </a:cubicBezTo>
                <a:cubicBezTo>
                  <a:pt x="2721789" y="1127507"/>
                  <a:pt x="2726034" y="1122770"/>
                  <a:pt x="2731584" y="1120391"/>
                </a:cubicBezTo>
                <a:cubicBezTo>
                  <a:pt x="2737931" y="1117671"/>
                  <a:pt x="2745066" y="1117351"/>
                  <a:pt x="2751680" y="1115367"/>
                </a:cubicBezTo>
                <a:cubicBezTo>
                  <a:pt x="2761825" y="1112324"/>
                  <a:pt x="2771777" y="1108668"/>
                  <a:pt x="2781825" y="1105319"/>
                </a:cubicBezTo>
                <a:cubicBezTo>
                  <a:pt x="2820913" y="1076002"/>
                  <a:pt x="2830776" y="1082225"/>
                  <a:pt x="2848448" y="1077554"/>
                </a:cubicBezTo>
                <a:cubicBezTo>
                  <a:pt x="2866120" y="1072883"/>
                  <a:pt x="2875117" y="1075705"/>
                  <a:pt x="2887856" y="1077292"/>
                </a:cubicBezTo>
                <a:cubicBezTo>
                  <a:pt x="2900595" y="1078880"/>
                  <a:pt x="2912410" y="1079059"/>
                  <a:pt x="2924883" y="1087079"/>
                </a:cubicBezTo>
                <a:cubicBezTo>
                  <a:pt x="2937356" y="1095100"/>
                  <a:pt x="2953045" y="1114002"/>
                  <a:pt x="2962696" y="1125415"/>
                </a:cubicBezTo>
                <a:cubicBezTo>
                  <a:pt x="2972348" y="1136829"/>
                  <a:pt x="2976359" y="1145158"/>
                  <a:pt x="2982792" y="1155560"/>
                </a:cubicBezTo>
                <a:cubicBezTo>
                  <a:pt x="2989225" y="1165962"/>
                  <a:pt x="2991380" y="1176586"/>
                  <a:pt x="3001293" y="1187825"/>
                </a:cubicBezTo>
                <a:cubicBezTo>
                  <a:pt x="3011206" y="1199064"/>
                  <a:pt x="3029226" y="1212239"/>
                  <a:pt x="3042271" y="1222994"/>
                </a:cubicBezTo>
                <a:cubicBezTo>
                  <a:pt x="3055316" y="1233749"/>
                  <a:pt x="3064353" y="1249358"/>
                  <a:pt x="3079561" y="1252354"/>
                </a:cubicBezTo>
                <a:cubicBezTo>
                  <a:pt x="3094769" y="1255350"/>
                  <a:pt x="3123470" y="1237622"/>
                  <a:pt x="3133518" y="1240971"/>
                </a:cubicBezTo>
                <a:cubicBezTo>
                  <a:pt x="3150265" y="1239296"/>
                  <a:pt x="3164810" y="1217774"/>
                  <a:pt x="3181378" y="1207372"/>
                </a:cubicBezTo>
                <a:cubicBezTo>
                  <a:pt x="3197946" y="1196970"/>
                  <a:pt x="3215653" y="1187550"/>
                  <a:pt x="3232928" y="1178561"/>
                </a:cubicBezTo>
                <a:cubicBezTo>
                  <a:pt x="3250203" y="1169572"/>
                  <a:pt x="3271450" y="1158948"/>
                  <a:pt x="3285027" y="1153440"/>
                </a:cubicBezTo>
                <a:cubicBezTo>
                  <a:pt x="3298604" y="1147932"/>
                  <a:pt x="3302796" y="1147671"/>
                  <a:pt x="3314388" y="1145512"/>
                </a:cubicBezTo>
                <a:cubicBezTo>
                  <a:pt x="3325980" y="1143353"/>
                  <a:pt x="3341183" y="1142163"/>
                  <a:pt x="3354581" y="1140488"/>
                </a:cubicBezTo>
                <a:cubicBezTo>
                  <a:pt x="3372956" y="1144163"/>
                  <a:pt x="3392851" y="1147062"/>
                  <a:pt x="3409847" y="1155560"/>
                </a:cubicBezTo>
                <a:cubicBezTo>
                  <a:pt x="3416546" y="1158910"/>
                  <a:pt x="3423441" y="1161893"/>
                  <a:pt x="3429944" y="1165609"/>
                </a:cubicBezTo>
                <a:cubicBezTo>
                  <a:pt x="3435187" y="1168605"/>
                  <a:pt x="3439616" y="1172957"/>
                  <a:pt x="3445017" y="1175657"/>
                </a:cubicBezTo>
                <a:cubicBezTo>
                  <a:pt x="3449754" y="1178025"/>
                  <a:pt x="3455065" y="1179006"/>
                  <a:pt x="3460089" y="1180681"/>
                </a:cubicBezTo>
                <a:cubicBezTo>
                  <a:pt x="3463438" y="1185705"/>
                  <a:pt x="3466365" y="1191039"/>
                  <a:pt x="3470137" y="1195754"/>
                </a:cubicBezTo>
                <a:cubicBezTo>
                  <a:pt x="3488021" y="1218109"/>
                  <a:pt x="3489921" y="1204829"/>
                  <a:pt x="3530428" y="1200778"/>
                </a:cubicBezTo>
                <a:cubicBezTo>
                  <a:pt x="3535452" y="1197429"/>
                  <a:pt x="3540099" y="1193430"/>
                  <a:pt x="3545500" y="1190730"/>
                </a:cubicBezTo>
                <a:cubicBezTo>
                  <a:pt x="3553567" y="1186697"/>
                  <a:pt x="3563880" y="1186673"/>
                  <a:pt x="3570621" y="1180681"/>
                </a:cubicBezTo>
                <a:cubicBezTo>
                  <a:pt x="3579647" y="1172658"/>
                  <a:pt x="3581057" y="1157782"/>
                  <a:pt x="3590718" y="1150536"/>
                </a:cubicBezTo>
                <a:cubicBezTo>
                  <a:pt x="3602058" y="1142031"/>
                  <a:pt x="3611991" y="1136062"/>
                  <a:pt x="3620863" y="1125415"/>
                </a:cubicBezTo>
                <a:cubicBezTo>
                  <a:pt x="3626223" y="1118982"/>
                  <a:pt x="3629677" y="1110882"/>
                  <a:pt x="3635935" y="1105319"/>
                </a:cubicBezTo>
                <a:cubicBezTo>
                  <a:pt x="3644961" y="1097296"/>
                  <a:pt x="3655523" y="1091087"/>
                  <a:pt x="3666080" y="1085222"/>
                </a:cubicBezTo>
                <a:cubicBezTo>
                  <a:pt x="3706282" y="1062888"/>
                  <a:pt x="3650927" y="1103697"/>
                  <a:pt x="3701249" y="1070149"/>
                </a:cubicBezTo>
                <a:cubicBezTo>
                  <a:pt x="3705190" y="1067521"/>
                  <a:pt x="3703762" y="1063935"/>
                  <a:pt x="3711298" y="1060101"/>
                </a:cubicBezTo>
                <a:cubicBezTo>
                  <a:pt x="3718834" y="1056267"/>
                  <a:pt x="3731264" y="1049835"/>
                  <a:pt x="3746467" y="1047148"/>
                </a:cubicBezTo>
                <a:cubicBezTo>
                  <a:pt x="3761670" y="1044462"/>
                  <a:pt x="3772675" y="1047712"/>
                  <a:pt x="3802518" y="1043982"/>
                </a:cubicBezTo>
                <a:cubicBezTo>
                  <a:pt x="3821948" y="1049320"/>
                  <a:pt x="3845861" y="1062469"/>
                  <a:pt x="3863044" y="1072033"/>
                </a:cubicBezTo>
                <a:cubicBezTo>
                  <a:pt x="3880228" y="1081597"/>
                  <a:pt x="3898083" y="1087132"/>
                  <a:pt x="3905619" y="1101367"/>
                </a:cubicBezTo>
                <a:cubicBezTo>
                  <a:pt x="3923208" y="1113086"/>
                  <a:pt x="3941904" y="1131639"/>
                  <a:pt x="3961434" y="1142346"/>
                </a:cubicBezTo>
                <a:cubicBezTo>
                  <a:pt x="3980964" y="1153053"/>
                  <a:pt x="3999297" y="1157775"/>
                  <a:pt x="4022797" y="1165609"/>
                </a:cubicBezTo>
                <a:cubicBezTo>
                  <a:pt x="4035497" y="1163069"/>
                  <a:pt x="4057614" y="1160936"/>
                  <a:pt x="4068014" y="1150536"/>
                </a:cubicBezTo>
                <a:cubicBezTo>
                  <a:pt x="4074919" y="1143631"/>
                  <a:pt x="4077092" y="1133123"/>
                  <a:pt x="4083087" y="1125415"/>
                </a:cubicBezTo>
                <a:cubicBezTo>
                  <a:pt x="4088903" y="1117937"/>
                  <a:pt x="4096054" y="1111557"/>
                  <a:pt x="4103184" y="1105319"/>
                </a:cubicBezTo>
                <a:cubicBezTo>
                  <a:pt x="4127754" y="1083820"/>
                  <a:pt x="4118892" y="1099234"/>
                  <a:pt x="4133329" y="1075173"/>
                </a:cubicBezTo>
                <a:cubicBezTo>
                  <a:pt x="4140276" y="1063595"/>
                  <a:pt x="4146960" y="1051857"/>
                  <a:pt x="4153425" y="1040004"/>
                </a:cubicBezTo>
                <a:cubicBezTo>
                  <a:pt x="4157011" y="1033429"/>
                  <a:pt x="4160524" y="1026792"/>
                  <a:pt x="4163474" y="1019908"/>
                </a:cubicBezTo>
                <a:cubicBezTo>
                  <a:pt x="4165560" y="1015040"/>
                  <a:pt x="4165420" y="1009145"/>
                  <a:pt x="4168498" y="1004835"/>
                </a:cubicBezTo>
                <a:cubicBezTo>
                  <a:pt x="4174004" y="997126"/>
                  <a:pt x="4180886" y="990245"/>
                  <a:pt x="4188595" y="984738"/>
                </a:cubicBezTo>
                <a:cubicBezTo>
                  <a:pt x="4192904" y="981660"/>
                  <a:pt x="4198643" y="981389"/>
                  <a:pt x="4203667" y="979714"/>
                </a:cubicBezTo>
                <a:cubicBezTo>
                  <a:pt x="4215390" y="971340"/>
                  <a:pt x="4226482" y="962005"/>
                  <a:pt x="4238836" y="954593"/>
                </a:cubicBezTo>
                <a:cubicBezTo>
                  <a:pt x="4251681" y="946886"/>
                  <a:pt x="4267047" y="943485"/>
                  <a:pt x="4279030" y="934497"/>
                </a:cubicBezTo>
                <a:cubicBezTo>
                  <a:pt x="4303363" y="916246"/>
                  <a:pt x="4291182" y="922072"/>
                  <a:pt x="4314199" y="914400"/>
                </a:cubicBezTo>
                <a:cubicBezTo>
                  <a:pt x="4319223" y="911051"/>
                  <a:pt x="4320723" y="905233"/>
                  <a:pt x="4329271" y="904352"/>
                </a:cubicBezTo>
                <a:cubicBezTo>
                  <a:pt x="4337819" y="903471"/>
                  <a:pt x="4338989" y="905801"/>
                  <a:pt x="4365487" y="909114"/>
                </a:cubicBezTo>
                <a:lnTo>
                  <a:pt x="4420492" y="946141"/>
                </a:lnTo>
                <a:cubicBezTo>
                  <a:pt x="4430671" y="961567"/>
                  <a:pt x="4449053" y="988925"/>
                  <a:pt x="4465709" y="1006955"/>
                </a:cubicBezTo>
                <a:cubicBezTo>
                  <a:pt x="4482365" y="1024985"/>
                  <a:pt x="4512235" y="1043865"/>
                  <a:pt x="4534713" y="1037650"/>
                </a:cubicBezTo>
                <a:cubicBezTo>
                  <a:pt x="4557191" y="1031435"/>
                  <a:pt x="4586250" y="982671"/>
                  <a:pt x="4600577" y="969666"/>
                </a:cubicBezTo>
                <a:cubicBezTo>
                  <a:pt x="4614904" y="956661"/>
                  <a:pt x="4614579" y="963970"/>
                  <a:pt x="4620674" y="959617"/>
                </a:cubicBezTo>
                <a:cubicBezTo>
                  <a:pt x="4626456" y="955487"/>
                  <a:pt x="4629964" y="948675"/>
                  <a:pt x="4635746" y="944545"/>
                </a:cubicBezTo>
                <a:cubicBezTo>
                  <a:pt x="4641841" y="940192"/>
                  <a:pt x="4649492" y="938466"/>
                  <a:pt x="4655843" y="934497"/>
                </a:cubicBezTo>
                <a:cubicBezTo>
                  <a:pt x="4662944" y="930059"/>
                  <a:pt x="4668973" y="924069"/>
                  <a:pt x="4675940" y="919424"/>
                </a:cubicBezTo>
                <a:cubicBezTo>
                  <a:pt x="4699336" y="903827"/>
                  <a:pt x="4715418" y="892006"/>
                  <a:pt x="4741254" y="884255"/>
                </a:cubicBezTo>
                <a:cubicBezTo>
                  <a:pt x="4749433" y="881801"/>
                  <a:pt x="4758091" y="881302"/>
                  <a:pt x="4766375" y="879231"/>
                </a:cubicBezTo>
                <a:cubicBezTo>
                  <a:pt x="4771513" y="877946"/>
                  <a:pt x="4772062" y="875087"/>
                  <a:pt x="4781447" y="874206"/>
                </a:cubicBezTo>
                <a:cubicBezTo>
                  <a:pt x="4790832" y="873325"/>
                  <a:pt x="4802590" y="875619"/>
                  <a:pt x="4822687" y="873944"/>
                </a:cubicBezTo>
                <a:cubicBezTo>
                  <a:pt x="4844459" y="875619"/>
                  <a:pt x="4861516" y="885542"/>
                  <a:pt x="4880858" y="895638"/>
                </a:cubicBezTo>
                <a:cubicBezTo>
                  <a:pt x="4900200" y="905734"/>
                  <a:pt x="4898260" y="907536"/>
                  <a:pt x="4938740" y="934523"/>
                </a:cubicBezTo>
                <a:cubicBezTo>
                  <a:pt x="4942090" y="939547"/>
                  <a:pt x="4983893" y="987173"/>
                  <a:pt x="4998795" y="1006746"/>
                </a:cubicBezTo>
                <a:cubicBezTo>
                  <a:pt x="5013698" y="1026319"/>
                  <a:pt x="5012018" y="1050336"/>
                  <a:pt x="5028155" y="1051963"/>
                </a:cubicBezTo>
                <a:cubicBezTo>
                  <a:pt x="5044292" y="1053590"/>
                  <a:pt x="5058779" y="1046248"/>
                  <a:pt x="5095616" y="1016506"/>
                </a:cubicBezTo>
                <a:cubicBezTo>
                  <a:pt x="5132453" y="986764"/>
                  <a:pt x="5131544" y="969993"/>
                  <a:pt x="5147715" y="948261"/>
                </a:cubicBezTo>
                <a:cubicBezTo>
                  <a:pt x="5163886" y="926529"/>
                  <a:pt x="5183351" y="902641"/>
                  <a:pt x="5192645" y="886112"/>
                </a:cubicBezTo>
                <a:cubicBezTo>
                  <a:pt x="5201019" y="877739"/>
                  <a:pt x="5217775" y="866762"/>
                  <a:pt x="5229672" y="856230"/>
                </a:cubicBezTo>
                <a:cubicBezTo>
                  <a:pt x="5241569" y="845698"/>
                  <a:pt x="5252530" y="832216"/>
                  <a:pt x="5264030" y="822918"/>
                </a:cubicBezTo>
                <a:cubicBezTo>
                  <a:pt x="5275531" y="813620"/>
                  <a:pt x="5286376" y="805111"/>
                  <a:pt x="5298675" y="800440"/>
                </a:cubicBezTo>
                <a:cubicBezTo>
                  <a:pt x="5310974" y="795769"/>
                  <a:pt x="5318341" y="790924"/>
                  <a:pt x="5337823" y="794893"/>
                </a:cubicBezTo>
                <a:cubicBezTo>
                  <a:pt x="5357305" y="798862"/>
                  <a:pt x="5399439" y="828618"/>
                  <a:pt x="5415567" y="824252"/>
                </a:cubicBezTo>
                <a:cubicBezTo>
                  <a:pt x="5431695" y="819886"/>
                  <a:pt x="5429745" y="780470"/>
                  <a:pt x="5434590" y="768699"/>
                </a:cubicBezTo>
                <a:cubicBezTo>
                  <a:pt x="5439435" y="756928"/>
                  <a:pt x="5441289" y="758650"/>
                  <a:pt x="5444639" y="753626"/>
                </a:cubicBezTo>
                <a:cubicBezTo>
                  <a:pt x="5449663" y="738554"/>
                  <a:pt x="5453811" y="723160"/>
                  <a:pt x="5459711" y="708409"/>
                </a:cubicBezTo>
                <a:cubicBezTo>
                  <a:pt x="5463060" y="700035"/>
                  <a:pt x="5467167" y="691926"/>
                  <a:pt x="5469759" y="683288"/>
                </a:cubicBezTo>
                <a:cubicBezTo>
                  <a:pt x="5474057" y="668962"/>
                  <a:pt x="5473179" y="656353"/>
                  <a:pt x="5479808" y="643094"/>
                </a:cubicBezTo>
                <a:cubicBezTo>
                  <a:pt x="5484175" y="634360"/>
                  <a:pt x="5491033" y="626949"/>
                  <a:pt x="5494880" y="617973"/>
                </a:cubicBezTo>
                <a:cubicBezTo>
                  <a:pt x="5501138" y="603370"/>
                  <a:pt x="5504053" y="587507"/>
                  <a:pt x="5509953" y="572756"/>
                </a:cubicBezTo>
                <a:cubicBezTo>
                  <a:pt x="5516652" y="556009"/>
                  <a:pt x="5524345" y="539626"/>
                  <a:pt x="5530049" y="522514"/>
                </a:cubicBezTo>
                <a:cubicBezTo>
                  <a:pt x="5542950" y="483813"/>
                  <a:pt x="5536164" y="502203"/>
                  <a:pt x="5550146" y="467248"/>
                </a:cubicBezTo>
                <a:cubicBezTo>
                  <a:pt x="5551790" y="457386"/>
                  <a:pt x="5557182" y="423028"/>
                  <a:pt x="5560195" y="411982"/>
                </a:cubicBezTo>
                <a:cubicBezTo>
                  <a:pt x="5562982" y="401763"/>
                  <a:pt x="5566623" y="391791"/>
                  <a:pt x="5570243" y="381837"/>
                </a:cubicBezTo>
                <a:cubicBezTo>
                  <a:pt x="5573325" y="373361"/>
                  <a:pt x="5576512" y="364905"/>
                  <a:pt x="5580291" y="356716"/>
                </a:cubicBezTo>
                <a:cubicBezTo>
                  <a:pt x="5586568" y="343116"/>
                  <a:pt x="5596273" y="330926"/>
                  <a:pt x="5600388" y="316523"/>
                </a:cubicBezTo>
                <a:cubicBezTo>
                  <a:pt x="5607087" y="293077"/>
                  <a:pt x="5614571" y="269841"/>
                  <a:pt x="5620485" y="246184"/>
                </a:cubicBezTo>
                <a:cubicBezTo>
                  <a:pt x="5622160" y="239485"/>
                  <a:pt x="5622421" y="232264"/>
                  <a:pt x="5625509" y="226088"/>
                </a:cubicBezTo>
                <a:cubicBezTo>
                  <a:pt x="5627627" y="221851"/>
                  <a:pt x="5632208" y="219389"/>
                  <a:pt x="5635557" y="216039"/>
                </a:cubicBezTo>
                <a:cubicBezTo>
                  <a:pt x="5637232" y="211015"/>
                  <a:pt x="5637319" y="205241"/>
                  <a:pt x="5640581" y="200967"/>
                </a:cubicBezTo>
                <a:cubicBezTo>
                  <a:pt x="5643843" y="196693"/>
                  <a:pt x="5649047" y="198241"/>
                  <a:pt x="5655131" y="190395"/>
                </a:cubicBezTo>
                <a:cubicBezTo>
                  <a:pt x="5661215" y="182549"/>
                  <a:pt x="5673736" y="158916"/>
                  <a:pt x="5677085" y="153892"/>
                </a:cubicBezTo>
                <a:cubicBezTo>
                  <a:pt x="5683272" y="135331"/>
                  <a:pt x="5720823" y="107963"/>
                  <a:pt x="5729995" y="89362"/>
                </a:cubicBezTo>
                <a:cubicBezTo>
                  <a:pt x="5739167" y="70761"/>
                  <a:pt x="5747501" y="52954"/>
                  <a:pt x="5732115" y="42287"/>
                </a:cubicBezTo>
                <a:cubicBezTo>
                  <a:pt x="5716729" y="31620"/>
                  <a:pt x="5669641" y="27869"/>
                  <a:pt x="5637677" y="25357"/>
                </a:cubicBezTo>
                <a:cubicBezTo>
                  <a:pt x="5605713" y="22845"/>
                  <a:pt x="5567652" y="24877"/>
                  <a:pt x="5540333" y="27214"/>
                </a:cubicBezTo>
                <a:cubicBezTo>
                  <a:pt x="5513014" y="29551"/>
                  <a:pt x="5500065" y="37309"/>
                  <a:pt x="5473762" y="39381"/>
                </a:cubicBezTo>
                <a:cubicBezTo>
                  <a:pt x="5447459" y="41453"/>
                  <a:pt x="5412932" y="39556"/>
                  <a:pt x="5382517" y="39644"/>
                </a:cubicBezTo>
                <a:cubicBezTo>
                  <a:pt x="5355669" y="40128"/>
                  <a:pt x="5336082" y="39819"/>
                  <a:pt x="5312675" y="42287"/>
                </a:cubicBezTo>
                <a:cubicBezTo>
                  <a:pt x="5289268" y="44755"/>
                  <a:pt x="5267196" y="52780"/>
                  <a:pt x="5242075" y="54455"/>
                </a:cubicBezTo>
                <a:cubicBezTo>
                  <a:pt x="5173411" y="52780"/>
                  <a:pt x="5148728" y="40080"/>
                  <a:pt x="5112285" y="37524"/>
                </a:cubicBezTo>
                <a:cubicBezTo>
                  <a:pt x="5075842" y="34968"/>
                  <a:pt x="5050529" y="38501"/>
                  <a:pt x="5023419" y="39120"/>
                </a:cubicBezTo>
                <a:cubicBezTo>
                  <a:pt x="4996309" y="39739"/>
                  <a:pt x="4982418" y="39386"/>
                  <a:pt x="4949626" y="41240"/>
                </a:cubicBezTo>
                <a:cubicBezTo>
                  <a:pt x="4916834" y="43094"/>
                  <a:pt x="4874611" y="53930"/>
                  <a:pt x="4826665" y="50242"/>
                </a:cubicBezTo>
                <a:cubicBezTo>
                  <a:pt x="4778098" y="51917"/>
                  <a:pt x="4763453" y="30573"/>
                  <a:pt x="4730970" y="29073"/>
                </a:cubicBezTo>
                <a:cubicBezTo>
                  <a:pt x="4698487" y="27573"/>
                  <a:pt x="4658835" y="38375"/>
                  <a:pt x="4631769" y="41240"/>
                </a:cubicBezTo>
                <a:cubicBezTo>
                  <a:pt x="4604703" y="44105"/>
                  <a:pt x="4592019" y="44589"/>
                  <a:pt x="4568573" y="46264"/>
                </a:cubicBezTo>
                <a:cubicBezTo>
                  <a:pt x="4534417" y="53095"/>
                  <a:pt x="4491855" y="42068"/>
                  <a:pt x="4420989" y="44406"/>
                </a:cubicBezTo>
                <a:cubicBezTo>
                  <a:pt x="4350123" y="46744"/>
                  <a:pt x="4265405" y="67468"/>
                  <a:pt x="4143377" y="60290"/>
                </a:cubicBezTo>
                <a:cubicBezTo>
                  <a:pt x="4051483" y="41912"/>
                  <a:pt x="4147495" y="59625"/>
                  <a:pt x="3922313" y="50242"/>
                </a:cubicBezTo>
                <a:cubicBezTo>
                  <a:pt x="3907161" y="49611"/>
                  <a:pt x="3892247" y="45876"/>
                  <a:pt x="3877096" y="45217"/>
                </a:cubicBezTo>
                <a:cubicBezTo>
                  <a:pt x="3815167" y="42524"/>
                  <a:pt x="3753166" y="41868"/>
                  <a:pt x="3691201" y="40193"/>
                </a:cubicBezTo>
                <a:cubicBezTo>
                  <a:pt x="3682827" y="38518"/>
                  <a:pt x="3674365" y="37240"/>
                  <a:pt x="3666080" y="35169"/>
                </a:cubicBezTo>
                <a:cubicBezTo>
                  <a:pt x="3654252" y="32212"/>
                  <a:pt x="3643001" y="26698"/>
                  <a:pt x="3630911" y="25121"/>
                </a:cubicBezTo>
                <a:cubicBezTo>
                  <a:pt x="3604289" y="21649"/>
                  <a:pt x="3577320" y="21772"/>
                  <a:pt x="3550524" y="20097"/>
                </a:cubicBezTo>
                <a:lnTo>
                  <a:pt x="3314388" y="25121"/>
                </a:lnTo>
                <a:cubicBezTo>
                  <a:pt x="3299232" y="25662"/>
                  <a:pt x="3284294" y="29025"/>
                  <a:pt x="3269170" y="30145"/>
                </a:cubicBezTo>
                <a:cubicBezTo>
                  <a:pt x="3239061" y="32375"/>
                  <a:pt x="3208880" y="33494"/>
                  <a:pt x="3178735" y="35169"/>
                </a:cubicBezTo>
                <a:cubicBezTo>
                  <a:pt x="2958755" y="62666"/>
                  <a:pt x="3110868" y="45217"/>
                  <a:pt x="2585882" y="45217"/>
                </a:cubicBezTo>
                <a:cubicBezTo>
                  <a:pt x="2477012" y="45217"/>
                  <a:pt x="2368168" y="41868"/>
                  <a:pt x="2259311" y="40193"/>
                </a:cubicBezTo>
                <a:cubicBezTo>
                  <a:pt x="2117679" y="26030"/>
                  <a:pt x="2293271" y="42272"/>
                  <a:pt x="1977957" y="30145"/>
                </a:cubicBezTo>
                <a:cubicBezTo>
                  <a:pt x="1967778" y="29753"/>
                  <a:pt x="1957966" y="25933"/>
                  <a:pt x="1947812" y="25121"/>
                </a:cubicBezTo>
                <a:cubicBezTo>
                  <a:pt x="1916050" y="22580"/>
                  <a:pt x="1884173" y="21772"/>
                  <a:pt x="1852353" y="20097"/>
                </a:cubicBezTo>
                <a:cubicBezTo>
                  <a:pt x="1827528" y="15959"/>
                  <a:pt x="1796125" y="10048"/>
                  <a:pt x="1771966" y="10048"/>
                </a:cubicBezTo>
                <a:cubicBezTo>
                  <a:pt x="1693422" y="10048"/>
                  <a:pt x="1588136" y="15974"/>
                  <a:pt x="1505685" y="20097"/>
                </a:cubicBezTo>
                <a:cubicBezTo>
                  <a:pt x="1493962" y="21772"/>
                  <a:pt x="1482679" y="25034"/>
                  <a:pt x="1470515" y="25121"/>
                </a:cubicBezTo>
                <a:cubicBezTo>
                  <a:pt x="1458351" y="25208"/>
                  <a:pt x="1460781" y="21239"/>
                  <a:pt x="1432703" y="20620"/>
                </a:cubicBezTo>
                <a:cubicBezTo>
                  <a:pt x="1404625" y="20001"/>
                  <a:pt x="1410323" y="9374"/>
                  <a:pt x="1302049" y="21404"/>
                </a:cubicBezTo>
                <a:lnTo>
                  <a:pt x="1113013" y="16119"/>
                </a:lnTo>
                <a:cubicBezTo>
                  <a:pt x="1059867" y="15901"/>
                  <a:pt x="1011509" y="21109"/>
                  <a:pt x="983170" y="20097"/>
                </a:cubicBezTo>
                <a:cubicBezTo>
                  <a:pt x="954831" y="19085"/>
                  <a:pt x="973853" y="13136"/>
                  <a:pt x="942977" y="10048"/>
                </a:cubicBezTo>
                <a:cubicBezTo>
                  <a:pt x="901184" y="5869"/>
                  <a:pt x="817373" y="0"/>
                  <a:pt x="817373" y="0"/>
                </a:cubicBezTo>
                <a:lnTo>
                  <a:pt x="747034" y="5024"/>
                </a:lnTo>
                <a:cubicBezTo>
                  <a:pt x="592100" y="13399"/>
                  <a:pt x="679327" y="4732"/>
                  <a:pt x="586260" y="15072"/>
                </a:cubicBezTo>
                <a:cubicBezTo>
                  <a:pt x="545861" y="13052"/>
                  <a:pt x="480556" y="11455"/>
                  <a:pt x="435535" y="5024"/>
                </a:cubicBezTo>
                <a:cubicBezTo>
                  <a:pt x="428700" y="4048"/>
                  <a:pt x="422138" y="1675"/>
                  <a:pt x="415439" y="0"/>
                </a:cubicBezTo>
                <a:lnTo>
                  <a:pt x="284810" y="10048"/>
                </a:lnTo>
                <a:cubicBezTo>
                  <a:pt x="277958" y="10904"/>
                  <a:pt x="271608" y="14689"/>
                  <a:pt x="264713" y="15072"/>
                </a:cubicBezTo>
                <a:cubicBezTo>
                  <a:pt x="211178" y="18046"/>
                  <a:pt x="157514" y="17954"/>
                  <a:pt x="103940" y="20097"/>
                </a:cubicBezTo>
                <a:cubicBezTo>
                  <a:pt x="12643" y="23749"/>
                  <a:pt x="25096" y="16616"/>
                  <a:pt x="8480" y="30145"/>
                </a:cubicBezTo>
                <a:close/>
              </a:path>
            </a:pathLst>
          </a:custGeom>
          <a:pattFill prst="wdUpDiag">
            <a:fgClr>
              <a:schemeClr val="tx2">
                <a:lumMod val="60000"/>
                <a:lumOff val="40000"/>
              </a:schemeClr>
            </a:fgClr>
            <a:bgClr>
              <a:schemeClr val="tx2">
                <a:lumMod val="50000"/>
              </a:schemeClr>
            </a:bgClr>
          </a:patt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endParaRPr lang="en-US" sz="1324"/>
          </a:p>
        </p:txBody>
      </p:sp>
      <p:grpSp>
        <p:nvGrpSpPr>
          <p:cNvPr id="203" name="Group 202"/>
          <p:cNvGrpSpPr/>
          <p:nvPr/>
        </p:nvGrpSpPr>
        <p:grpSpPr>
          <a:xfrm>
            <a:off x="135309" y="899336"/>
            <a:ext cx="2174564" cy="1019697"/>
            <a:chOff x="184029" y="1222662"/>
            <a:chExt cx="2957558" cy="1386859"/>
          </a:xfrm>
        </p:grpSpPr>
        <p:grpSp>
          <p:nvGrpSpPr>
            <p:cNvPr id="23" name="Group 22"/>
            <p:cNvGrpSpPr/>
            <p:nvPr/>
          </p:nvGrpSpPr>
          <p:grpSpPr>
            <a:xfrm>
              <a:off x="184029" y="1222662"/>
              <a:ext cx="2957558" cy="1051107"/>
              <a:chOff x="507451" y="1005764"/>
              <a:chExt cx="3479797" cy="1236709"/>
            </a:xfrm>
          </p:grpSpPr>
          <p:cxnSp>
            <p:nvCxnSpPr>
              <p:cNvPr id="4" name="Straight Arrow Connector 3"/>
              <p:cNvCxnSpPr/>
              <p:nvPr/>
            </p:nvCxnSpPr>
            <p:spPr bwMode="auto">
              <a:xfrm rot="16200000" flipV="1">
                <a:off x="362488" y="1542925"/>
                <a:ext cx="1074328" cy="5"/>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 name="Straight Arrow Connector 4"/>
              <p:cNvCxnSpPr/>
              <p:nvPr/>
            </p:nvCxnSpPr>
            <p:spPr bwMode="auto">
              <a:xfrm>
                <a:off x="899650" y="2067230"/>
                <a:ext cx="2856577" cy="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6" name="Text Placeholder 6"/>
              <p:cNvSpPr txBox="1">
                <a:spLocks/>
              </p:cNvSpPr>
              <p:nvPr/>
            </p:nvSpPr>
            <p:spPr bwMode="auto">
              <a:xfrm>
                <a:off x="3800089" y="1920011"/>
                <a:ext cx="187159" cy="25580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4047" eaLnBrk="0" fontAlgn="base" hangingPunct="0">
                  <a:spcBef>
                    <a:spcPct val="20000"/>
                  </a:spcBef>
                  <a:spcAft>
                    <a:spcPct val="0"/>
                  </a:spcAft>
                  <a:buClr>
                    <a:srgbClr val="000000"/>
                  </a:buClr>
                </a:pPr>
                <a:r>
                  <a:rPr lang="en-US" sz="1063" i="1" dirty="0">
                    <a:solidFill>
                      <a:schemeClr val="bg1"/>
                    </a:solidFill>
                  </a:rPr>
                  <a:t>t</a:t>
                </a:r>
              </a:p>
            </p:txBody>
          </p:sp>
          <p:sp>
            <p:nvSpPr>
              <p:cNvPr id="7" name="Rectangle 6"/>
              <p:cNvSpPr/>
              <p:nvPr/>
            </p:nvSpPr>
            <p:spPr>
              <a:xfrm rot="16200000">
                <a:off x="19419" y="1497942"/>
                <a:ext cx="1232563" cy="256500"/>
              </a:xfrm>
              <a:prstGeom prst="rect">
                <a:avLst/>
              </a:prstGeom>
              <a:ln>
                <a:noFill/>
              </a:ln>
            </p:spPr>
            <p:txBody>
              <a:bodyPr wrap="square" lIns="57140" tIns="28570" rIns="57140" bIns="28570">
                <a:spAutoFit/>
              </a:bodyPr>
              <a:lstStyle/>
              <a:p>
                <a:pPr marL="228512" indent="-228512" algn="ctr" defTabSz="914047" eaLnBrk="0" fontAlgn="base" hangingPunct="0">
                  <a:lnSpc>
                    <a:spcPts val="799"/>
                  </a:lnSpc>
                  <a:spcBef>
                    <a:spcPct val="20000"/>
                  </a:spcBef>
                  <a:spcAft>
                    <a:spcPct val="0"/>
                  </a:spcAft>
                  <a:buClr>
                    <a:srgbClr val="000000"/>
                  </a:buClr>
                </a:pPr>
                <a:r>
                  <a:rPr lang="en-US" sz="875" dirty="0">
                    <a:solidFill>
                      <a:schemeClr val="bg1"/>
                    </a:solidFill>
                  </a:rPr>
                  <a:t>Compute </a:t>
                </a:r>
              </a:p>
            </p:txBody>
          </p:sp>
          <p:cxnSp>
            <p:nvCxnSpPr>
              <p:cNvPr id="9" name="Straight Arrow Connector 8"/>
              <p:cNvCxnSpPr/>
              <p:nvPr/>
            </p:nvCxnSpPr>
            <p:spPr bwMode="auto">
              <a:xfrm flipV="1">
                <a:off x="899650" y="1668083"/>
                <a:ext cx="988523" cy="7718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 name="Straight Arrow Connector 9"/>
              <p:cNvCxnSpPr/>
              <p:nvPr/>
            </p:nvCxnSpPr>
            <p:spPr bwMode="auto">
              <a:xfrm flipV="1">
                <a:off x="2890475" y="1668083"/>
                <a:ext cx="865753" cy="9589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2" name="Straight Connector 11"/>
              <p:cNvCxnSpPr/>
              <p:nvPr/>
            </p:nvCxnSpPr>
            <p:spPr bwMode="auto">
              <a:xfrm rot="5400000" flipH="1" flipV="1">
                <a:off x="2379588" y="1556149"/>
                <a:ext cx="1023652" cy="1878"/>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sp>
            <p:nvSpPr>
              <p:cNvPr id="13" name="Rectangle 12"/>
              <p:cNvSpPr/>
              <p:nvPr/>
            </p:nvSpPr>
            <p:spPr>
              <a:xfrm>
                <a:off x="1828362" y="1232936"/>
                <a:ext cx="999160" cy="707971"/>
              </a:xfrm>
              <a:prstGeom prst="rect">
                <a:avLst/>
              </a:prstGeom>
              <a:ln>
                <a:noFill/>
              </a:ln>
            </p:spPr>
            <p:txBody>
              <a:bodyPr wrap="square" lIns="57140" tIns="28570" rIns="57140" bIns="28570">
                <a:spAutoFit/>
              </a:bodyPr>
              <a:lstStyle/>
              <a:p>
                <a:pPr marL="228512" indent="-228512" algn="ctr" defTabSz="914047" eaLnBrk="0" fontAlgn="base" hangingPunct="0">
                  <a:lnSpc>
                    <a:spcPts val="799"/>
                  </a:lnSpc>
                  <a:spcBef>
                    <a:spcPct val="20000"/>
                  </a:spcBef>
                  <a:spcAft>
                    <a:spcPct val="0"/>
                  </a:spcAft>
                  <a:buClr>
                    <a:srgbClr val="000000"/>
                  </a:buClr>
                </a:pPr>
                <a:endParaRPr lang="en-US" sz="813" dirty="0">
                  <a:solidFill>
                    <a:schemeClr val="bg1"/>
                  </a:solidFill>
                </a:endParaRPr>
              </a:p>
              <a:p>
                <a:pPr marL="228512" indent="-228512" algn="ctr" defTabSz="914047" eaLnBrk="0" fontAlgn="base" hangingPunct="0">
                  <a:lnSpc>
                    <a:spcPts val="799"/>
                  </a:lnSpc>
                  <a:spcAft>
                    <a:spcPts val="600"/>
                  </a:spcAft>
                  <a:buClr>
                    <a:srgbClr val="000000"/>
                  </a:buClr>
                </a:pPr>
                <a:r>
                  <a:rPr lang="en-US" sz="813" dirty="0">
                    <a:solidFill>
                      <a:schemeClr val="bg1"/>
                    </a:solidFill>
                  </a:rPr>
                  <a:t>Inactivity</a:t>
                </a:r>
              </a:p>
              <a:p>
                <a:pPr marL="228512" indent="-228512" algn="ctr" defTabSz="914047" eaLnBrk="0" fontAlgn="base" hangingPunct="0">
                  <a:lnSpc>
                    <a:spcPts val="799"/>
                  </a:lnSpc>
                  <a:spcAft>
                    <a:spcPts val="600"/>
                  </a:spcAft>
                  <a:buClr>
                    <a:srgbClr val="000000"/>
                  </a:buClr>
                </a:pPr>
                <a:r>
                  <a:rPr lang="en-US" sz="813" dirty="0">
                    <a:solidFill>
                      <a:schemeClr val="bg1"/>
                    </a:solidFill>
                  </a:rPr>
                  <a:t>Period </a:t>
                </a:r>
              </a:p>
            </p:txBody>
          </p:sp>
          <p:cxnSp>
            <p:nvCxnSpPr>
              <p:cNvPr id="14" name="Straight Connector 13"/>
              <p:cNvCxnSpPr/>
              <p:nvPr/>
            </p:nvCxnSpPr>
            <p:spPr bwMode="auto">
              <a:xfrm rot="5400000" flipH="1" flipV="1">
                <a:off x="1317475" y="1556149"/>
                <a:ext cx="1023652" cy="1878"/>
              </a:xfrm>
              <a:prstGeom prst="line">
                <a:avLst/>
              </a:prstGeom>
              <a:ln w="19050">
                <a:solidFill>
                  <a:schemeClr val="tx1"/>
                </a:solidFill>
                <a:prstDash val="sysDot"/>
                <a:headEnd type="none" w="med" len="med"/>
                <a:tailEnd type="none" w="med" len="med"/>
              </a:ln>
              <a:effectLst/>
            </p:spPr>
            <p:style>
              <a:lnRef idx="3">
                <a:schemeClr val="accent3"/>
              </a:lnRef>
              <a:fillRef idx="0">
                <a:schemeClr val="accent3"/>
              </a:fillRef>
              <a:effectRef idx="2">
                <a:schemeClr val="accent3"/>
              </a:effectRef>
              <a:fontRef idx="minor">
                <a:schemeClr val="tx1"/>
              </a:fontRef>
            </p:style>
          </p:cxnSp>
        </p:grpSp>
        <p:sp>
          <p:nvSpPr>
            <p:cNvPr id="190" name="Rectangle 189"/>
            <p:cNvSpPr/>
            <p:nvPr/>
          </p:nvSpPr>
          <p:spPr bwMode="auto">
            <a:xfrm>
              <a:off x="523328" y="2159707"/>
              <a:ext cx="2394063" cy="449814"/>
            </a:xfrm>
            <a:prstGeom prst="rect">
              <a:avLst/>
            </a:prstGeom>
            <a:solidFill>
              <a:srgbClr val="C000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r>
                <a:rPr lang="en-US" sz="1029" dirty="0"/>
                <a:t>On and Off</a:t>
              </a:r>
              <a:endParaRPr lang="en-US" sz="1029" dirty="0"/>
            </a:p>
          </p:txBody>
        </p:sp>
      </p:grpSp>
      <p:grpSp>
        <p:nvGrpSpPr>
          <p:cNvPr id="204" name="Group 203"/>
          <p:cNvGrpSpPr/>
          <p:nvPr/>
        </p:nvGrpSpPr>
        <p:grpSpPr>
          <a:xfrm>
            <a:off x="2487836" y="885855"/>
            <a:ext cx="1246127" cy="1055151"/>
            <a:chOff x="3383629" y="1204328"/>
            <a:chExt cx="1694819" cy="1435078"/>
          </a:xfrm>
        </p:grpSpPr>
        <p:grpSp>
          <p:nvGrpSpPr>
            <p:cNvPr id="38" name="Group 37"/>
            <p:cNvGrpSpPr/>
            <p:nvPr/>
          </p:nvGrpSpPr>
          <p:grpSpPr>
            <a:xfrm>
              <a:off x="3383629" y="1204328"/>
              <a:ext cx="1694818" cy="949043"/>
              <a:chOff x="1122046" y="3079921"/>
              <a:chExt cx="1661305" cy="930519"/>
            </a:xfrm>
          </p:grpSpPr>
          <p:cxnSp>
            <p:nvCxnSpPr>
              <p:cNvPr id="30" name="Straight Arrow Connector 29"/>
              <p:cNvCxnSpPr/>
              <p:nvPr/>
            </p:nvCxnSpPr>
            <p:spPr bwMode="auto">
              <a:xfrm flipH="1" flipV="1">
                <a:off x="1127885" y="3079921"/>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31" name="Straight Arrow Connector 30"/>
              <p:cNvCxnSpPr/>
              <p:nvPr/>
            </p:nvCxnSpPr>
            <p:spPr bwMode="auto">
              <a:xfrm>
                <a:off x="1131363" y="3996754"/>
                <a:ext cx="1651988" cy="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37" name="Freeform 36"/>
              <p:cNvSpPr/>
              <p:nvPr/>
            </p:nvSpPr>
            <p:spPr>
              <a:xfrm>
                <a:off x="1122046" y="3212996"/>
                <a:ext cx="1570719" cy="781074"/>
              </a:xfrm>
              <a:custGeom>
                <a:avLst/>
                <a:gdLst>
                  <a:gd name="connsiteX0" fmla="*/ 0 w 3180080"/>
                  <a:gd name="connsiteY0" fmla="*/ 782320 h 912707"/>
                  <a:gd name="connsiteX1" fmla="*/ 1635760 w 3180080"/>
                  <a:gd name="connsiteY1" fmla="*/ 782320 h 912707"/>
                  <a:gd name="connsiteX2" fmla="*/ 3180080 w 3180080"/>
                  <a:gd name="connsiteY2" fmla="*/ 0 h 912707"/>
                  <a:gd name="connsiteX0" fmla="*/ 0 w 3159760"/>
                  <a:gd name="connsiteY0" fmla="*/ 881288 h 946481"/>
                  <a:gd name="connsiteX1" fmla="*/ 1615440 w 3159760"/>
                  <a:gd name="connsiteY1" fmla="*/ 782320 h 946481"/>
                  <a:gd name="connsiteX2" fmla="*/ 3159760 w 3159760"/>
                  <a:gd name="connsiteY2" fmla="*/ 0 h 946481"/>
                  <a:gd name="connsiteX0" fmla="*/ 0 w 3159760"/>
                  <a:gd name="connsiteY0" fmla="*/ 881288 h 929201"/>
                  <a:gd name="connsiteX1" fmla="*/ 1615440 w 3159760"/>
                  <a:gd name="connsiteY1" fmla="*/ 782320 h 929201"/>
                  <a:gd name="connsiteX2" fmla="*/ 3159760 w 3159760"/>
                  <a:gd name="connsiteY2" fmla="*/ 0 h 929201"/>
                  <a:gd name="connsiteX0" fmla="*/ 0 w 3149600"/>
                  <a:gd name="connsiteY0" fmla="*/ 991253 h 1001464"/>
                  <a:gd name="connsiteX1" fmla="*/ 1605280 w 3149600"/>
                  <a:gd name="connsiteY1" fmla="*/ 782320 h 1001464"/>
                  <a:gd name="connsiteX2" fmla="*/ 3149600 w 3149600"/>
                  <a:gd name="connsiteY2" fmla="*/ 0 h 1001464"/>
                  <a:gd name="connsiteX0" fmla="*/ 0 w 3149600"/>
                  <a:gd name="connsiteY0" fmla="*/ 991253 h 991253"/>
                  <a:gd name="connsiteX1" fmla="*/ 1605280 w 3149600"/>
                  <a:gd name="connsiteY1" fmla="*/ 782320 h 991253"/>
                  <a:gd name="connsiteX2" fmla="*/ 3149600 w 3149600"/>
                  <a:gd name="connsiteY2" fmla="*/ 0 h 991253"/>
                </a:gdLst>
                <a:ahLst/>
                <a:cxnLst>
                  <a:cxn ang="0">
                    <a:pos x="connsiteX0" y="connsiteY0"/>
                  </a:cxn>
                  <a:cxn ang="0">
                    <a:pos x="connsiteX1" y="connsiteY1"/>
                  </a:cxn>
                  <a:cxn ang="0">
                    <a:pos x="connsiteX2" y="connsiteY2"/>
                  </a:cxn>
                </a:cxnLst>
                <a:rect l="l" t="t" r="r" b="b"/>
                <a:pathLst>
                  <a:path w="3149600" h="991253">
                    <a:moveTo>
                      <a:pt x="0" y="991253"/>
                    </a:moveTo>
                    <a:cubicBezTo>
                      <a:pt x="623993" y="979471"/>
                      <a:pt x="1080347" y="947529"/>
                      <a:pt x="1605280" y="782320"/>
                    </a:cubicBezTo>
                    <a:cubicBezTo>
                      <a:pt x="2130213" y="617111"/>
                      <a:pt x="2642446" y="325966"/>
                      <a:pt x="3149600" y="0"/>
                    </a:cubicBezTo>
                  </a:path>
                </a:pathLst>
              </a:custGeom>
              <a:ln w="25400">
                <a:solidFill>
                  <a:schemeClr val="tx1"/>
                </a:solidFill>
                <a:headEnd type="none" w="med" len="med"/>
                <a:tailEnd type="triangle"/>
              </a:ln>
              <a:effectLst/>
            </p:spPr>
            <p:txBody>
              <a:bodyPr lIns="57140" tIns="28570" rIns="57140" bIns="28570" rtlCol="0" anchor="ctr"/>
              <a:lstStyle/>
              <a:p>
                <a:pPr algn="ctr" defTabSz="914085"/>
                <a:endParaRPr lang="en-US" sz="1813" dirty="0">
                  <a:solidFill>
                    <a:schemeClr val="bg1"/>
                  </a:solidFill>
                </a:endParaRPr>
              </a:p>
            </p:txBody>
          </p:sp>
        </p:grpSp>
        <p:sp>
          <p:nvSpPr>
            <p:cNvPr id="191" name="Rectangle 190"/>
            <p:cNvSpPr/>
            <p:nvPr/>
          </p:nvSpPr>
          <p:spPr bwMode="auto">
            <a:xfrm>
              <a:off x="3383630" y="2156109"/>
              <a:ext cx="1694818" cy="483297"/>
            </a:xfrm>
            <a:prstGeom prst="rect">
              <a:avLst/>
            </a:prstGeom>
            <a:solidFill>
              <a:srgbClr val="50505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r>
                <a:rPr lang="en-US" sz="1029" dirty="0"/>
                <a:t>Growing Fast</a:t>
              </a:r>
              <a:endParaRPr lang="en-US" sz="1029" dirty="0"/>
            </a:p>
          </p:txBody>
        </p:sp>
      </p:grpSp>
      <p:grpSp>
        <p:nvGrpSpPr>
          <p:cNvPr id="205" name="Group 204"/>
          <p:cNvGrpSpPr/>
          <p:nvPr/>
        </p:nvGrpSpPr>
        <p:grpSpPr>
          <a:xfrm>
            <a:off x="3987527" y="910656"/>
            <a:ext cx="1401641" cy="1030350"/>
            <a:chOff x="5423312" y="1238059"/>
            <a:chExt cx="1906329" cy="1401347"/>
          </a:xfrm>
        </p:grpSpPr>
        <p:grpSp>
          <p:nvGrpSpPr>
            <p:cNvPr id="73" name="Group 72"/>
            <p:cNvGrpSpPr/>
            <p:nvPr/>
          </p:nvGrpSpPr>
          <p:grpSpPr>
            <a:xfrm>
              <a:off x="5423312" y="1238059"/>
              <a:ext cx="1906329" cy="915312"/>
              <a:chOff x="4458340" y="4324282"/>
              <a:chExt cx="1906329" cy="915312"/>
            </a:xfrm>
          </p:grpSpPr>
          <p:cxnSp>
            <p:nvCxnSpPr>
              <p:cNvPr id="68" name="Straight Arrow Connector 67"/>
              <p:cNvCxnSpPr/>
              <p:nvPr/>
            </p:nvCxnSpPr>
            <p:spPr bwMode="auto">
              <a:xfrm flipH="1" flipV="1">
                <a:off x="4464407" y="4324282"/>
                <a:ext cx="4" cy="915312"/>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69" name="Straight Arrow Connector 68"/>
              <p:cNvCxnSpPr/>
              <p:nvPr/>
            </p:nvCxnSpPr>
            <p:spPr bwMode="auto">
              <a:xfrm>
                <a:off x="4464406" y="5228587"/>
                <a:ext cx="1900263" cy="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70" name="Straight Arrow Connector 69"/>
              <p:cNvCxnSpPr/>
              <p:nvPr/>
            </p:nvCxnSpPr>
            <p:spPr bwMode="auto">
              <a:xfrm>
                <a:off x="5710460" y="4930022"/>
                <a:ext cx="490521" cy="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71" name="Straight Connector 70"/>
              <p:cNvCxnSpPr/>
              <p:nvPr/>
            </p:nvCxnSpPr>
            <p:spPr bwMode="auto">
              <a:xfrm>
                <a:off x="4458340" y="4924863"/>
                <a:ext cx="540712" cy="0"/>
              </a:xfrm>
              <a:prstGeom prst="line">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72" name="Freeform 71"/>
              <p:cNvSpPr/>
              <p:nvPr/>
            </p:nvSpPr>
            <p:spPr>
              <a:xfrm>
                <a:off x="4999052" y="4430273"/>
                <a:ext cx="711408" cy="502179"/>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defTabSz="914085"/>
                <a:endParaRPr lang="en-US" sz="1813" dirty="0">
                  <a:solidFill>
                    <a:schemeClr val="bg1"/>
                  </a:solidFill>
                </a:endParaRPr>
              </a:p>
            </p:txBody>
          </p:sp>
        </p:grpSp>
        <p:sp>
          <p:nvSpPr>
            <p:cNvPr id="192" name="Rectangle 191"/>
            <p:cNvSpPr/>
            <p:nvPr/>
          </p:nvSpPr>
          <p:spPr bwMode="auto">
            <a:xfrm>
              <a:off x="5425405" y="2156109"/>
              <a:ext cx="1904236" cy="483297"/>
            </a:xfrm>
            <a:prstGeom prst="rect">
              <a:avLst/>
            </a:prstGeom>
            <a:solidFill>
              <a:srgbClr val="00188F"/>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r>
                <a:rPr lang="en-US" sz="1029" dirty="0"/>
                <a:t>Unpredictable Bursting</a:t>
              </a:r>
              <a:endParaRPr lang="en-US" sz="1029" dirty="0"/>
            </a:p>
          </p:txBody>
        </p:sp>
      </p:grpSp>
      <p:grpSp>
        <p:nvGrpSpPr>
          <p:cNvPr id="206" name="Group 205"/>
          <p:cNvGrpSpPr/>
          <p:nvPr/>
        </p:nvGrpSpPr>
        <p:grpSpPr>
          <a:xfrm>
            <a:off x="5667946" y="916594"/>
            <a:ext cx="1546317" cy="1024412"/>
            <a:chOff x="7708800" y="1246135"/>
            <a:chExt cx="2103098" cy="1393271"/>
          </a:xfrm>
        </p:grpSpPr>
        <p:grpSp>
          <p:nvGrpSpPr>
            <p:cNvPr id="99" name="Group 98"/>
            <p:cNvGrpSpPr/>
            <p:nvPr/>
          </p:nvGrpSpPr>
          <p:grpSpPr>
            <a:xfrm>
              <a:off x="7708800" y="1246135"/>
              <a:ext cx="2103098" cy="915313"/>
              <a:chOff x="8257345" y="1257699"/>
              <a:chExt cx="2103098" cy="915313"/>
            </a:xfrm>
          </p:grpSpPr>
          <p:cxnSp>
            <p:nvCxnSpPr>
              <p:cNvPr id="100" name="Straight Arrow Connector 99"/>
              <p:cNvCxnSpPr/>
              <p:nvPr/>
            </p:nvCxnSpPr>
            <p:spPr bwMode="auto">
              <a:xfrm flipV="1">
                <a:off x="8272892" y="1257699"/>
                <a:ext cx="0" cy="915313"/>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101" name="Straight Arrow Connector 100"/>
              <p:cNvCxnSpPr/>
              <p:nvPr/>
            </p:nvCxnSpPr>
            <p:spPr bwMode="auto">
              <a:xfrm>
                <a:off x="8257345" y="2160215"/>
                <a:ext cx="2103098" cy="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102" name="Freeform 101"/>
              <p:cNvSpPr/>
              <p:nvPr/>
            </p:nvSpPr>
            <p:spPr>
              <a:xfrm>
                <a:off x="8270757" y="1315169"/>
                <a:ext cx="2089686" cy="594626"/>
              </a:xfrm>
              <a:custGeom>
                <a:avLst/>
                <a:gdLst>
                  <a:gd name="connsiteX0" fmla="*/ 0 w 2190307"/>
                  <a:gd name="connsiteY0" fmla="*/ 689345 h 781494"/>
                  <a:gd name="connsiteX1" fmla="*/ 531628 w 2190307"/>
                  <a:gd name="connsiteY1" fmla="*/ 8861 h 781494"/>
                  <a:gd name="connsiteX2" fmla="*/ 967563 w 2190307"/>
                  <a:gd name="connsiteY2" fmla="*/ 742508 h 781494"/>
                  <a:gd name="connsiteX3" fmla="*/ 1435395 w 2190307"/>
                  <a:gd name="connsiteY3" fmla="*/ 8861 h 781494"/>
                  <a:gd name="connsiteX4" fmla="*/ 1828800 w 2190307"/>
                  <a:gd name="connsiteY4" fmla="*/ 721243 h 781494"/>
                  <a:gd name="connsiteX5" fmla="*/ 2190307 w 2190307"/>
                  <a:gd name="connsiteY5" fmla="*/ 370368 h 78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0307" h="781494">
                    <a:moveTo>
                      <a:pt x="0" y="689345"/>
                    </a:moveTo>
                    <a:cubicBezTo>
                      <a:pt x="185183" y="344672"/>
                      <a:pt x="370367" y="0"/>
                      <a:pt x="531628" y="8861"/>
                    </a:cubicBezTo>
                    <a:cubicBezTo>
                      <a:pt x="692889" y="17722"/>
                      <a:pt x="816935" y="742508"/>
                      <a:pt x="967563" y="742508"/>
                    </a:cubicBezTo>
                    <a:cubicBezTo>
                      <a:pt x="1118191" y="742508"/>
                      <a:pt x="1291856" y="12405"/>
                      <a:pt x="1435395" y="8861"/>
                    </a:cubicBezTo>
                    <a:cubicBezTo>
                      <a:pt x="1578934" y="5317"/>
                      <a:pt x="1702981" y="660992"/>
                      <a:pt x="1828800" y="721243"/>
                    </a:cubicBezTo>
                    <a:cubicBezTo>
                      <a:pt x="1954619" y="781494"/>
                      <a:pt x="2119423" y="430619"/>
                      <a:pt x="2190307" y="370368"/>
                    </a:cubicBezTo>
                  </a:path>
                </a:pathLst>
              </a:cu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defTabSz="914085"/>
                <a:endParaRPr lang="en-US" sz="1813" dirty="0">
                  <a:solidFill>
                    <a:schemeClr val="bg1"/>
                  </a:solidFill>
                </a:endParaRPr>
              </a:p>
            </p:txBody>
          </p:sp>
        </p:grpSp>
        <p:sp>
          <p:nvSpPr>
            <p:cNvPr id="193" name="Rectangle 192"/>
            <p:cNvSpPr/>
            <p:nvPr/>
          </p:nvSpPr>
          <p:spPr bwMode="auto">
            <a:xfrm>
              <a:off x="7713198" y="2156109"/>
              <a:ext cx="2083800" cy="483297"/>
            </a:xfrm>
            <a:prstGeom prst="rect">
              <a:avLst/>
            </a:prstGeom>
            <a:solidFill>
              <a:srgbClr val="7FBA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r>
                <a:rPr lang="en-US" sz="1029" dirty="0"/>
                <a:t>Predictable Bursting</a:t>
              </a:r>
              <a:endParaRPr lang="en-US" sz="1029" dirty="0"/>
            </a:p>
          </p:txBody>
        </p:sp>
      </p:grpSp>
      <p:grpSp>
        <p:nvGrpSpPr>
          <p:cNvPr id="3" name="Group 2"/>
          <p:cNvGrpSpPr/>
          <p:nvPr/>
        </p:nvGrpSpPr>
        <p:grpSpPr>
          <a:xfrm>
            <a:off x="7485321" y="885855"/>
            <a:ext cx="1249944" cy="1055151"/>
            <a:chOff x="10180555" y="1204328"/>
            <a:chExt cx="1700011" cy="1435078"/>
          </a:xfrm>
        </p:grpSpPr>
        <p:cxnSp>
          <p:nvCxnSpPr>
            <p:cNvPr id="97" name="Straight Arrow Connector 96"/>
            <p:cNvCxnSpPr/>
            <p:nvPr/>
          </p:nvCxnSpPr>
          <p:spPr>
            <a:xfrm>
              <a:off x="10182192" y="1485604"/>
              <a:ext cx="1522385" cy="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grpSp>
          <p:nvGrpSpPr>
            <p:cNvPr id="207" name="Group 206"/>
            <p:cNvGrpSpPr/>
            <p:nvPr/>
          </p:nvGrpSpPr>
          <p:grpSpPr>
            <a:xfrm>
              <a:off x="10180555" y="1204328"/>
              <a:ext cx="1700011" cy="1435078"/>
              <a:chOff x="10180555" y="1204328"/>
              <a:chExt cx="1700011" cy="1435078"/>
            </a:xfrm>
          </p:grpSpPr>
          <p:grpSp>
            <p:nvGrpSpPr>
              <p:cNvPr id="91" name="Group 90"/>
              <p:cNvGrpSpPr/>
              <p:nvPr/>
            </p:nvGrpSpPr>
            <p:grpSpPr>
              <a:xfrm>
                <a:off x="10191705" y="1204328"/>
                <a:ext cx="1688861" cy="949043"/>
                <a:chOff x="1127885" y="3079921"/>
                <a:chExt cx="1655466" cy="930519"/>
              </a:xfrm>
            </p:grpSpPr>
            <p:cxnSp>
              <p:nvCxnSpPr>
                <p:cNvPr id="93" name="Straight Arrow Connector 92"/>
                <p:cNvCxnSpPr/>
                <p:nvPr/>
              </p:nvCxnSpPr>
              <p:spPr bwMode="auto">
                <a:xfrm flipH="1" flipV="1">
                  <a:off x="1127885" y="3079921"/>
                  <a:ext cx="3478" cy="930519"/>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94" name="Straight Arrow Connector 93"/>
                <p:cNvCxnSpPr/>
                <p:nvPr/>
              </p:nvCxnSpPr>
              <p:spPr bwMode="auto">
                <a:xfrm>
                  <a:off x="1131363" y="3996754"/>
                  <a:ext cx="1651988" cy="0"/>
                </a:xfrm>
                <a:prstGeom prst="straightConnector1">
                  <a:avLst/>
                </a:prstGeom>
                <a:ln w="25400">
                  <a:solidFill>
                    <a:schemeClr val="tx1"/>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grpSp>
          <p:sp>
            <p:nvSpPr>
              <p:cNvPr id="194" name="Rectangle 193"/>
              <p:cNvSpPr/>
              <p:nvPr/>
            </p:nvSpPr>
            <p:spPr bwMode="auto">
              <a:xfrm>
                <a:off x="10180555" y="2156109"/>
                <a:ext cx="1700011" cy="483297"/>
              </a:xfrm>
              <a:prstGeom prst="rect">
                <a:avLst/>
              </a:prstGeom>
              <a:solidFill>
                <a:srgbClr val="0070C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r>
                  <a:rPr lang="en-US" sz="1029" dirty="0"/>
                  <a:t>24x7 Steady</a:t>
                </a:r>
                <a:endParaRPr lang="en-US" sz="1029" dirty="0"/>
              </a:p>
            </p:txBody>
          </p:sp>
        </p:grpSp>
      </p:grpSp>
      <p:sp>
        <p:nvSpPr>
          <p:cNvPr id="195" name="TextBox 194"/>
          <p:cNvSpPr txBox="1"/>
          <p:nvPr/>
        </p:nvSpPr>
        <p:spPr>
          <a:xfrm>
            <a:off x="2713863" y="2328010"/>
            <a:ext cx="879093" cy="584010"/>
          </a:xfrm>
          <a:prstGeom prst="rect">
            <a:avLst/>
          </a:prstGeom>
          <a:noFill/>
        </p:spPr>
        <p:txBody>
          <a:bodyPr wrap="none" lIns="134464" tIns="107571" rIns="134464" bIns="107571" rtlCol="0">
            <a:spAutoFit/>
          </a:bodyPr>
          <a:lstStyle/>
          <a:p>
            <a:pPr>
              <a:lnSpc>
                <a:spcPct val="90000"/>
              </a:lnSpc>
            </a:pPr>
            <a:r>
              <a:rPr lang="en-US" sz="1324" b="1" dirty="0">
                <a:solidFill>
                  <a:schemeClr val="bg1"/>
                </a:solidFill>
              </a:rPr>
              <a:t>Save </a:t>
            </a:r>
          </a:p>
          <a:p>
            <a:pPr>
              <a:lnSpc>
                <a:spcPct val="90000"/>
              </a:lnSpc>
            </a:pPr>
            <a:r>
              <a:rPr lang="en-US" sz="1324" b="1" dirty="0">
                <a:solidFill>
                  <a:schemeClr val="bg1"/>
                </a:solidFill>
              </a:rPr>
              <a:t>20-30%</a:t>
            </a:r>
          </a:p>
        </p:txBody>
      </p:sp>
      <p:sp>
        <p:nvSpPr>
          <p:cNvPr id="196" name="TextBox 195"/>
          <p:cNvSpPr txBox="1"/>
          <p:nvPr/>
        </p:nvSpPr>
        <p:spPr>
          <a:xfrm>
            <a:off x="3536982" y="3059818"/>
            <a:ext cx="879093" cy="584010"/>
          </a:xfrm>
          <a:prstGeom prst="rect">
            <a:avLst/>
          </a:prstGeom>
          <a:noFill/>
        </p:spPr>
        <p:txBody>
          <a:bodyPr wrap="none" lIns="134464" tIns="107571" rIns="134464" bIns="107571" rtlCol="0">
            <a:spAutoFit/>
          </a:bodyPr>
          <a:lstStyle/>
          <a:p>
            <a:pPr>
              <a:lnSpc>
                <a:spcPct val="90000"/>
              </a:lnSpc>
            </a:pPr>
            <a:r>
              <a:rPr lang="en-US" sz="1324" b="1" dirty="0">
                <a:solidFill>
                  <a:schemeClr val="bg1"/>
                </a:solidFill>
              </a:rPr>
              <a:t>Save </a:t>
            </a:r>
          </a:p>
          <a:p>
            <a:pPr>
              <a:lnSpc>
                <a:spcPct val="90000"/>
              </a:lnSpc>
            </a:pPr>
            <a:r>
              <a:rPr lang="en-US" sz="1324" b="1" dirty="0">
                <a:solidFill>
                  <a:schemeClr val="bg1"/>
                </a:solidFill>
              </a:rPr>
              <a:t>60-80%</a:t>
            </a:r>
          </a:p>
        </p:txBody>
      </p:sp>
      <p:grpSp>
        <p:nvGrpSpPr>
          <p:cNvPr id="210" name="Group 209"/>
          <p:cNvGrpSpPr/>
          <p:nvPr/>
        </p:nvGrpSpPr>
        <p:grpSpPr>
          <a:xfrm>
            <a:off x="201977" y="4005045"/>
            <a:ext cx="8740047" cy="656716"/>
            <a:chOff x="183262" y="4886168"/>
            <a:chExt cx="11887071" cy="893179"/>
          </a:xfrm>
        </p:grpSpPr>
        <p:sp>
          <p:nvSpPr>
            <p:cNvPr id="197" name="Rectangle 196"/>
            <p:cNvSpPr/>
            <p:nvPr/>
          </p:nvSpPr>
          <p:spPr bwMode="auto">
            <a:xfrm>
              <a:off x="184979" y="4886168"/>
              <a:ext cx="3481367" cy="440829"/>
            </a:xfrm>
            <a:prstGeom prst="rect">
              <a:avLst/>
            </a:prstGeom>
            <a:solidFill>
              <a:srgbClr val="C000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r>
                <a:rPr lang="en-US" sz="1029" dirty="0"/>
                <a:t>On and Off </a:t>
              </a:r>
            </a:p>
            <a:p>
              <a:pPr algn="ctr"/>
              <a:r>
                <a:rPr lang="en-US" sz="1029" dirty="0"/>
                <a:t>(30%)</a:t>
              </a:r>
              <a:endParaRPr lang="en-US" sz="1029" dirty="0"/>
            </a:p>
          </p:txBody>
        </p:sp>
        <p:sp>
          <p:nvSpPr>
            <p:cNvPr id="198" name="Rectangle 197"/>
            <p:cNvSpPr/>
            <p:nvPr/>
          </p:nvSpPr>
          <p:spPr bwMode="auto">
            <a:xfrm>
              <a:off x="3666346" y="4886928"/>
              <a:ext cx="2052173" cy="440070"/>
            </a:xfrm>
            <a:prstGeom prst="rect">
              <a:avLst/>
            </a:prstGeom>
            <a:solidFill>
              <a:srgbClr val="50505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r>
                <a:rPr lang="en-US" sz="1029" dirty="0"/>
                <a:t>Growing Fast </a:t>
              </a:r>
            </a:p>
            <a:p>
              <a:pPr algn="ctr"/>
              <a:r>
                <a:rPr lang="en-US" sz="1029" dirty="0"/>
                <a:t>(15%)</a:t>
              </a:r>
              <a:endParaRPr lang="en-US" sz="1029" dirty="0"/>
            </a:p>
          </p:txBody>
        </p:sp>
        <p:sp>
          <p:nvSpPr>
            <p:cNvPr id="199" name="Rectangle 198"/>
            <p:cNvSpPr/>
            <p:nvPr/>
          </p:nvSpPr>
          <p:spPr bwMode="auto">
            <a:xfrm>
              <a:off x="5723313" y="4886927"/>
              <a:ext cx="2872337" cy="440070"/>
            </a:xfrm>
            <a:prstGeom prst="rect">
              <a:avLst/>
            </a:prstGeom>
            <a:solidFill>
              <a:srgbClr val="00188F"/>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r>
                <a:rPr lang="en-US" sz="1029" dirty="0"/>
                <a:t>Unpredictable Bursting</a:t>
              </a:r>
            </a:p>
            <a:p>
              <a:pPr algn="ctr"/>
              <a:r>
                <a:rPr lang="en-US" sz="1029" dirty="0"/>
                <a:t>(25%)</a:t>
              </a:r>
              <a:endParaRPr lang="en-US" sz="1029" dirty="0"/>
            </a:p>
          </p:txBody>
        </p:sp>
        <p:sp>
          <p:nvSpPr>
            <p:cNvPr id="200" name="Rectangle 199"/>
            <p:cNvSpPr/>
            <p:nvPr/>
          </p:nvSpPr>
          <p:spPr bwMode="auto">
            <a:xfrm>
              <a:off x="8595649" y="4886928"/>
              <a:ext cx="2173801" cy="427274"/>
            </a:xfrm>
            <a:prstGeom prst="rect">
              <a:avLst/>
            </a:prstGeom>
            <a:solidFill>
              <a:srgbClr val="7FBA0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r>
                <a:rPr lang="en-US" sz="1029" dirty="0"/>
                <a:t>Predictable Bursting</a:t>
              </a:r>
            </a:p>
            <a:p>
              <a:pPr algn="ctr"/>
              <a:r>
                <a:rPr lang="en-US" sz="1029" dirty="0"/>
                <a:t>(20%)</a:t>
              </a:r>
              <a:endParaRPr lang="en-US" sz="1029" dirty="0"/>
            </a:p>
          </p:txBody>
        </p:sp>
        <p:sp>
          <p:nvSpPr>
            <p:cNvPr id="201" name="Rectangle 200"/>
            <p:cNvSpPr/>
            <p:nvPr/>
          </p:nvSpPr>
          <p:spPr bwMode="auto">
            <a:xfrm>
              <a:off x="10779819" y="4886927"/>
              <a:ext cx="1280146" cy="430314"/>
            </a:xfrm>
            <a:prstGeom prst="rect">
              <a:avLst/>
            </a:prstGeom>
            <a:solidFill>
              <a:srgbClr val="0070C0"/>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7232" tIns="33616" rIns="67232" bIns="33616" numCol="1" spcCol="0" rtlCol="0" fromWordArt="0" anchor="ctr" anchorCtr="0" forceAA="0" compatLnSpc="1">
              <a:prstTxWarp prst="textNoShape">
                <a:avLst/>
              </a:prstTxWarp>
              <a:noAutofit/>
            </a:bodyPr>
            <a:lstStyle/>
            <a:p>
              <a:pPr algn="ctr"/>
              <a:r>
                <a:rPr lang="en-US" sz="1029" dirty="0"/>
                <a:t>24x7 Steady</a:t>
              </a:r>
            </a:p>
            <a:p>
              <a:pPr algn="ctr"/>
              <a:r>
                <a:rPr lang="en-US" sz="1029" dirty="0"/>
                <a:t>(10%)</a:t>
              </a:r>
              <a:endParaRPr lang="en-US" sz="1029" dirty="0"/>
            </a:p>
          </p:txBody>
        </p:sp>
        <p:sp>
          <p:nvSpPr>
            <p:cNvPr id="98" name="Rectangle 97"/>
            <p:cNvSpPr/>
            <p:nvPr/>
          </p:nvSpPr>
          <p:spPr bwMode="auto">
            <a:xfrm>
              <a:off x="183262" y="5322152"/>
              <a:ext cx="11887071" cy="457195"/>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ctr" anchorCtr="0" forceAA="0" compatLnSpc="1">
              <a:prstTxWarp prst="textNoShape">
                <a:avLst/>
              </a:prstTxWarp>
              <a:noAutofit/>
            </a:bodyPr>
            <a:lstStyle/>
            <a:p>
              <a:pPr algn="ctr" defTabSz="685647" fontAlgn="base">
                <a:lnSpc>
                  <a:spcPct val="90000"/>
                </a:lnSpc>
                <a:spcBef>
                  <a:spcPct val="0"/>
                </a:spcBef>
                <a:spcAft>
                  <a:spcPct val="0"/>
                </a:spcAft>
              </a:pPr>
              <a:r>
                <a:rPr lang="en-US" sz="1324" dirty="0">
                  <a:gradFill>
                    <a:gsLst>
                      <a:gs pos="0">
                        <a:srgbClr val="FFFFFF"/>
                      </a:gs>
                      <a:gs pos="100000">
                        <a:srgbClr val="FFFFFF"/>
                      </a:gs>
                    </a:gsLst>
                    <a:lin ang="5400000" scaled="0"/>
                  </a:gradFill>
                  <a:ea typeface="Segoe UI" pitchFamily="34" charset="0"/>
                  <a:cs typeface="Segoe UI" pitchFamily="34" charset="0"/>
                </a:rPr>
                <a:t>Your Application Portfolio – What Does it Look Like..?</a:t>
              </a:r>
            </a:p>
          </p:txBody>
        </p:sp>
      </p:grpSp>
      <p:pic>
        <p:nvPicPr>
          <p:cNvPr id="74" name="Picture 73"/>
          <p:cNvPicPr>
            <a:picLocks noChangeAspect="1"/>
          </p:cNvPicPr>
          <p:nvPr/>
        </p:nvPicPr>
        <p:blipFill>
          <a:blip r:embed="rId3"/>
          <a:stretch>
            <a:fillRect/>
          </a:stretch>
        </p:blipFill>
        <p:spPr>
          <a:xfrm>
            <a:off x="6521703" y="113582"/>
            <a:ext cx="2474498" cy="369658"/>
          </a:xfrm>
          <a:prstGeom prst="rect">
            <a:avLst/>
          </a:prstGeom>
        </p:spPr>
      </p:pic>
      <p:sp>
        <p:nvSpPr>
          <p:cNvPr id="75" name="Rectangle 74"/>
          <p:cNvSpPr/>
          <p:nvPr/>
        </p:nvSpPr>
        <p:spPr bwMode="auto">
          <a:xfrm>
            <a:off x="6814498" y="42503"/>
            <a:ext cx="1455213" cy="490353"/>
          </a:xfrm>
          <a:prstGeom prst="rect">
            <a:avLst/>
          </a:prstGeom>
          <a:no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4"/>
          </a:p>
        </p:txBody>
      </p:sp>
    </p:spTree>
    <p:extLst>
      <p:ext uri="{BB962C8B-B14F-4D97-AF65-F5344CB8AC3E}">
        <p14:creationId xmlns:p14="http://schemas.microsoft.com/office/powerpoint/2010/main" val="133951091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3"/>
                                        </p:tgtEl>
                                        <p:attrNameLst>
                                          <p:attrName>style.visibility</p:attrName>
                                        </p:attrNameLst>
                                      </p:cBhvr>
                                      <p:to>
                                        <p:strVal val="visible"/>
                                      </p:to>
                                    </p:set>
                                    <p:animEffect transition="in" filter="fade">
                                      <p:cBhvr>
                                        <p:cTn id="7" dur="250"/>
                                        <p:tgtEl>
                                          <p:spTgt spid="203"/>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204"/>
                                        </p:tgtEl>
                                        <p:attrNameLst>
                                          <p:attrName>style.visibility</p:attrName>
                                        </p:attrNameLst>
                                      </p:cBhvr>
                                      <p:to>
                                        <p:strVal val="visible"/>
                                      </p:to>
                                    </p:set>
                                    <p:animEffect transition="in" filter="fade">
                                      <p:cBhvr>
                                        <p:cTn id="11" dur="250"/>
                                        <p:tgtEl>
                                          <p:spTgt spid="204"/>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05"/>
                                        </p:tgtEl>
                                        <p:attrNameLst>
                                          <p:attrName>style.visibility</p:attrName>
                                        </p:attrNameLst>
                                      </p:cBhvr>
                                      <p:to>
                                        <p:strVal val="visible"/>
                                      </p:to>
                                    </p:set>
                                    <p:animEffect transition="in" filter="fade">
                                      <p:cBhvr>
                                        <p:cTn id="15" dur="250"/>
                                        <p:tgtEl>
                                          <p:spTgt spid="205"/>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06"/>
                                        </p:tgtEl>
                                        <p:attrNameLst>
                                          <p:attrName>style.visibility</p:attrName>
                                        </p:attrNameLst>
                                      </p:cBhvr>
                                      <p:to>
                                        <p:strVal val="visible"/>
                                      </p:to>
                                    </p:set>
                                    <p:animEffect transition="in" filter="fade">
                                      <p:cBhvr>
                                        <p:cTn id="19" dur="250"/>
                                        <p:tgtEl>
                                          <p:spTgt spid="206"/>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250"/>
                                        <p:tgtEl>
                                          <p:spTgt spid="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3"/>
                                        </p:tgtEl>
                                        <p:attrNameLst>
                                          <p:attrName>style.visibility</p:attrName>
                                        </p:attrNameLst>
                                      </p:cBhvr>
                                      <p:to>
                                        <p:strVal val="visible"/>
                                      </p:to>
                                    </p:set>
                                    <p:animEffect transition="in" filter="fade">
                                      <p:cBhvr>
                                        <p:cTn id="28" dur="500"/>
                                        <p:tgtEl>
                                          <p:spTgt spid="83"/>
                                        </p:tgtEl>
                                      </p:cBhvr>
                                    </p:animEffect>
                                  </p:childTnLst>
                                </p:cTn>
                              </p:par>
                            </p:childTnLst>
                          </p:cTn>
                        </p:par>
                        <p:par>
                          <p:cTn id="29" fill="hold">
                            <p:stCondLst>
                              <p:cond delay="500"/>
                            </p:stCondLst>
                            <p:childTnLst>
                              <p:par>
                                <p:cTn id="30" presetID="22" presetClass="entr" presetSubtype="8" fill="hold" grpId="0" nodeType="afterEffect">
                                  <p:stCondLst>
                                    <p:cond delay="0"/>
                                  </p:stCondLst>
                                  <p:childTnLst>
                                    <p:set>
                                      <p:cBhvr>
                                        <p:cTn id="31" dur="1" fill="hold">
                                          <p:stCondLst>
                                            <p:cond delay="0"/>
                                          </p:stCondLst>
                                        </p:cTn>
                                        <p:tgtEl>
                                          <p:spTgt spid="104"/>
                                        </p:tgtEl>
                                        <p:attrNameLst>
                                          <p:attrName>style.visibility</p:attrName>
                                        </p:attrNameLst>
                                      </p:cBhvr>
                                      <p:to>
                                        <p:strVal val="visible"/>
                                      </p:to>
                                    </p:set>
                                    <p:animEffect transition="in" filter="wipe(left)">
                                      <p:cBhvr>
                                        <p:cTn id="32" dur="500"/>
                                        <p:tgtEl>
                                          <p:spTgt spid="104"/>
                                        </p:tgtEl>
                                      </p:cBhvr>
                                    </p:animEffect>
                                  </p:childTnLst>
                                </p:cTn>
                              </p:par>
                            </p:childTnLst>
                          </p:cTn>
                        </p:par>
                        <p:par>
                          <p:cTn id="33" fill="hold">
                            <p:stCondLst>
                              <p:cond delay="1000"/>
                            </p:stCondLst>
                            <p:childTnLst>
                              <p:par>
                                <p:cTn id="34" presetID="22" presetClass="entr" presetSubtype="8" fill="hold" nodeType="afterEffect">
                                  <p:stCondLst>
                                    <p:cond delay="0"/>
                                  </p:stCondLst>
                                  <p:childTnLst>
                                    <p:set>
                                      <p:cBhvr>
                                        <p:cTn id="35" dur="1" fill="hold">
                                          <p:stCondLst>
                                            <p:cond delay="0"/>
                                          </p:stCondLst>
                                        </p:cTn>
                                        <p:tgtEl>
                                          <p:spTgt spid="208"/>
                                        </p:tgtEl>
                                        <p:attrNameLst>
                                          <p:attrName>style.visibility</p:attrName>
                                        </p:attrNameLst>
                                      </p:cBhvr>
                                      <p:to>
                                        <p:strVal val="visible"/>
                                      </p:to>
                                    </p:set>
                                    <p:animEffect transition="in" filter="wipe(left)">
                                      <p:cBhvr>
                                        <p:cTn id="36" dur="500"/>
                                        <p:tgtEl>
                                          <p:spTgt spid="208"/>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168"/>
                                        </p:tgtEl>
                                        <p:attrNameLst>
                                          <p:attrName>style.visibility</p:attrName>
                                        </p:attrNameLst>
                                      </p:cBhvr>
                                      <p:to>
                                        <p:strVal val="visible"/>
                                      </p:to>
                                    </p:set>
                                    <p:animEffect transition="in" filter="wipe(left)">
                                      <p:cBhvr>
                                        <p:cTn id="41" dur="500"/>
                                        <p:tgtEl>
                                          <p:spTgt spid="168"/>
                                        </p:tgtEl>
                                      </p:cBhvr>
                                    </p:animEffect>
                                  </p:childTnLst>
                                </p:cTn>
                              </p:par>
                            </p:childTnLst>
                          </p:cTn>
                        </p:par>
                        <p:par>
                          <p:cTn id="42" fill="hold">
                            <p:stCondLst>
                              <p:cond delay="500"/>
                            </p:stCondLst>
                            <p:childTnLst>
                              <p:par>
                                <p:cTn id="43" presetID="10" presetClass="entr" presetSubtype="0" fill="hold" grpId="0" nodeType="afterEffect">
                                  <p:stCondLst>
                                    <p:cond delay="0"/>
                                  </p:stCondLst>
                                  <p:childTnLst>
                                    <p:set>
                                      <p:cBhvr>
                                        <p:cTn id="44" dur="1" fill="hold">
                                          <p:stCondLst>
                                            <p:cond delay="0"/>
                                          </p:stCondLst>
                                        </p:cTn>
                                        <p:tgtEl>
                                          <p:spTgt spid="195"/>
                                        </p:tgtEl>
                                        <p:attrNameLst>
                                          <p:attrName>style.visibility</p:attrName>
                                        </p:attrNameLst>
                                      </p:cBhvr>
                                      <p:to>
                                        <p:strVal val="visible"/>
                                      </p:to>
                                    </p:set>
                                    <p:animEffect transition="in" filter="fade">
                                      <p:cBhvr>
                                        <p:cTn id="45" dur="500"/>
                                        <p:tgtEl>
                                          <p:spTgt spid="195"/>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170"/>
                                        </p:tgtEl>
                                        <p:attrNameLst>
                                          <p:attrName>style.visibility</p:attrName>
                                        </p:attrNameLst>
                                      </p:cBhvr>
                                      <p:to>
                                        <p:strVal val="visible"/>
                                      </p:to>
                                    </p:set>
                                    <p:animEffect transition="in" filter="wipe(left)">
                                      <p:cBhvr>
                                        <p:cTn id="50" dur="500"/>
                                        <p:tgtEl>
                                          <p:spTgt spid="170"/>
                                        </p:tgtEl>
                                      </p:cBhvr>
                                    </p:animEffect>
                                  </p:childTnLst>
                                </p:cTn>
                              </p:par>
                            </p:childTnLst>
                          </p:cTn>
                        </p:par>
                        <p:par>
                          <p:cTn id="51" fill="hold">
                            <p:stCondLst>
                              <p:cond delay="500"/>
                            </p:stCondLst>
                            <p:childTnLst>
                              <p:par>
                                <p:cTn id="52" presetID="22" presetClass="entr" presetSubtype="8" fill="hold" grpId="0" nodeType="afterEffect">
                                  <p:stCondLst>
                                    <p:cond delay="0"/>
                                  </p:stCondLst>
                                  <p:childTnLst>
                                    <p:set>
                                      <p:cBhvr>
                                        <p:cTn id="53" dur="1" fill="hold">
                                          <p:stCondLst>
                                            <p:cond delay="0"/>
                                          </p:stCondLst>
                                        </p:cTn>
                                        <p:tgtEl>
                                          <p:spTgt spid="179"/>
                                        </p:tgtEl>
                                        <p:attrNameLst>
                                          <p:attrName>style.visibility</p:attrName>
                                        </p:attrNameLst>
                                      </p:cBhvr>
                                      <p:to>
                                        <p:strVal val="visible"/>
                                      </p:to>
                                    </p:set>
                                    <p:animEffect transition="in" filter="wipe(left)">
                                      <p:cBhvr>
                                        <p:cTn id="54" dur="500"/>
                                        <p:tgtEl>
                                          <p:spTgt spid="179"/>
                                        </p:tgtEl>
                                      </p:cBhvr>
                                    </p:animEffect>
                                  </p:childTnLst>
                                </p:cTn>
                              </p:par>
                            </p:childTnLst>
                          </p:cTn>
                        </p:par>
                        <p:par>
                          <p:cTn id="55" fill="hold">
                            <p:stCondLst>
                              <p:cond delay="1000"/>
                            </p:stCondLst>
                            <p:childTnLst>
                              <p:par>
                                <p:cTn id="56" presetID="22" presetClass="entr" presetSubtype="8" fill="hold" nodeType="afterEffect">
                                  <p:stCondLst>
                                    <p:cond delay="0"/>
                                  </p:stCondLst>
                                  <p:childTnLst>
                                    <p:set>
                                      <p:cBhvr>
                                        <p:cTn id="57" dur="1" fill="hold">
                                          <p:stCondLst>
                                            <p:cond delay="0"/>
                                          </p:stCondLst>
                                        </p:cTn>
                                        <p:tgtEl>
                                          <p:spTgt spid="209"/>
                                        </p:tgtEl>
                                        <p:attrNameLst>
                                          <p:attrName>style.visibility</p:attrName>
                                        </p:attrNameLst>
                                      </p:cBhvr>
                                      <p:to>
                                        <p:strVal val="visible"/>
                                      </p:to>
                                    </p:set>
                                    <p:animEffect transition="in" filter="wipe(left)">
                                      <p:cBhvr>
                                        <p:cTn id="58" dur="500"/>
                                        <p:tgtEl>
                                          <p:spTgt spid="209"/>
                                        </p:tgtEl>
                                      </p:cBhvr>
                                    </p:animEffect>
                                  </p:childTnLst>
                                </p:cTn>
                              </p:par>
                            </p:childTnLst>
                          </p:cTn>
                        </p:par>
                        <p:par>
                          <p:cTn id="59" fill="hold">
                            <p:stCondLst>
                              <p:cond delay="1500"/>
                            </p:stCondLst>
                            <p:childTnLst>
                              <p:par>
                                <p:cTn id="60" presetID="22" presetClass="entr" presetSubtype="8" fill="hold" grpId="0" nodeType="afterEffect">
                                  <p:stCondLst>
                                    <p:cond delay="0"/>
                                  </p:stCondLst>
                                  <p:childTnLst>
                                    <p:set>
                                      <p:cBhvr>
                                        <p:cTn id="61" dur="1" fill="hold">
                                          <p:stCondLst>
                                            <p:cond delay="0"/>
                                          </p:stCondLst>
                                        </p:cTn>
                                        <p:tgtEl>
                                          <p:spTgt spid="189"/>
                                        </p:tgtEl>
                                        <p:attrNameLst>
                                          <p:attrName>style.visibility</p:attrName>
                                        </p:attrNameLst>
                                      </p:cBhvr>
                                      <p:to>
                                        <p:strVal val="visible"/>
                                      </p:to>
                                    </p:set>
                                    <p:animEffect transition="in" filter="wipe(left)">
                                      <p:cBhvr>
                                        <p:cTn id="62" dur="500"/>
                                        <p:tgtEl>
                                          <p:spTgt spid="189"/>
                                        </p:tgtEl>
                                      </p:cBhvr>
                                    </p:animEffect>
                                  </p:childTnLst>
                                </p:cTn>
                              </p:par>
                            </p:childTnLst>
                          </p:cTn>
                        </p:par>
                        <p:par>
                          <p:cTn id="63" fill="hold">
                            <p:stCondLst>
                              <p:cond delay="2000"/>
                            </p:stCondLst>
                            <p:childTnLst>
                              <p:par>
                                <p:cTn id="64" presetID="10" presetClass="entr" presetSubtype="0" fill="hold" grpId="0" nodeType="afterEffect">
                                  <p:stCondLst>
                                    <p:cond delay="0"/>
                                  </p:stCondLst>
                                  <p:childTnLst>
                                    <p:set>
                                      <p:cBhvr>
                                        <p:cTn id="65" dur="1" fill="hold">
                                          <p:stCondLst>
                                            <p:cond delay="0"/>
                                          </p:stCondLst>
                                        </p:cTn>
                                        <p:tgtEl>
                                          <p:spTgt spid="196"/>
                                        </p:tgtEl>
                                        <p:attrNameLst>
                                          <p:attrName>style.visibility</p:attrName>
                                        </p:attrNameLst>
                                      </p:cBhvr>
                                      <p:to>
                                        <p:strVal val="visible"/>
                                      </p:to>
                                    </p:set>
                                    <p:animEffect transition="in" filter="fade">
                                      <p:cBhvr>
                                        <p:cTn id="66" dur="500"/>
                                        <p:tgtEl>
                                          <p:spTgt spid="196"/>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210"/>
                                        </p:tgtEl>
                                        <p:attrNameLst>
                                          <p:attrName>style.visibility</p:attrName>
                                        </p:attrNameLst>
                                      </p:cBhvr>
                                      <p:to>
                                        <p:strVal val="visible"/>
                                      </p:to>
                                    </p:set>
                                    <p:animEffect transition="in" filter="fade">
                                      <p:cBhvr>
                                        <p:cTn id="71" dur="500"/>
                                        <p:tgtEl>
                                          <p:spTgt spid="2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P spid="168" grpId="0" animBg="1"/>
      <p:bldP spid="179" grpId="0" animBg="1"/>
      <p:bldP spid="189" grpId="0" animBg="1"/>
      <p:bldP spid="195" grpId="0"/>
      <p:bldP spid="19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ilience and Scale</a:t>
            </a:r>
            <a:endParaRPr lang="en-US" dirty="0"/>
          </a:p>
        </p:txBody>
      </p:sp>
      <p:sp>
        <p:nvSpPr>
          <p:cNvPr id="3" name="Text Placeholder 2"/>
          <p:cNvSpPr>
            <a:spLocks noGrp="1"/>
          </p:cNvSpPr>
          <p:nvPr>
            <p:ph type="body" sz="quarter" idx="15"/>
          </p:nvPr>
        </p:nvSpPr>
        <p:spPr/>
        <p:txBody>
          <a:bodyPr/>
          <a:lstStyle/>
          <a:p>
            <a:r>
              <a:rPr lang="en-US" dirty="0" smtClean="0"/>
              <a:t>Everything is designed to Fail… because resources are plentiful</a:t>
            </a:r>
            <a:endParaRPr lang="en-US" dirty="0"/>
          </a:p>
        </p:txBody>
      </p:sp>
      <p:pic>
        <p:nvPicPr>
          <p:cNvPr id="4" name="Picture 3"/>
          <p:cNvPicPr>
            <a:picLocks noChangeAspect="1"/>
          </p:cNvPicPr>
          <p:nvPr/>
        </p:nvPicPr>
        <p:blipFill>
          <a:blip r:embed="rId3"/>
          <a:stretch>
            <a:fillRect/>
          </a:stretch>
        </p:blipFill>
        <p:spPr>
          <a:xfrm>
            <a:off x="6521703" y="113582"/>
            <a:ext cx="2474498" cy="369658"/>
          </a:xfrm>
          <a:prstGeom prst="rect">
            <a:avLst/>
          </a:prstGeom>
        </p:spPr>
      </p:pic>
      <p:sp>
        <p:nvSpPr>
          <p:cNvPr id="5" name="Rectangle 4"/>
          <p:cNvSpPr/>
          <p:nvPr/>
        </p:nvSpPr>
        <p:spPr bwMode="auto">
          <a:xfrm flipH="1">
            <a:off x="8135250" y="42503"/>
            <a:ext cx="941236" cy="490353"/>
          </a:xfrm>
          <a:prstGeom prst="rect">
            <a:avLst/>
          </a:prstGeom>
          <a:noFill/>
          <a:ln w="571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4"/>
          </a:p>
        </p:txBody>
      </p:sp>
      <p:sp>
        <p:nvSpPr>
          <p:cNvPr id="6" name="Text Placeholder 2"/>
          <p:cNvSpPr txBox="1">
            <a:spLocks/>
          </p:cNvSpPr>
          <p:nvPr/>
        </p:nvSpPr>
        <p:spPr>
          <a:xfrm>
            <a:off x="201930" y="1360614"/>
            <a:ext cx="8740142" cy="1539267"/>
          </a:xfrm>
          <a:prstGeom prst="rect">
            <a:avLst/>
          </a:prstGeom>
        </p:spPr>
        <p:txBody>
          <a:bodyPr/>
          <a:lstStyle>
            <a:lvl1pPr marL="342856" marR="0" indent="-342856" algn="l" defTabSz="932623"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4125" marR="0" indent="-241269" algn="l" defTabSz="93262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2868" dirty="0"/>
          </a:p>
        </p:txBody>
      </p:sp>
      <p:sp>
        <p:nvSpPr>
          <p:cNvPr id="7" name="Text Placeholder 2"/>
          <p:cNvSpPr txBox="1">
            <a:spLocks/>
          </p:cNvSpPr>
          <p:nvPr/>
        </p:nvSpPr>
        <p:spPr>
          <a:xfrm>
            <a:off x="201930" y="1327333"/>
            <a:ext cx="8740142" cy="1539267"/>
          </a:xfrm>
          <a:prstGeom prst="rect">
            <a:avLst/>
          </a:prstGeom>
        </p:spPr>
        <p:txBody>
          <a:bodyPr/>
          <a:lstStyle>
            <a:lvl1pPr marL="342856" marR="0" indent="-342856" algn="l" defTabSz="932623"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4125" marR="0" indent="-241269" algn="l" defTabSz="93262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9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68"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39" marR="0" indent="-228571" algn="l" defTabSz="93262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11"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024"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335"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648" indent="-233156" algn="l" defTabSz="93262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5" dirty="0"/>
              <a:t>Multiple instances of applications and application services</a:t>
            </a:r>
          </a:p>
          <a:p>
            <a:r>
              <a:rPr lang="en-US" sz="1765" dirty="0"/>
              <a:t>Instances provide BOTH scale and resilience </a:t>
            </a:r>
          </a:p>
          <a:p>
            <a:r>
              <a:rPr lang="en-US" sz="1765" dirty="0"/>
              <a:t>Instances and no resource constraints make change and deployments easy</a:t>
            </a:r>
          </a:p>
          <a:p>
            <a:r>
              <a:rPr lang="en-US" sz="1765" dirty="0"/>
              <a:t>Anything can fail but apps/services continue to work</a:t>
            </a:r>
          </a:p>
          <a:p>
            <a:r>
              <a:rPr lang="en-US" sz="1765" dirty="0"/>
              <a:t>The platform monitors, manages and recovers from failures</a:t>
            </a:r>
            <a:endParaRPr lang="en-US" sz="1765" dirty="0"/>
          </a:p>
        </p:txBody>
      </p:sp>
      <p:sp>
        <p:nvSpPr>
          <p:cNvPr id="71" name="TextBox 70"/>
          <p:cNvSpPr txBox="1"/>
          <p:nvPr/>
        </p:nvSpPr>
        <p:spPr>
          <a:xfrm>
            <a:off x="269208" y="2913425"/>
            <a:ext cx="3417990" cy="183384"/>
          </a:xfrm>
          <a:prstGeom prst="rect">
            <a:avLst/>
          </a:prstGeom>
          <a:noFill/>
        </p:spPr>
        <p:txBody>
          <a:bodyPr wrap="square" lIns="0" tIns="0" rIns="0" bIns="0" rtlCol="0">
            <a:spAutoFit/>
          </a:bodyPr>
          <a:lstStyle/>
          <a:p>
            <a:pPr>
              <a:lnSpc>
                <a:spcPct val="90000"/>
              </a:lnSpc>
              <a:spcBef>
                <a:spcPct val="20000"/>
              </a:spcBef>
              <a:buSzPct val="80000"/>
            </a:pPr>
            <a:r>
              <a:rPr lang="en-US" sz="1324" dirty="0">
                <a:solidFill>
                  <a:schemeClr val="bg1"/>
                </a:solidFill>
              </a:rPr>
              <a:t>An Example: Windows Azure Storage</a:t>
            </a:r>
            <a:endParaRPr lang="en-US" sz="1324" dirty="0">
              <a:solidFill>
                <a:schemeClr val="bg1"/>
              </a:solidFill>
            </a:endParaRPr>
          </a:p>
        </p:txBody>
      </p:sp>
      <p:pic>
        <p:nvPicPr>
          <p:cNvPr id="74" name="Picture 73"/>
          <p:cNvPicPr>
            <a:picLocks noChangeAspect="1"/>
          </p:cNvPicPr>
          <p:nvPr/>
        </p:nvPicPr>
        <p:blipFill>
          <a:blip r:embed="rId4"/>
          <a:stretch>
            <a:fillRect/>
          </a:stretch>
        </p:blipFill>
        <p:spPr>
          <a:xfrm>
            <a:off x="5575781" y="3176830"/>
            <a:ext cx="2626700" cy="1567002"/>
          </a:xfrm>
          <a:prstGeom prst="rect">
            <a:avLst/>
          </a:prstGeom>
        </p:spPr>
      </p:pic>
      <p:pic>
        <p:nvPicPr>
          <p:cNvPr id="75" name="Picture 74"/>
          <p:cNvPicPr>
            <a:picLocks noChangeAspect="1"/>
          </p:cNvPicPr>
          <p:nvPr/>
        </p:nvPicPr>
        <p:blipFill>
          <a:blip r:embed="rId5"/>
          <a:stretch>
            <a:fillRect/>
          </a:stretch>
        </p:blipFill>
        <p:spPr>
          <a:xfrm>
            <a:off x="3424385" y="3332511"/>
            <a:ext cx="2151396" cy="1299970"/>
          </a:xfrm>
          <a:prstGeom prst="rect">
            <a:avLst/>
          </a:prstGeom>
        </p:spPr>
      </p:pic>
      <p:pic>
        <p:nvPicPr>
          <p:cNvPr id="76" name="Picture 75"/>
          <p:cNvPicPr>
            <a:picLocks noChangeAspect="1"/>
          </p:cNvPicPr>
          <p:nvPr/>
        </p:nvPicPr>
        <p:blipFill>
          <a:blip r:embed="rId4"/>
          <a:stretch>
            <a:fillRect/>
          </a:stretch>
        </p:blipFill>
        <p:spPr>
          <a:xfrm>
            <a:off x="777812" y="3176830"/>
            <a:ext cx="2626700" cy="1567002"/>
          </a:xfrm>
          <a:prstGeom prst="rect">
            <a:avLst/>
          </a:prstGeom>
        </p:spPr>
      </p:pic>
    </p:spTree>
    <p:extLst>
      <p:ext uri="{BB962C8B-B14F-4D97-AF65-F5344CB8AC3E}">
        <p14:creationId xmlns:p14="http://schemas.microsoft.com/office/powerpoint/2010/main" val="6734421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1"/>
                                        </p:tgtEl>
                                        <p:attrNameLst>
                                          <p:attrName>style.visibility</p:attrName>
                                        </p:attrNameLst>
                                      </p:cBhvr>
                                      <p:to>
                                        <p:strVal val="visible"/>
                                      </p:to>
                                    </p:set>
                                    <p:animEffect transition="in" filter="fade">
                                      <p:cBhvr>
                                        <p:cTn id="12" dur="500"/>
                                        <p:tgtEl>
                                          <p:spTgt spid="71"/>
                                        </p:tgtEl>
                                      </p:cBhvr>
                                    </p:animEffect>
                                  </p:childTnLst>
                                </p:cTn>
                              </p:par>
                              <p:par>
                                <p:cTn id="13" presetID="10" presetClass="entr" presetSubtype="0" fill="hold" nodeType="withEffect">
                                  <p:stCondLst>
                                    <p:cond delay="0"/>
                                  </p:stCondLst>
                                  <p:childTnLst>
                                    <p:set>
                                      <p:cBhvr>
                                        <p:cTn id="14" dur="1" fill="hold">
                                          <p:stCondLst>
                                            <p:cond delay="0"/>
                                          </p:stCondLst>
                                        </p:cTn>
                                        <p:tgtEl>
                                          <p:spTgt spid="76"/>
                                        </p:tgtEl>
                                        <p:attrNameLst>
                                          <p:attrName>style.visibility</p:attrName>
                                        </p:attrNameLst>
                                      </p:cBhvr>
                                      <p:to>
                                        <p:strVal val="visible"/>
                                      </p:to>
                                    </p:set>
                                    <p:animEffect transition="in" filter="fade">
                                      <p:cBhvr>
                                        <p:cTn id="15" dur="500"/>
                                        <p:tgtEl>
                                          <p:spTgt spid="7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5"/>
                                        </p:tgtEl>
                                        <p:attrNameLst>
                                          <p:attrName>style.visibility</p:attrName>
                                        </p:attrNameLst>
                                      </p:cBhvr>
                                      <p:to>
                                        <p:strVal val="visible"/>
                                      </p:to>
                                    </p:set>
                                    <p:animEffect transition="in" filter="fade">
                                      <p:cBhvr>
                                        <p:cTn id="20" dur="500"/>
                                        <p:tgtEl>
                                          <p:spTgt spid="75"/>
                                        </p:tgtEl>
                                      </p:cBhvr>
                                    </p:animEffect>
                                  </p:childTnLst>
                                </p:cTn>
                              </p:par>
                              <p:par>
                                <p:cTn id="21" presetID="10" presetClass="entr" presetSubtype="0" fill="hold"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bwMode="auto">
          <a:xfrm>
            <a:off x="1840" y="3916372"/>
            <a:ext cx="9140322" cy="763179"/>
          </a:xfrm>
          <a:prstGeom prst="rect">
            <a:avLst/>
          </a:prstGeom>
          <a:solidFill>
            <a:schemeClr val="bg2"/>
          </a:solidFill>
          <a:ln w="15875">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68559" tIns="34280" rIns="68559" bIns="34280" numCol="1" rtlCol="0" anchor="ctr" anchorCtr="0" compatLnSpc="1">
            <a:prstTxWarp prst="textNoShape">
              <a:avLst/>
            </a:prstTxWarp>
          </a:bodyPr>
          <a:lstStyle/>
          <a:p>
            <a:pPr algn="ctr" defTabSz="685436"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3" name="TextBox 102"/>
          <p:cNvSpPr txBox="1"/>
          <p:nvPr/>
        </p:nvSpPr>
        <p:spPr>
          <a:xfrm>
            <a:off x="441481" y="4188973"/>
            <a:ext cx="824549" cy="214015"/>
          </a:xfrm>
          <a:prstGeom prst="rect">
            <a:avLst/>
          </a:prstGeom>
          <a:noFill/>
        </p:spPr>
        <p:txBody>
          <a:bodyPr wrap="none" lIns="68562" tIns="34281" rIns="68562" bIns="34281" rtlCol="0" anchor="ctr">
            <a:spAutoFit/>
          </a:bodyPr>
          <a:lstStyle/>
          <a:p>
            <a:pPr marL="3572" indent="-3572" algn="ctr">
              <a:lnSpc>
                <a:spcPct val="80000"/>
              </a:lnSpc>
            </a:pPr>
            <a:r>
              <a:rPr lang="en-US" sz="1176" dirty="0">
                <a:solidFill>
                  <a:schemeClr val="tx2"/>
                </a:solidFill>
                <a:ea typeface="Segoe UI" pitchFamily="34" charset="0"/>
                <a:cs typeface="Segoe UI" pitchFamily="34" charset="0"/>
              </a:rPr>
              <a:t>COMPUTE</a:t>
            </a:r>
          </a:p>
        </p:txBody>
      </p:sp>
      <p:sp>
        <p:nvSpPr>
          <p:cNvPr id="104" name="TextBox 103"/>
          <p:cNvSpPr txBox="1"/>
          <p:nvPr/>
        </p:nvSpPr>
        <p:spPr>
          <a:xfrm>
            <a:off x="1805414" y="4170891"/>
            <a:ext cx="779665" cy="250179"/>
          </a:xfrm>
          <a:prstGeom prst="rect">
            <a:avLst/>
          </a:prstGeom>
          <a:noFill/>
        </p:spPr>
        <p:txBody>
          <a:bodyPr wrap="none" lIns="68562" tIns="34281" rIns="68562" bIns="34281" rtlCol="0" anchor="ctr">
            <a:spAutoFit/>
          </a:bodyPr>
          <a:lstStyle/>
          <a:p>
            <a:pPr algn="ctr" defTabSz="457026"/>
            <a:r>
              <a:rPr lang="en-US" sz="1176" dirty="0">
                <a:solidFill>
                  <a:schemeClr val="tx2"/>
                </a:solidFill>
                <a:ea typeface="Segoe UI" pitchFamily="34" charset="0"/>
                <a:cs typeface="Segoe UI" pitchFamily="34" charset="0"/>
              </a:rPr>
              <a:t>STORAGE</a:t>
            </a:r>
          </a:p>
        </p:txBody>
      </p:sp>
      <p:sp>
        <p:nvSpPr>
          <p:cNvPr id="105" name="TextBox 104"/>
          <p:cNvSpPr txBox="1"/>
          <p:nvPr/>
        </p:nvSpPr>
        <p:spPr>
          <a:xfrm>
            <a:off x="3275649" y="4161034"/>
            <a:ext cx="1095456" cy="250179"/>
          </a:xfrm>
          <a:prstGeom prst="rect">
            <a:avLst/>
          </a:prstGeom>
          <a:noFill/>
        </p:spPr>
        <p:txBody>
          <a:bodyPr wrap="none" lIns="68562" tIns="34281" rIns="68562" bIns="34281" rtlCol="0" anchor="ctr">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r>
              <a:rPr lang="en-US" sz="1176" dirty="0">
                <a:solidFill>
                  <a:schemeClr val="tx2"/>
                </a:solidFill>
              </a:rPr>
              <a:t>NETWORKING</a:t>
            </a:r>
          </a:p>
        </p:txBody>
      </p:sp>
      <p:sp>
        <p:nvSpPr>
          <p:cNvPr id="106" name="TextBox 105"/>
          <p:cNvSpPr txBox="1"/>
          <p:nvPr/>
        </p:nvSpPr>
        <p:spPr>
          <a:xfrm>
            <a:off x="5088201" y="4080418"/>
            <a:ext cx="1090647" cy="431125"/>
          </a:xfrm>
          <a:prstGeom prst="rect">
            <a:avLst/>
          </a:prstGeom>
          <a:noFill/>
        </p:spPr>
        <p:txBody>
          <a:bodyPr wrap="none" lIns="68562" tIns="34281" rIns="68562" bIns="34281" rtlCol="0" anchor="ctr">
            <a:spAutoFit/>
          </a:bodyPr>
          <a:lstStyle/>
          <a:p>
            <a:pPr algn="ctr" defTabSz="457026"/>
            <a:r>
              <a:rPr lang="en-US" sz="1176" dirty="0">
                <a:solidFill>
                  <a:schemeClr val="tx2"/>
                </a:solidFill>
                <a:ea typeface="Segoe UI" pitchFamily="34" charset="0"/>
                <a:cs typeface="Segoe UI" pitchFamily="34" charset="0"/>
              </a:rPr>
              <a:t>BUSINESS</a:t>
            </a:r>
            <a:r>
              <a:rPr lang="en-US" sz="1176" spc="-15" dirty="0">
                <a:solidFill>
                  <a:schemeClr val="tx2"/>
                </a:solidFill>
                <a:effectLst>
                  <a:outerShdw blurRad="381000" algn="ctr" rotWithShape="0">
                    <a:prstClr val="white">
                      <a:alpha val="70000"/>
                    </a:prstClr>
                  </a:outerShdw>
                </a:effectLst>
                <a:latin typeface="Segoe Semibold" pitchFamily="34" charset="0"/>
              </a:rPr>
              <a:t/>
            </a:r>
            <a:br>
              <a:rPr lang="en-US" sz="1176" spc="-15" dirty="0">
                <a:solidFill>
                  <a:schemeClr val="tx2"/>
                </a:solidFill>
                <a:effectLst>
                  <a:outerShdw blurRad="381000" algn="ctr" rotWithShape="0">
                    <a:prstClr val="white">
                      <a:alpha val="70000"/>
                    </a:prstClr>
                  </a:outerShdw>
                </a:effectLst>
                <a:latin typeface="Segoe Semibold" pitchFamily="34" charset="0"/>
              </a:rPr>
            </a:br>
            <a:r>
              <a:rPr lang="en-US" sz="1176" dirty="0">
                <a:solidFill>
                  <a:schemeClr val="tx2"/>
                </a:solidFill>
                <a:ea typeface="Segoe UI" pitchFamily="34" charset="0"/>
                <a:cs typeface="Segoe UI" pitchFamily="34" charset="0"/>
              </a:rPr>
              <a:t>INTELLIGENCE</a:t>
            </a:r>
          </a:p>
        </p:txBody>
      </p:sp>
      <p:sp>
        <p:nvSpPr>
          <p:cNvPr id="107" name="TextBox 106"/>
          <p:cNvSpPr txBox="1"/>
          <p:nvPr/>
        </p:nvSpPr>
        <p:spPr>
          <a:xfrm>
            <a:off x="6829677" y="4169012"/>
            <a:ext cx="518375" cy="250179"/>
          </a:xfrm>
          <a:prstGeom prst="rect">
            <a:avLst/>
          </a:prstGeom>
          <a:noFill/>
        </p:spPr>
        <p:txBody>
          <a:bodyPr wrap="none" lIns="68562" tIns="34281" rIns="68562" bIns="34281" rtlCol="0" anchor="ctr">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r>
              <a:rPr lang="en-US" sz="1176" dirty="0">
                <a:solidFill>
                  <a:schemeClr val="tx2"/>
                </a:solidFill>
              </a:rPr>
              <a:t>DATA</a:t>
            </a:r>
          </a:p>
        </p:txBody>
      </p:sp>
      <p:sp>
        <p:nvSpPr>
          <p:cNvPr id="10" name="Title 9"/>
          <p:cNvSpPr>
            <a:spLocks noGrp="1"/>
          </p:cNvSpPr>
          <p:nvPr>
            <p:ph type="title"/>
          </p:nvPr>
        </p:nvSpPr>
        <p:spPr/>
        <p:txBody>
          <a:bodyPr/>
          <a:lstStyle/>
          <a:p>
            <a:r>
              <a:rPr lang="en-US" dirty="0" smtClean="0">
                <a:latin typeface="Segoe UI Light" pitchFamily="34" charset="0"/>
              </a:rPr>
              <a:t>Microsoft </a:t>
            </a:r>
            <a:r>
              <a:rPr lang="en-US" dirty="0" smtClean="0">
                <a:solidFill>
                  <a:schemeClr val="accent2">
                    <a:alpha val="99000"/>
                  </a:schemeClr>
                </a:solidFill>
              </a:rPr>
              <a:t>Differentiation</a:t>
            </a:r>
            <a:endParaRPr lang="en-US" dirty="0">
              <a:solidFill>
                <a:schemeClr val="accent2">
                  <a:alpha val="99000"/>
                </a:schemeClr>
              </a:solidFill>
            </a:endParaRPr>
          </a:p>
        </p:txBody>
      </p:sp>
      <p:sp>
        <p:nvSpPr>
          <p:cNvPr id="35" name="TextBox 34"/>
          <p:cNvSpPr txBox="1"/>
          <p:nvPr/>
        </p:nvSpPr>
        <p:spPr>
          <a:xfrm>
            <a:off x="8032906" y="4151657"/>
            <a:ext cx="361281" cy="250179"/>
          </a:xfrm>
          <a:prstGeom prst="rect">
            <a:avLst/>
          </a:prstGeom>
          <a:noFill/>
        </p:spPr>
        <p:txBody>
          <a:bodyPr wrap="none" lIns="68562" tIns="34281" rIns="68562" bIns="34281" rtlCol="0" anchor="ctr">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r>
              <a:rPr lang="en-US" sz="1176" dirty="0">
                <a:solidFill>
                  <a:schemeClr val="tx2"/>
                </a:solidFill>
              </a:rPr>
              <a:t>API</a:t>
            </a:r>
          </a:p>
        </p:txBody>
      </p:sp>
      <p:sp>
        <p:nvSpPr>
          <p:cNvPr id="80" name="Rectangle 79"/>
          <p:cNvSpPr/>
          <p:nvPr/>
        </p:nvSpPr>
        <p:spPr bwMode="auto">
          <a:xfrm>
            <a:off x="637121" y="1173257"/>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81" name="Rectangle 80"/>
          <p:cNvSpPr/>
          <p:nvPr/>
        </p:nvSpPr>
        <p:spPr bwMode="auto">
          <a:xfrm>
            <a:off x="1999404" y="1173257"/>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a:gradFill>
                <a:gsLst>
                  <a:gs pos="0">
                    <a:srgbClr val="FFFFFF"/>
                  </a:gs>
                  <a:gs pos="100000">
                    <a:srgbClr val="FFFFFF"/>
                  </a:gs>
                </a:gsLst>
                <a:lin ang="5400000" scaled="0"/>
              </a:gradFill>
              <a:latin typeface="Segoe UI"/>
            </a:endParaRPr>
          </a:p>
        </p:txBody>
      </p:sp>
      <p:sp>
        <p:nvSpPr>
          <p:cNvPr id="82" name="Rectangle 81"/>
          <p:cNvSpPr/>
          <p:nvPr/>
        </p:nvSpPr>
        <p:spPr bwMode="auto">
          <a:xfrm>
            <a:off x="3361688" y="1173257"/>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83" name="Rectangle 82"/>
          <p:cNvSpPr/>
          <p:nvPr/>
        </p:nvSpPr>
        <p:spPr bwMode="auto">
          <a:xfrm>
            <a:off x="637121" y="2502947"/>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84" name="Rectangle 83"/>
          <p:cNvSpPr/>
          <p:nvPr/>
        </p:nvSpPr>
        <p:spPr bwMode="auto">
          <a:xfrm>
            <a:off x="1999404" y="2502947"/>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85" name="Rectangle 84"/>
          <p:cNvSpPr/>
          <p:nvPr/>
        </p:nvSpPr>
        <p:spPr bwMode="auto">
          <a:xfrm>
            <a:off x="3361688" y="2502947"/>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86" name="TextBox 85"/>
          <p:cNvSpPr txBox="1"/>
          <p:nvPr/>
        </p:nvSpPr>
        <p:spPr>
          <a:xfrm rot="16200000">
            <a:off x="-348962" y="1772838"/>
            <a:ext cx="1548525" cy="328884"/>
          </a:xfrm>
          <a:prstGeom prst="rect">
            <a:avLst/>
          </a:prstGeom>
          <a:noFill/>
        </p:spPr>
        <p:txBody>
          <a:bodyPr wrap="square" lIns="89104" tIns="44551" rIns="89104" bIns="44551" rtlCol="0">
            <a:spAutoFit/>
          </a:bodyPr>
          <a:lstStyle/>
          <a:p>
            <a:pPr algn="r" defTabSz="456974">
              <a:lnSpc>
                <a:spcPct val="90000"/>
              </a:lnSpc>
              <a:spcBef>
                <a:spcPct val="0"/>
              </a:spcBef>
              <a:defRPr/>
            </a:pPr>
            <a:r>
              <a:rPr lang="en-US" sz="1725" dirty="0">
                <a:solidFill>
                  <a:prstClr val="black">
                    <a:alpha val="99000"/>
                  </a:prstClr>
                </a:solidFill>
                <a:latin typeface="Segoe UI Light" pitchFamily="34" charset="0"/>
              </a:rPr>
              <a:t>the cloud</a:t>
            </a:r>
            <a:endParaRPr lang="en-US" sz="1725" dirty="0">
              <a:solidFill>
                <a:srgbClr val="EE7816">
                  <a:alpha val="99000"/>
                </a:srgbClr>
              </a:solidFill>
              <a:latin typeface="Segoe UI Light" pitchFamily="34" charset="0"/>
            </a:endParaRPr>
          </a:p>
        </p:txBody>
      </p:sp>
      <p:pic>
        <p:nvPicPr>
          <p:cNvPr id="87" name="Picture 29" descr="money-stach"/>
          <p:cNvPicPr>
            <a:picLocks noChangeAspect="1" noChangeArrowheads="1"/>
          </p:cNvPicPr>
          <p:nvPr/>
        </p:nvPicPr>
        <p:blipFill>
          <a:blip r:embed="rId3" cstate="email"/>
          <a:srcRect/>
          <a:stretch>
            <a:fillRect/>
          </a:stretch>
        </p:blipFill>
        <p:spPr bwMode="auto">
          <a:xfrm>
            <a:off x="3756237" y="2578283"/>
            <a:ext cx="877146" cy="404053"/>
          </a:xfrm>
          <a:prstGeom prst="rect">
            <a:avLst/>
          </a:prstGeom>
          <a:noFill/>
          <a:ln w="9525">
            <a:noFill/>
            <a:miter lim="800000"/>
            <a:headEnd/>
            <a:tailEnd/>
          </a:ln>
        </p:spPr>
      </p:pic>
      <p:pic>
        <p:nvPicPr>
          <p:cNvPr id="88" name="Picture 30" descr="server"/>
          <p:cNvPicPr>
            <a:picLocks noChangeAspect="1" noChangeArrowheads="1"/>
          </p:cNvPicPr>
          <p:nvPr/>
        </p:nvPicPr>
        <p:blipFill>
          <a:blip r:embed="rId4"/>
          <a:srcRect/>
          <a:stretch>
            <a:fillRect/>
          </a:stretch>
        </p:blipFill>
        <p:spPr bwMode="auto">
          <a:xfrm>
            <a:off x="3934434" y="1273752"/>
            <a:ext cx="615638" cy="497129"/>
          </a:xfrm>
          <a:prstGeom prst="rect">
            <a:avLst/>
          </a:prstGeom>
          <a:noFill/>
          <a:ln w="9525">
            <a:noFill/>
            <a:miter lim="800000"/>
            <a:headEnd/>
            <a:tailEnd/>
          </a:ln>
        </p:spPr>
      </p:pic>
      <p:sp>
        <p:nvSpPr>
          <p:cNvPr id="89" name="Text Box 33"/>
          <p:cNvSpPr txBox="1">
            <a:spLocks noChangeArrowheads="1"/>
          </p:cNvSpPr>
          <p:nvPr/>
        </p:nvSpPr>
        <p:spPr bwMode="auto">
          <a:xfrm>
            <a:off x="3422114" y="2052614"/>
            <a:ext cx="809299" cy="230806"/>
          </a:xfrm>
          <a:prstGeom prst="rect">
            <a:avLst/>
          </a:prstGeom>
          <a:noFill/>
          <a:ln w="9525">
            <a:noFill/>
            <a:miter lim="800000"/>
            <a:headEnd/>
            <a:tailEnd/>
          </a:ln>
        </p:spPr>
        <p:txBody>
          <a:bodyPr lIns="57122" tIns="28562" rIns="57122" bIns="28562">
            <a:spAutoFit/>
          </a:bodyPr>
          <a:lstStyle>
            <a:defPPr>
              <a:defRPr lang="en-US"/>
            </a:defPPr>
            <a:lvl1pPr defTabSz="1306513">
              <a:defRPr sz="1400">
                <a:solidFill>
                  <a:schemeClr val="bg1"/>
                </a:solidFill>
                <a:latin typeface="Segoe" pitchFamily="34" charset="0"/>
              </a:defRPr>
            </a:lvl1pPr>
          </a:lstStyle>
          <a:p>
            <a:pPr defTabSz="816268">
              <a:defRPr/>
            </a:pPr>
            <a:r>
              <a:rPr lang="en-US" sz="1125" kern="0" dirty="0">
                <a:solidFill>
                  <a:sysClr val="window" lastClr="FFFFFF"/>
                </a:solidFill>
              </a:rPr>
              <a:t>managed</a:t>
            </a:r>
          </a:p>
        </p:txBody>
      </p:sp>
      <p:sp>
        <p:nvSpPr>
          <p:cNvPr id="90" name="Text Box 34"/>
          <p:cNvSpPr txBox="1">
            <a:spLocks noChangeArrowheads="1"/>
          </p:cNvSpPr>
          <p:nvPr/>
        </p:nvSpPr>
        <p:spPr bwMode="auto">
          <a:xfrm>
            <a:off x="2069816" y="2070954"/>
            <a:ext cx="854342" cy="230806"/>
          </a:xfrm>
          <a:prstGeom prst="rect">
            <a:avLst/>
          </a:prstGeom>
          <a:noFill/>
          <a:ln w="9525">
            <a:noFill/>
            <a:miter lim="800000"/>
            <a:headEnd/>
            <a:tailEnd/>
          </a:ln>
        </p:spPr>
        <p:txBody>
          <a:bodyPr lIns="57122" tIns="28562" rIns="57122" bIns="28562">
            <a:spAutoFit/>
          </a:bodyPr>
          <a:lstStyle>
            <a:defPPr>
              <a:defRPr lang="en-US"/>
            </a:defPPr>
            <a:lvl1pPr defTabSz="1306513">
              <a:defRPr sz="1400">
                <a:solidFill>
                  <a:schemeClr val="bg1"/>
                </a:solidFill>
                <a:latin typeface="Segoe" pitchFamily="34" charset="0"/>
              </a:defRPr>
            </a:lvl1pPr>
          </a:lstStyle>
          <a:p>
            <a:pPr defTabSz="816268">
              <a:defRPr/>
            </a:pPr>
            <a:r>
              <a:rPr lang="en-US" sz="1125" kern="0">
                <a:solidFill>
                  <a:sysClr val="window" lastClr="FFFFFF"/>
                </a:solidFill>
              </a:rPr>
              <a:t>automated</a:t>
            </a:r>
            <a:endParaRPr lang="en-US" sz="1125" kern="0" dirty="0">
              <a:solidFill>
                <a:sysClr val="window" lastClr="FFFFFF"/>
              </a:solidFill>
            </a:endParaRPr>
          </a:p>
        </p:txBody>
      </p:sp>
      <p:sp>
        <p:nvSpPr>
          <p:cNvPr id="91" name="Text Box 35"/>
          <p:cNvSpPr txBox="1">
            <a:spLocks noChangeArrowheads="1"/>
          </p:cNvSpPr>
          <p:nvPr/>
        </p:nvSpPr>
        <p:spPr bwMode="auto">
          <a:xfrm>
            <a:off x="692126" y="2070954"/>
            <a:ext cx="1157467" cy="230806"/>
          </a:xfrm>
          <a:prstGeom prst="rect">
            <a:avLst/>
          </a:prstGeom>
          <a:noFill/>
          <a:ln w="9525">
            <a:noFill/>
            <a:miter lim="800000"/>
            <a:headEnd/>
            <a:tailEnd/>
          </a:ln>
        </p:spPr>
        <p:txBody>
          <a:bodyPr wrap="square" lIns="57122" tIns="28562" rIns="57122" bIns="28562">
            <a:spAutoFit/>
          </a:bodyPr>
          <a:lstStyle/>
          <a:p>
            <a:pPr defTabSz="816268">
              <a:defRPr/>
            </a:pPr>
            <a:r>
              <a:rPr lang="en-US" sz="1125" kern="0">
                <a:solidFill>
                  <a:sysClr val="window" lastClr="FFFFFF"/>
                </a:solidFill>
                <a:latin typeface="Segoe" pitchFamily="34" charset="0"/>
              </a:rPr>
              <a:t>usage based</a:t>
            </a:r>
            <a:endParaRPr lang="en-US" sz="1125" kern="0" dirty="0">
              <a:solidFill>
                <a:sysClr val="window" lastClr="FFFFFF"/>
              </a:solidFill>
              <a:latin typeface="Segoe" pitchFamily="34" charset="0"/>
            </a:endParaRPr>
          </a:p>
        </p:txBody>
      </p:sp>
      <p:pic>
        <p:nvPicPr>
          <p:cNvPr id="92" name="Picture 32" descr="speed"/>
          <p:cNvPicPr>
            <a:picLocks noChangeAspect="1" noChangeArrowheads="1"/>
          </p:cNvPicPr>
          <p:nvPr/>
        </p:nvPicPr>
        <p:blipFill>
          <a:blip r:embed="rId5"/>
          <a:srcRect/>
          <a:stretch>
            <a:fillRect/>
          </a:stretch>
        </p:blipFill>
        <p:spPr bwMode="auto">
          <a:xfrm>
            <a:off x="1131553" y="1290060"/>
            <a:ext cx="656375" cy="357498"/>
          </a:xfrm>
          <a:prstGeom prst="rect">
            <a:avLst/>
          </a:prstGeom>
          <a:noFill/>
          <a:ln w="9525">
            <a:noFill/>
            <a:miter lim="800000"/>
            <a:headEnd/>
            <a:tailEnd/>
          </a:ln>
        </p:spPr>
      </p:pic>
      <p:sp>
        <p:nvSpPr>
          <p:cNvPr id="93" name="Left-Right Arrow 92"/>
          <p:cNvSpPr/>
          <p:nvPr/>
        </p:nvSpPr>
        <p:spPr>
          <a:xfrm>
            <a:off x="2502138" y="2692020"/>
            <a:ext cx="661507" cy="218375"/>
          </a:xfrm>
          <a:prstGeom prst="leftRightArrow">
            <a:avLst/>
          </a:prstGeom>
          <a:solidFill>
            <a:sysClr val="window" lastClr="FFFFFF"/>
          </a:solidFill>
          <a:ln w="25400" cap="flat" cmpd="sng" algn="ctr">
            <a:noFill/>
            <a:prstDash val="solid"/>
          </a:ln>
          <a:effectLst/>
        </p:spPr>
        <p:txBody>
          <a:bodyPr lIns="57126" tIns="28563" rIns="57126" bIns="28563" rtlCol="0" anchor="ctr"/>
          <a:lstStyle/>
          <a:p>
            <a:pPr algn="ctr" defTabSz="571289">
              <a:defRPr/>
            </a:pPr>
            <a:endParaRPr lang="en-US" sz="1125" kern="0">
              <a:solidFill>
                <a:sysClr val="window" lastClr="FFFFFF"/>
              </a:solidFill>
              <a:latin typeface="Segoe UI"/>
            </a:endParaRPr>
          </a:p>
        </p:txBody>
      </p:sp>
      <p:sp>
        <p:nvSpPr>
          <p:cNvPr id="95" name="Text Box 33"/>
          <p:cNvSpPr txBox="1">
            <a:spLocks noChangeArrowheads="1"/>
          </p:cNvSpPr>
          <p:nvPr/>
        </p:nvSpPr>
        <p:spPr bwMode="auto">
          <a:xfrm>
            <a:off x="3422114" y="3396996"/>
            <a:ext cx="809299" cy="230806"/>
          </a:xfrm>
          <a:prstGeom prst="rect">
            <a:avLst/>
          </a:prstGeom>
          <a:noFill/>
          <a:ln w="9525">
            <a:noFill/>
            <a:miter lim="800000"/>
            <a:headEnd/>
            <a:tailEnd/>
          </a:ln>
        </p:spPr>
        <p:txBody>
          <a:bodyPr lIns="57122" tIns="28562" rIns="57122" bIns="28562">
            <a:spAutoFit/>
          </a:bodyPr>
          <a:lstStyle>
            <a:defPPr>
              <a:defRPr lang="en-US"/>
            </a:defPPr>
            <a:lvl1pPr defTabSz="1306513">
              <a:defRPr sz="1400">
                <a:solidFill>
                  <a:schemeClr val="bg1"/>
                </a:solidFill>
                <a:latin typeface="Segoe" pitchFamily="34" charset="0"/>
              </a:defRPr>
            </a:lvl1pPr>
          </a:lstStyle>
          <a:p>
            <a:pPr defTabSz="816268">
              <a:defRPr/>
            </a:pPr>
            <a:r>
              <a:rPr lang="en-US" sz="1125" kern="0" dirty="0">
                <a:solidFill>
                  <a:sysClr val="window" lastClr="FFFFFF"/>
                </a:solidFill>
              </a:rPr>
              <a:t>economics</a:t>
            </a:r>
          </a:p>
        </p:txBody>
      </p:sp>
      <p:sp>
        <p:nvSpPr>
          <p:cNvPr id="96" name="Text Box 34"/>
          <p:cNvSpPr txBox="1">
            <a:spLocks noChangeArrowheads="1"/>
          </p:cNvSpPr>
          <p:nvPr/>
        </p:nvSpPr>
        <p:spPr bwMode="auto">
          <a:xfrm>
            <a:off x="2069816" y="3396997"/>
            <a:ext cx="854342" cy="230806"/>
          </a:xfrm>
          <a:prstGeom prst="rect">
            <a:avLst/>
          </a:prstGeom>
          <a:noFill/>
          <a:ln w="9525">
            <a:noFill/>
            <a:miter lim="800000"/>
            <a:headEnd/>
            <a:tailEnd/>
          </a:ln>
        </p:spPr>
        <p:txBody>
          <a:bodyPr lIns="57122" tIns="28562" rIns="57122" bIns="28562">
            <a:spAutoFit/>
          </a:bodyPr>
          <a:lstStyle>
            <a:defPPr>
              <a:defRPr lang="en-US"/>
            </a:defPPr>
            <a:lvl1pPr defTabSz="1306513">
              <a:defRPr sz="1400">
                <a:solidFill>
                  <a:schemeClr val="bg1"/>
                </a:solidFill>
                <a:latin typeface="Segoe" pitchFamily="34" charset="0"/>
              </a:defRPr>
            </a:lvl1pPr>
          </a:lstStyle>
          <a:p>
            <a:pPr defTabSz="816268">
              <a:defRPr/>
            </a:pPr>
            <a:r>
              <a:rPr lang="en-US" sz="1125" kern="0">
                <a:solidFill>
                  <a:sysClr val="window" lastClr="FFFFFF"/>
                </a:solidFill>
              </a:rPr>
              <a:t>elastic</a:t>
            </a:r>
            <a:endParaRPr lang="en-US" sz="1125" kern="0" dirty="0">
              <a:solidFill>
                <a:sysClr val="window" lastClr="FFFFFF"/>
              </a:solidFill>
            </a:endParaRPr>
          </a:p>
        </p:txBody>
      </p:sp>
      <p:sp>
        <p:nvSpPr>
          <p:cNvPr id="97" name="Text Box 35"/>
          <p:cNvSpPr txBox="1">
            <a:spLocks noChangeArrowheads="1"/>
          </p:cNvSpPr>
          <p:nvPr/>
        </p:nvSpPr>
        <p:spPr bwMode="auto">
          <a:xfrm>
            <a:off x="692125" y="3223895"/>
            <a:ext cx="809299" cy="403930"/>
          </a:xfrm>
          <a:prstGeom prst="rect">
            <a:avLst/>
          </a:prstGeom>
          <a:noFill/>
          <a:ln w="9525">
            <a:noFill/>
            <a:miter lim="800000"/>
            <a:headEnd/>
            <a:tailEnd/>
          </a:ln>
        </p:spPr>
        <p:txBody>
          <a:bodyPr lIns="57122" tIns="28562" rIns="57122" bIns="28562">
            <a:spAutoFit/>
          </a:bodyPr>
          <a:lstStyle/>
          <a:p>
            <a:pPr defTabSz="816268">
              <a:defRPr/>
            </a:pPr>
            <a:r>
              <a:rPr lang="en-US" sz="1125" kern="0">
                <a:solidFill>
                  <a:sysClr val="window" lastClr="FFFFFF"/>
                </a:solidFill>
                <a:latin typeface="Segoe" pitchFamily="34" charset="0"/>
              </a:rPr>
              <a:t>always up.</a:t>
            </a:r>
          </a:p>
          <a:p>
            <a:pPr defTabSz="816268">
              <a:defRPr/>
            </a:pPr>
            <a:r>
              <a:rPr lang="en-US" sz="1125" kern="0">
                <a:solidFill>
                  <a:sysClr val="window" lastClr="FFFFFF"/>
                </a:solidFill>
                <a:latin typeface="Segoe" pitchFamily="34" charset="0"/>
              </a:rPr>
              <a:t>always on.</a:t>
            </a:r>
            <a:endParaRPr lang="en-US" sz="1125" kern="0" dirty="0">
              <a:solidFill>
                <a:sysClr val="window" lastClr="FFFFFF"/>
              </a:solidFill>
              <a:latin typeface="Segoe" pitchFamily="34" charset="0"/>
            </a:endParaRPr>
          </a:p>
        </p:txBody>
      </p:sp>
      <p:sp>
        <p:nvSpPr>
          <p:cNvPr id="98" name="Circular Arrow 97"/>
          <p:cNvSpPr/>
          <p:nvPr/>
        </p:nvSpPr>
        <p:spPr bwMode="auto">
          <a:xfrm rot="3211654">
            <a:off x="2695596" y="1281603"/>
            <a:ext cx="433321" cy="433872"/>
          </a:xfrm>
          <a:prstGeom prst="circularArrow">
            <a:avLst/>
          </a:prstGeom>
          <a:solidFill>
            <a:sysClr val="window" lastClr="FFFFF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99" name="Circular Arrow 98"/>
          <p:cNvSpPr/>
          <p:nvPr/>
        </p:nvSpPr>
        <p:spPr bwMode="auto">
          <a:xfrm rot="13932142">
            <a:off x="2670336" y="1322318"/>
            <a:ext cx="433321" cy="382180"/>
          </a:xfrm>
          <a:prstGeom prst="circularArrow">
            <a:avLst/>
          </a:prstGeom>
          <a:solidFill>
            <a:sysClr val="window" lastClr="FFFFF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pic>
        <p:nvPicPr>
          <p:cNvPr id="100" name="Picture 99"/>
          <p:cNvPicPr>
            <a:picLocks noChangeAspect="1"/>
          </p:cNvPicPr>
          <p:nvPr/>
        </p:nvPicPr>
        <p:blipFill>
          <a:blip r:embed="rId6" cstate="screen">
            <a:lum bright="70000" contrast="-70000"/>
            <a:extLst>
              <a:ext uri="{BEBA8EAE-BF5A-486C-A8C5-ECC9F3942E4B}">
                <a14:imgProps xmlns:a14="http://schemas.microsoft.com/office/drawing/2010/main">
                  <a14:imgLayer r:embed="rId7">
                    <a14:imgEffect>
                      <a14:brightnessContrast bright="-40000"/>
                    </a14:imgEffect>
                  </a14:imgLayer>
                </a14:imgProps>
              </a:ext>
              <a:ext uri="{28A0092B-C50C-407E-A947-70E740481C1C}">
                <a14:useLocalDpi xmlns:a14="http://schemas.microsoft.com/office/drawing/2010/main"/>
              </a:ext>
            </a:extLst>
          </a:blip>
          <a:stretch>
            <a:fillRect/>
          </a:stretch>
        </p:blipFill>
        <p:spPr>
          <a:xfrm>
            <a:off x="1163746" y="2631983"/>
            <a:ext cx="612506" cy="338448"/>
          </a:xfrm>
          <a:prstGeom prst="rect">
            <a:avLst/>
          </a:prstGeom>
          <a:noFill/>
          <a:ln>
            <a:noFill/>
          </a:ln>
        </p:spPr>
      </p:pic>
      <p:sp>
        <p:nvSpPr>
          <p:cNvPr id="101" name="TextBox 100"/>
          <p:cNvSpPr txBox="1"/>
          <p:nvPr/>
        </p:nvSpPr>
        <p:spPr>
          <a:xfrm rot="16200000">
            <a:off x="3641447" y="2367580"/>
            <a:ext cx="2816247" cy="328884"/>
          </a:xfrm>
          <a:prstGeom prst="rect">
            <a:avLst/>
          </a:prstGeom>
          <a:noFill/>
        </p:spPr>
        <p:txBody>
          <a:bodyPr wrap="square" lIns="89104" tIns="44551" rIns="89104" bIns="44551" rtlCol="0">
            <a:spAutoFit/>
          </a:bodyPr>
          <a:lstStyle/>
          <a:p>
            <a:pPr algn="r" defTabSz="685633" fontAlgn="base">
              <a:lnSpc>
                <a:spcPct val="90000"/>
              </a:lnSpc>
              <a:spcAft>
                <a:spcPct val="0"/>
              </a:spcAft>
              <a:buClr>
                <a:srgbClr val="F69F1E"/>
              </a:buClr>
              <a:buSzPct val="90000"/>
              <a:defRPr/>
            </a:pPr>
            <a:r>
              <a:rPr lang="en-US" sz="1725" dirty="0">
                <a:solidFill>
                  <a:prstClr val="black">
                    <a:alpha val="99000"/>
                  </a:prstClr>
                </a:solidFill>
                <a:latin typeface="Segoe UI Light" pitchFamily="34" charset="0"/>
              </a:rPr>
              <a:t>on your terms</a:t>
            </a:r>
          </a:p>
        </p:txBody>
      </p:sp>
      <p:sp>
        <p:nvSpPr>
          <p:cNvPr id="6" name="TextBox 5"/>
          <p:cNvSpPr txBox="1"/>
          <p:nvPr/>
        </p:nvSpPr>
        <p:spPr>
          <a:xfrm>
            <a:off x="8102267" y="1225061"/>
            <a:ext cx="392736" cy="173124"/>
          </a:xfrm>
          <a:prstGeom prst="rect">
            <a:avLst/>
          </a:prstGeom>
          <a:noFill/>
        </p:spPr>
        <p:txBody>
          <a:bodyPr wrap="none" lIns="0" tIns="0" rIns="0" bIns="0" rtlCol="0">
            <a:spAutoFit/>
          </a:bodyPr>
          <a:lstStyle/>
          <a:p>
            <a:r>
              <a:rPr lang="en-US" sz="1125" dirty="0">
                <a:solidFill>
                  <a:schemeClr val="bg1"/>
                </a:solidFill>
                <a:latin typeface="Segoe" pitchFamily="34" charset="0"/>
              </a:rPr>
              <a:t>hybrid</a:t>
            </a:r>
          </a:p>
        </p:txBody>
      </p:sp>
      <p:sp>
        <p:nvSpPr>
          <p:cNvPr id="41" name="Rectangle 40"/>
          <p:cNvSpPr/>
          <p:nvPr/>
        </p:nvSpPr>
        <p:spPr bwMode="auto">
          <a:xfrm>
            <a:off x="5215695" y="1173257"/>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a:gradFill>
                <a:gsLst>
                  <a:gs pos="0">
                    <a:srgbClr val="FFFFFF"/>
                  </a:gs>
                  <a:gs pos="100000">
                    <a:srgbClr val="FFFFFF"/>
                  </a:gs>
                </a:gsLst>
                <a:lin ang="5400000" scaled="0"/>
              </a:gradFill>
              <a:latin typeface="Segoe UI"/>
            </a:endParaRPr>
          </a:p>
        </p:txBody>
      </p:sp>
      <p:sp>
        <p:nvSpPr>
          <p:cNvPr id="42" name="Rectangle 41"/>
          <p:cNvSpPr/>
          <p:nvPr/>
        </p:nvSpPr>
        <p:spPr bwMode="auto">
          <a:xfrm>
            <a:off x="5213275" y="2505543"/>
            <a:ext cx="1224881" cy="1171439"/>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a:gradFill>
                <a:gsLst>
                  <a:gs pos="0">
                    <a:srgbClr val="FFFFFF"/>
                  </a:gs>
                  <a:gs pos="100000">
                    <a:srgbClr val="FFFFFF"/>
                  </a:gs>
                </a:gsLst>
                <a:lin ang="5400000" scaled="0"/>
              </a:gradFill>
              <a:latin typeface="Segoe UI"/>
            </a:endParaRPr>
          </a:p>
        </p:txBody>
      </p:sp>
      <p:sp>
        <p:nvSpPr>
          <p:cNvPr id="43" name="TextBox 42"/>
          <p:cNvSpPr txBox="1"/>
          <p:nvPr/>
        </p:nvSpPr>
        <p:spPr>
          <a:xfrm>
            <a:off x="5996690" y="1203509"/>
            <a:ext cx="320601" cy="173124"/>
          </a:xfrm>
          <a:prstGeom prst="rect">
            <a:avLst/>
          </a:prstGeom>
          <a:noFill/>
        </p:spPr>
        <p:txBody>
          <a:bodyPr wrap="none" lIns="0" tIns="0" rIns="0" bIns="0" rtlCol="0">
            <a:spAutoFit/>
          </a:bodyPr>
          <a:lstStyle/>
          <a:p>
            <a:r>
              <a:rPr lang="en-US" sz="1125" dirty="0">
                <a:solidFill>
                  <a:schemeClr val="bg1"/>
                </a:solidFill>
                <a:latin typeface="Segoe" pitchFamily="34" charset="0"/>
              </a:rPr>
              <a:t>open</a:t>
            </a:r>
          </a:p>
        </p:txBody>
      </p:sp>
      <p:sp>
        <p:nvSpPr>
          <p:cNvPr id="45" name="TextBox 44"/>
          <p:cNvSpPr txBox="1"/>
          <p:nvPr/>
        </p:nvSpPr>
        <p:spPr>
          <a:xfrm>
            <a:off x="5944196" y="2537509"/>
            <a:ext cx="448841" cy="173124"/>
          </a:xfrm>
          <a:prstGeom prst="rect">
            <a:avLst/>
          </a:prstGeom>
          <a:noFill/>
        </p:spPr>
        <p:txBody>
          <a:bodyPr wrap="none" lIns="0" tIns="0" rIns="0" bIns="0" rtlCol="0">
            <a:spAutoFit/>
          </a:bodyPr>
          <a:lstStyle/>
          <a:p>
            <a:r>
              <a:rPr lang="en-US" sz="1125" dirty="0">
                <a:solidFill>
                  <a:schemeClr val="bg1"/>
                </a:solidFill>
                <a:latin typeface="Segoe" pitchFamily="34" charset="0"/>
              </a:rPr>
              <a:t>flexible</a:t>
            </a:r>
          </a:p>
        </p:txBody>
      </p:sp>
      <p:pic>
        <p:nvPicPr>
          <p:cNvPr id="46" name="Picture 2" descr="https://mediabank.partners.extranet.microsoft.com/Assets/Active/M-Q/Microsoft_.NET/Microsoft_NET_ADO_.NET/Logos+Logotypes/NET-ADO_bL.png"/>
          <p:cNvPicPr>
            <a:picLocks noChangeAspect="1" noChangeArrowheads="1"/>
          </p:cNvPicPr>
          <p:nvPr/>
        </p:nvPicPr>
        <p:blipFill>
          <a:blip r:embed="rId8" cstate="print">
            <a:lum bright="100000" contrast="100000"/>
            <a:alphaModFix/>
          </a:blip>
          <a:srcRect r="31488"/>
          <a:stretch>
            <a:fillRect/>
          </a:stretch>
        </p:blipFill>
        <p:spPr bwMode="auto">
          <a:xfrm>
            <a:off x="5416726" y="1593445"/>
            <a:ext cx="529890" cy="153147"/>
          </a:xfrm>
          <a:prstGeom prst="rect">
            <a:avLst/>
          </a:prstGeom>
          <a:noFill/>
        </p:spPr>
      </p:pic>
      <p:pic>
        <p:nvPicPr>
          <p:cNvPr id="47" name="Picture 4" descr="http://www.jbase.com/new/products/images/java.png"/>
          <p:cNvPicPr>
            <a:picLocks noChangeAspect="1" noChangeArrowheads="1"/>
          </p:cNvPicPr>
          <p:nvPr/>
        </p:nvPicPr>
        <p:blipFill>
          <a:blip r:embed="rId9" cstate="print">
            <a:lum bright="100000" contrast="100000"/>
          </a:blip>
          <a:srcRect/>
          <a:stretch>
            <a:fillRect/>
          </a:stretch>
        </p:blipFill>
        <p:spPr bwMode="auto">
          <a:xfrm>
            <a:off x="6124715" y="1705202"/>
            <a:ext cx="192843" cy="359809"/>
          </a:xfrm>
          <a:prstGeom prst="rect">
            <a:avLst/>
          </a:prstGeom>
          <a:noFill/>
        </p:spPr>
      </p:pic>
      <p:pic>
        <p:nvPicPr>
          <p:cNvPr id="48" name="Picture 47" descr="PHP.png"/>
          <p:cNvPicPr>
            <a:picLocks noChangeAspect="1"/>
          </p:cNvPicPr>
          <p:nvPr/>
        </p:nvPicPr>
        <p:blipFill>
          <a:blip r:embed="rId10" cstate="print"/>
          <a:stretch>
            <a:fillRect/>
          </a:stretch>
        </p:blipFill>
        <p:spPr>
          <a:xfrm>
            <a:off x="5681439" y="1845626"/>
            <a:ext cx="334060" cy="175695"/>
          </a:xfrm>
          <a:prstGeom prst="rect">
            <a:avLst/>
          </a:prstGeom>
          <a:noFill/>
        </p:spPr>
      </p:pic>
      <p:pic>
        <p:nvPicPr>
          <p:cNvPr id="49" name="Picture 48"/>
          <p:cNvPicPr>
            <a:picLocks noChangeAspect="1"/>
          </p:cNvPicPr>
          <p:nvPr/>
        </p:nvPicPr>
        <p:blipFill>
          <a:blip r:embed="rId11" cstate="print">
            <a:duotone>
              <a:schemeClr val="bg2">
                <a:shade val="45000"/>
                <a:satMod val="135000"/>
              </a:schemeClr>
              <a:prstClr val="white"/>
            </a:duotone>
            <a:extLst>
              <a:ext uri="{BEBA8EAE-BF5A-486C-A8C5-ECC9F3942E4B}">
                <a14:imgProps xmlns:a14="http://schemas.microsoft.com/office/drawing/2010/main">
                  <a14:imgLayer r:embed="rId12">
                    <a14:imgEffect>
                      <a14:colorTemperature colorTemp="109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5410250" y="2093763"/>
            <a:ext cx="576684" cy="152449"/>
          </a:xfrm>
          <a:prstGeom prst="rect">
            <a:avLst/>
          </a:prstGeom>
        </p:spPr>
      </p:pic>
      <p:pic>
        <p:nvPicPr>
          <p:cNvPr id="50" name="Picture 5" descr="\\MAGNUM\Projects\Microsoft\Cloud Power FY12\Design\ICONS_PNG\PaaS.png"/>
          <p:cNvPicPr>
            <a:picLocks noChangeAspect="1" noChangeArrowheads="1"/>
          </p:cNvPicPr>
          <p:nvPr/>
        </p:nvPicPr>
        <p:blipFill>
          <a:blip r:embed="rId13" cstate="print">
            <a:lum bright="100000"/>
          </a:blip>
          <a:stretch>
            <a:fillRect/>
          </a:stretch>
        </p:blipFill>
        <p:spPr bwMode="auto">
          <a:xfrm>
            <a:off x="5272860" y="2809856"/>
            <a:ext cx="423311" cy="423421"/>
          </a:xfrm>
          <a:prstGeom prst="rect">
            <a:avLst/>
          </a:prstGeom>
          <a:noFill/>
        </p:spPr>
      </p:pic>
      <p:pic>
        <p:nvPicPr>
          <p:cNvPr id="51" name="Picture 2" descr="\\MAGNUM\Projects\Microsoft\Cloud Power FY12\Design\ICONS_PNG\Next_Gen_Application.png"/>
          <p:cNvPicPr>
            <a:picLocks noChangeAspect="1" noChangeArrowheads="1"/>
          </p:cNvPicPr>
          <p:nvPr/>
        </p:nvPicPr>
        <p:blipFill>
          <a:blip r:embed="rId14" cstate="print">
            <a:lum bright="100000"/>
          </a:blip>
          <a:srcRect/>
          <a:stretch>
            <a:fillRect/>
          </a:stretch>
        </p:blipFill>
        <p:spPr bwMode="auto">
          <a:xfrm>
            <a:off x="5944195" y="3190379"/>
            <a:ext cx="501541" cy="501673"/>
          </a:xfrm>
          <a:prstGeom prst="rect">
            <a:avLst/>
          </a:prstGeom>
          <a:noFill/>
        </p:spPr>
      </p:pic>
      <p:sp>
        <p:nvSpPr>
          <p:cNvPr id="5" name="TextBox 4"/>
          <p:cNvSpPr txBox="1"/>
          <p:nvPr/>
        </p:nvSpPr>
        <p:spPr>
          <a:xfrm>
            <a:off x="5680511" y="3056578"/>
            <a:ext cx="269304" cy="138499"/>
          </a:xfrm>
          <a:prstGeom prst="rect">
            <a:avLst/>
          </a:prstGeom>
          <a:noFill/>
        </p:spPr>
        <p:txBody>
          <a:bodyPr wrap="none" lIns="0" tIns="0" rIns="0" bIns="0" rtlCol="0">
            <a:spAutoFit/>
          </a:bodyPr>
          <a:lstStyle/>
          <a:p>
            <a:r>
              <a:rPr lang="en-US" sz="900" b="1" dirty="0">
                <a:solidFill>
                  <a:schemeClr val="bg1"/>
                </a:solidFill>
                <a:latin typeface="Segoe" pitchFamily="34" charset="0"/>
              </a:rPr>
              <a:t>New </a:t>
            </a:r>
          </a:p>
        </p:txBody>
      </p:sp>
      <p:sp>
        <p:nvSpPr>
          <p:cNvPr id="52" name="TextBox 51"/>
          <p:cNvSpPr txBox="1"/>
          <p:nvPr/>
        </p:nvSpPr>
        <p:spPr>
          <a:xfrm>
            <a:off x="5585844" y="3442224"/>
            <a:ext cx="448841" cy="138499"/>
          </a:xfrm>
          <a:prstGeom prst="rect">
            <a:avLst/>
          </a:prstGeom>
          <a:noFill/>
        </p:spPr>
        <p:txBody>
          <a:bodyPr wrap="none" lIns="0" tIns="0" rIns="0" bIns="0" rtlCol="0">
            <a:spAutoFit/>
          </a:bodyPr>
          <a:lstStyle/>
          <a:p>
            <a:r>
              <a:rPr lang="en-US" sz="900" b="1" dirty="0">
                <a:solidFill>
                  <a:schemeClr val="bg1"/>
                </a:solidFill>
                <a:latin typeface="Segoe" pitchFamily="34" charset="0"/>
              </a:rPr>
              <a:t>Existing</a:t>
            </a:r>
          </a:p>
        </p:txBody>
      </p:sp>
      <p:sp>
        <p:nvSpPr>
          <p:cNvPr id="7" name="TextBox 6"/>
          <p:cNvSpPr txBox="1"/>
          <p:nvPr/>
        </p:nvSpPr>
        <p:spPr>
          <a:xfrm>
            <a:off x="5717079" y="3157265"/>
            <a:ext cx="157094" cy="265457"/>
          </a:xfrm>
          <a:prstGeom prst="rect">
            <a:avLst/>
          </a:prstGeom>
          <a:noFill/>
        </p:spPr>
        <p:txBody>
          <a:bodyPr wrap="none" lIns="0" tIns="0" rIns="0" bIns="0" rtlCol="0">
            <a:spAutoFit/>
          </a:bodyPr>
          <a:lstStyle/>
          <a:p>
            <a:r>
              <a:rPr lang="en-US" sz="1725" b="1" dirty="0">
                <a:solidFill>
                  <a:schemeClr val="bg1"/>
                </a:solidFill>
              </a:rPr>
              <a:t>+</a:t>
            </a:r>
          </a:p>
        </p:txBody>
      </p:sp>
      <p:sp>
        <p:nvSpPr>
          <p:cNvPr id="53" name="Rectangle 52"/>
          <p:cNvSpPr/>
          <p:nvPr/>
        </p:nvSpPr>
        <p:spPr bwMode="auto">
          <a:xfrm>
            <a:off x="6590744" y="1173256"/>
            <a:ext cx="2018207" cy="2501130"/>
          </a:xfrm>
          <a:prstGeom prst="rect">
            <a:avLst/>
          </a:prstGeom>
          <a:solidFill>
            <a:srgbClr val="00188F"/>
          </a:solidFill>
          <a:ln w="9525" cap="flat" cmpd="sng" algn="ctr">
            <a:no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algn="ctr" defTabSz="571101">
              <a:defRPr/>
            </a:pPr>
            <a:endParaRPr lang="en-US" sz="1125" kern="0" dirty="0">
              <a:gradFill>
                <a:gsLst>
                  <a:gs pos="0">
                    <a:srgbClr val="FFFFFF"/>
                  </a:gs>
                  <a:gs pos="100000">
                    <a:srgbClr val="FFFFFF"/>
                  </a:gs>
                </a:gsLst>
                <a:lin ang="5400000" scaled="0"/>
              </a:gradFill>
              <a:latin typeface="Segoe UI"/>
            </a:endParaRPr>
          </a:p>
        </p:txBody>
      </p:sp>
      <p:sp>
        <p:nvSpPr>
          <p:cNvPr id="54" name="TextBox 53"/>
          <p:cNvSpPr txBox="1"/>
          <p:nvPr/>
        </p:nvSpPr>
        <p:spPr>
          <a:xfrm>
            <a:off x="8119124" y="1238004"/>
            <a:ext cx="392736" cy="173124"/>
          </a:xfrm>
          <a:prstGeom prst="rect">
            <a:avLst/>
          </a:prstGeom>
          <a:noFill/>
        </p:spPr>
        <p:txBody>
          <a:bodyPr wrap="none" lIns="0" tIns="0" rIns="0" bIns="0" rtlCol="0">
            <a:spAutoFit/>
          </a:bodyPr>
          <a:lstStyle/>
          <a:p>
            <a:r>
              <a:rPr lang="en-US" sz="1125" dirty="0">
                <a:solidFill>
                  <a:schemeClr val="bg1"/>
                </a:solidFill>
                <a:latin typeface="Segoe" pitchFamily="34" charset="0"/>
              </a:rPr>
              <a:t>hybrid</a:t>
            </a:r>
          </a:p>
        </p:txBody>
      </p:sp>
      <p:sp>
        <p:nvSpPr>
          <p:cNvPr id="8" name="TextBox 7"/>
          <p:cNvSpPr txBox="1"/>
          <p:nvPr/>
        </p:nvSpPr>
        <p:spPr>
          <a:xfrm>
            <a:off x="7820711" y="1568165"/>
            <a:ext cx="746999" cy="316753"/>
          </a:xfrm>
          <a:prstGeom prst="rect">
            <a:avLst/>
          </a:prstGeom>
          <a:noFill/>
        </p:spPr>
        <p:txBody>
          <a:bodyPr wrap="none" lIns="0" tIns="0" rIns="0" bIns="0" rtlCol="0">
            <a:spAutoFit/>
          </a:bodyPr>
          <a:lstStyle/>
          <a:p>
            <a:pPr algn="ctr"/>
            <a:r>
              <a:rPr lang="en-US" sz="1029" dirty="0">
                <a:solidFill>
                  <a:schemeClr val="bg1"/>
                </a:solidFill>
                <a:effectLst>
                  <a:outerShdw blurRad="38100" dist="38100" dir="2700000" algn="tl">
                    <a:srgbClr val="000000">
                      <a:alpha val="43137"/>
                    </a:srgbClr>
                  </a:outerShdw>
                </a:effectLst>
                <a:latin typeface="+mj-lt"/>
              </a:rPr>
              <a:t>Other Service</a:t>
            </a:r>
          </a:p>
          <a:p>
            <a:pPr algn="ctr"/>
            <a:r>
              <a:rPr lang="en-US" sz="1029" dirty="0">
                <a:solidFill>
                  <a:schemeClr val="bg1"/>
                </a:solidFill>
                <a:effectLst>
                  <a:outerShdw blurRad="38100" dist="38100" dir="2700000" algn="tl">
                    <a:srgbClr val="000000">
                      <a:alpha val="43137"/>
                    </a:srgbClr>
                  </a:outerShdw>
                </a:effectLst>
                <a:latin typeface="+mj-lt"/>
              </a:rPr>
              <a:t>Providers</a:t>
            </a:r>
            <a:endParaRPr lang="en-US" sz="1029" dirty="0">
              <a:solidFill>
                <a:schemeClr val="bg1"/>
              </a:solidFill>
              <a:effectLst>
                <a:outerShdw blurRad="38100" dist="38100" dir="2700000" algn="tl">
                  <a:srgbClr val="000000">
                    <a:alpha val="43137"/>
                  </a:srgbClr>
                </a:outerShdw>
              </a:effectLst>
              <a:latin typeface="+mj-lt"/>
            </a:endParaRPr>
          </a:p>
        </p:txBody>
      </p:sp>
      <p:sp>
        <p:nvSpPr>
          <p:cNvPr id="61" name="TextBox 60"/>
          <p:cNvSpPr txBox="1"/>
          <p:nvPr/>
        </p:nvSpPr>
        <p:spPr>
          <a:xfrm>
            <a:off x="6925090" y="3455120"/>
            <a:ext cx="1271690" cy="180947"/>
          </a:xfrm>
          <a:prstGeom prst="rect">
            <a:avLst/>
          </a:prstGeom>
          <a:noFill/>
        </p:spPr>
        <p:txBody>
          <a:bodyPr wrap="square" lIns="0" tIns="0" rIns="0" bIns="0" rtlCol="0">
            <a:spAutoFit/>
          </a:bodyPr>
          <a:lstStyle/>
          <a:p>
            <a:pPr algn="ctr"/>
            <a:r>
              <a:rPr lang="en-US" sz="1176" dirty="0">
                <a:solidFill>
                  <a:schemeClr val="bg1"/>
                </a:solidFill>
                <a:effectLst>
                  <a:outerShdw blurRad="38100" dist="38100" dir="2700000" algn="tl">
                    <a:srgbClr val="000000">
                      <a:alpha val="43137"/>
                    </a:srgbClr>
                  </a:outerShdw>
                </a:effectLst>
                <a:latin typeface="+mj-lt"/>
              </a:rPr>
              <a:t>Your Data Center</a:t>
            </a:r>
            <a:endParaRPr lang="en-US" sz="1176" dirty="0">
              <a:solidFill>
                <a:schemeClr val="bg1"/>
              </a:solidFill>
              <a:effectLst>
                <a:outerShdw blurRad="38100" dist="38100" dir="2700000" algn="tl">
                  <a:srgbClr val="000000">
                    <a:alpha val="43137"/>
                  </a:srgbClr>
                </a:outerShdw>
              </a:effectLst>
              <a:latin typeface="+mj-lt"/>
            </a:endParaRPr>
          </a:p>
        </p:txBody>
      </p:sp>
      <p:sp>
        <p:nvSpPr>
          <p:cNvPr id="55" name="TextBox 54"/>
          <p:cNvSpPr txBox="1"/>
          <p:nvPr/>
        </p:nvSpPr>
        <p:spPr>
          <a:xfrm>
            <a:off x="6698836" y="1552175"/>
            <a:ext cx="618759" cy="361894"/>
          </a:xfrm>
          <a:prstGeom prst="rect">
            <a:avLst/>
          </a:prstGeom>
          <a:noFill/>
        </p:spPr>
        <p:txBody>
          <a:bodyPr wrap="none" lIns="0" tIns="0" rIns="0" bIns="0" rtlCol="0">
            <a:spAutoFit/>
          </a:bodyPr>
          <a:lstStyle/>
          <a:p>
            <a:r>
              <a:rPr lang="en-US" sz="1176" dirty="0">
                <a:solidFill>
                  <a:schemeClr val="bg1"/>
                </a:solidFill>
                <a:effectLst>
                  <a:outerShdw blurRad="38100" dist="38100" dir="2700000" algn="tl">
                    <a:srgbClr val="000000">
                      <a:alpha val="43137"/>
                    </a:srgbClr>
                  </a:outerShdw>
                </a:effectLst>
                <a:latin typeface="+mj-lt"/>
              </a:rPr>
              <a:t>Windows </a:t>
            </a:r>
          </a:p>
          <a:p>
            <a:r>
              <a:rPr lang="en-US" sz="1176" dirty="0">
                <a:solidFill>
                  <a:schemeClr val="bg1"/>
                </a:solidFill>
                <a:effectLst>
                  <a:outerShdw blurRad="38100" dist="38100" dir="2700000" algn="tl">
                    <a:srgbClr val="000000">
                      <a:alpha val="43137"/>
                    </a:srgbClr>
                  </a:outerShdw>
                </a:effectLst>
                <a:latin typeface="+mj-lt"/>
              </a:rPr>
              <a:t>Azure</a:t>
            </a:r>
            <a:endParaRPr lang="en-US" sz="1176" dirty="0">
              <a:solidFill>
                <a:schemeClr val="bg1"/>
              </a:solidFill>
              <a:effectLst>
                <a:outerShdw blurRad="38100" dist="38100" dir="2700000" algn="tl">
                  <a:srgbClr val="000000">
                    <a:alpha val="43137"/>
                  </a:srgbClr>
                </a:outerShdw>
              </a:effectLst>
              <a:latin typeface="+mj-lt"/>
            </a:endParaRPr>
          </a:p>
        </p:txBody>
      </p:sp>
      <p:pic>
        <p:nvPicPr>
          <p:cNvPr id="62" name="Picture 2" descr="C:\Users\chrisw\Desktop\Cloud Services 3.png"/>
          <p:cNvPicPr>
            <a:picLocks noChangeAspect="1" noChangeArrowheads="1"/>
          </p:cNvPicPr>
          <p:nvPr/>
        </p:nvPicPr>
        <p:blipFill>
          <a:blip r:embed="rId15" cstate="screen">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6743607" y="1783465"/>
            <a:ext cx="729172" cy="502907"/>
          </a:xfrm>
          <a:prstGeom prst="rect">
            <a:avLst/>
          </a:prstGeom>
          <a:noFill/>
          <a:extLst/>
        </p:spPr>
      </p:pic>
      <p:pic>
        <p:nvPicPr>
          <p:cNvPr id="63" name="Picture 3"/>
          <p:cNvPicPr>
            <a:picLocks noChangeAspect="1" noChangeArrowheads="1"/>
          </p:cNvPicPr>
          <p:nvPr/>
        </p:nvPicPr>
        <p:blipFill>
          <a:blip r:embed="rId17" cstate="email">
            <a:biLevel thresh="25000"/>
            <a:extLst>
              <a:ext uri="{28A0092B-C50C-407E-A947-70E740481C1C}">
                <a14:useLocalDpi xmlns:a14="http://schemas.microsoft.com/office/drawing/2010/main"/>
              </a:ext>
            </a:extLst>
          </a:blip>
          <a:srcRect/>
          <a:stretch>
            <a:fillRect/>
          </a:stretch>
        </p:blipFill>
        <p:spPr bwMode="auto">
          <a:xfrm>
            <a:off x="7815624" y="1932531"/>
            <a:ext cx="651926" cy="375373"/>
          </a:xfrm>
          <a:prstGeom prst="rect">
            <a:avLst/>
          </a:prstGeom>
          <a:noFill/>
          <a:ln>
            <a:noFill/>
          </a:ln>
          <a:effectLst/>
          <a:extLst/>
        </p:spPr>
      </p:pic>
      <p:pic>
        <p:nvPicPr>
          <p:cNvPr id="64" name="Picture 4" descr="\\MAGNUM\Projects\Microsoft\Cloud Power FY12\Design\ICONS_PNG\Private_Cloud.png"/>
          <p:cNvPicPr>
            <a:picLocks noChangeAspect="1" noChangeArrowheads="1"/>
          </p:cNvPicPr>
          <p:nvPr/>
        </p:nvPicPr>
        <p:blipFill rotWithShape="1">
          <a:blip r:embed="rId18" cstate="print">
            <a:lum bright="100000"/>
          </a:blip>
          <a:srcRect t="17612" b="16424"/>
          <a:stretch/>
        </p:blipFill>
        <p:spPr bwMode="auto">
          <a:xfrm>
            <a:off x="7137673" y="2968313"/>
            <a:ext cx="940677" cy="572686"/>
          </a:xfrm>
          <a:prstGeom prst="rect">
            <a:avLst/>
          </a:prstGeom>
          <a:noFill/>
        </p:spPr>
      </p:pic>
      <p:grpSp>
        <p:nvGrpSpPr>
          <p:cNvPr id="11" name="Group 10"/>
          <p:cNvGrpSpPr/>
          <p:nvPr/>
        </p:nvGrpSpPr>
        <p:grpSpPr>
          <a:xfrm>
            <a:off x="7238709" y="2354129"/>
            <a:ext cx="642387" cy="618210"/>
            <a:chOff x="9845146" y="3201282"/>
            <a:chExt cx="873691" cy="840809"/>
          </a:xfrm>
          <a:solidFill>
            <a:schemeClr val="bg1"/>
          </a:solidFill>
        </p:grpSpPr>
        <p:sp>
          <p:nvSpPr>
            <p:cNvPr id="4" name="Up Arrow 3"/>
            <p:cNvSpPr/>
            <p:nvPr/>
          </p:nvSpPr>
          <p:spPr bwMode="auto">
            <a:xfrm rot="18692846">
              <a:off x="9913703" y="3142249"/>
              <a:ext cx="379139" cy="516253"/>
            </a:xfrm>
            <a:prstGeom prst="upArrow">
              <a:avLst>
                <a:gd name="adj1" fmla="val 39573"/>
                <a:gd name="adj2"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Oval 8"/>
            <p:cNvSpPr/>
            <p:nvPr/>
          </p:nvSpPr>
          <p:spPr bwMode="auto">
            <a:xfrm>
              <a:off x="10108687" y="3394435"/>
              <a:ext cx="349416" cy="34941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Up Arrow 66"/>
            <p:cNvSpPr/>
            <p:nvPr/>
          </p:nvSpPr>
          <p:spPr bwMode="auto">
            <a:xfrm rot="2751473">
              <a:off x="10271141" y="3132725"/>
              <a:ext cx="379139" cy="516253"/>
            </a:xfrm>
            <a:prstGeom prst="upArrow">
              <a:avLst>
                <a:gd name="adj1" fmla="val 39573"/>
                <a:gd name="adj2"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Up Arrow 67"/>
            <p:cNvSpPr/>
            <p:nvPr/>
          </p:nvSpPr>
          <p:spPr bwMode="auto">
            <a:xfrm rot="10800000">
              <a:off x="10093825" y="3525838"/>
              <a:ext cx="379139" cy="516253"/>
            </a:xfrm>
            <a:prstGeom prst="upArrow">
              <a:avLst>
                <a:gd name="adj1" fmla="val 39573"/>
                <a:gd name="adj2" fmla="val 5000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81237777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fade">
                                      <p:cBhvr>
                                        <p:cTn id="10" dur="500"/>
                                        <p:tgtEl>
                                          <p:spTgt spid="8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500"/>
                                        <p:tgtEl>
                                          <p:spTgt spid="8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3"/>
                                        </p:tgtEl>
                                        <p:attrNameLst>
                                          <p:attrName>style.visibility</p:attrName>
                                        </p:attrNameLst>
                                      </p:cBhvr>
                                      <p:to>
                                        <p:strVal val="visible"/>
                                      </p:to>
                                    </p:set>
                                    <p:animEffect transition="in" filter="fade">
                                      <p:cBhvr>
                                        <p:cTn id="16" dur="500"/>
                                        <p:tgtEl>
                                          <p:spTgt spid="8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4"/>
                                        </p:tgtEl>
                                        <p:attrNameLst>
                                          <p:attrName>style.visibility</p:attrName>
                                        </p:attrNameLst>
                                      </p:cBhvr>
                                      <p:to>
                                        <p:strVal val="visible"/>
                                      </p:to>
                                    </p:set>
                                    <p:animEffect transition="in" filter="fade">
                                      <p:cBhvr>
                                        <p:cTn id="19" dur="500"/>
                                        <p:tgtEl>
                                          <p:spTgt spid="8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5"/>
                                        </p:tgtEl>
                                        <p:attrNameLst>
                                          <p:attrName>style.visibility</p:attrName>
                                        </p:attrNameLst>
                                      </p:cBhvr>
                                      <p:to>
                                        <p:strVal val="visible"/>
                                      </p:to>
                                    </p:set>
                                    <p:animEffect transition="in" filter="fade">
                                      <p:cBhvr>
                                        <p:cTn id="22" dur="500"/>
                                        <p:tgtEl>
                                          <p:spTgt spid="8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6"/>
                                        </p:tgtEl>
                                        <p:attrNameLst>
                                          <p:attrName>style.visibility</p:attrName>
                                        </p:attrNameLst>
                                      </p:cBhvr>
                                      <p:to>
                                        <p:strVal val="visible"/>
                                      </p:to>
                                    </p:set>
                                    <p:animEffect transition="in" filter="fade">
                                      <p:cBhvr>
                                        <p:cTn id="25" dur="500"/>
                                        <p:tgtEl>
                                          <p:spTgt spid="86"/>
                                        </p:tgtEl>
                                      </p:cBhvr>
                                    </p:animEffect>
                                  </p:childTnLst>
                                </p:cTn>
                              </p:par>
                              <p:par>
                                <p:cTn id="26" presetID="10" presetClass="entr" presetSubtype="0" fill="hold" nodeType="with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fade">
                                      <p:cBhvr>
                                        <p:cTn id="28" dur="500"/>
                                        <p:tgtEl>
                                          <p:spTgt spid="87"/>
                                        </p:tgtEl>
                                      </p:cBhvr>
                                    </p:animEffect>
                                  </p:childTnLst>
                                </p:cTn>
                              </p:par>
                              <p:par>
                                <p:cTn id="29" presetID="10" presetClass="entr" presetSubtype="0" fill="hold" nodeType="withEffect">
                                  <p:stCondLst>
                                    <p:cond delay="0"/>
                                  </p:stCondLst>
                                  <p:childTnLst>
                                    <p:set>
                                      <p:cBhvr>
                                        <p:cTn id="30" dur="1" fill="hold">
                                          <p:stCondLst>
                                            <p:cond delay="0"/>
                                          </p:stCondLst>
                                        </p:cTn>
                                        <p:tgtEl>
                                          <p:spTgt spid="88"/>
                                        </p:tgtEl>
                                        <p:attrNameLst>
                                          <p:attrName>style.visibility</p:attrName>
                                        </p:attrNameLst>
                                      </p:cBhvr>
                                      <p:to>
                                        <p:strVal val="visible"/>
                                      </p:to>
                                    </p:set>
                                    <p:animEffect transition="in" filter="fade">
                                      <p:cBhvr>
                                        <p:cTn id="31" dur="500"/>
                                        <p:tgtEl>
                                          <p:spTgt spid="8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9"/>
                                        </p:tgtEl>
                                        <p:attrNameLst>
                                          <p:attrName>style.visibility</p:attrName>
                                        </p:attrNameLst>
                                      </p:cBhvr>
                                      <p:to>
                                        <p:strVal val="visible"/>
                                      </p:to>
                                    </p:set>
                                    <p:animEffect transition="in" filter="fade">
                                      <p:cBhvr>
                                        <p:cTn id="34" dur="500"/>
                                        <p:tgtEl>
                                          <p:spTgt spid="8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90"/>
                                        </p:tgtEl>
                                        <p:attrNameLst>
                                          <p:attrName>style.visibility</p:attrName>
                                        </p:attrNameLst>
                                      </p:cBhvr>
                                      <p:to>
                                        <p:strVal val="visible"/>
                                      </p:to>
                                    </p:set>
                                    <p:animEffect transition="in" filter="fade">
                                      <p:cBhvr>
                                        <p:cTn id="37" dur="500"/>
                                        <p:tgtEl>
                                          <p:spTgt spid="9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91"/>
                                        </p:tgtEl>
                                        <p:attrNameLst>
                                          <p:attrName>style.visibility</p:attrName>
                                        </p:attrNameLst>
                                      </p:cBhvr>
                                      <p:to>
                                        <p:strVal val="visible"/>
                                      </p:to>
                                    </p:set>
                                    <p:animEffect transition="in" filter="fade">
                                      <p:cBhvr>
                                        <p:cTn id="40" dur="500"/>
                                        <p:tgtEl>
                                          <p:spTgt spid="91"/>
                                        </p:tgtEl>
                                      </p:cBhvr>
                                    </p:animEffect>
                                  </p:childTnLst>
                                </p:cTn>
                              </p:par>
                              <p:par>
                                <p:cTn id="41" presetID="10" presetClass="entr" presetSubtype="0" fill="hold" nodeType="withEffect">
                                  <p:stCondLst>
                                    <p:cond delay="0"/>
                                  </p:stCondLst>
                                  <p:childTnLst>
                                    <p:set>
                                      <p:cBhvr>
                                        <p:cTn id="42" dur="1" fill="hold">
                                          <p:stCondLst>
                                            <p:cond delay="0"/>
                                          </p:stCondLst>
                                        </p:cTn>
                                        <p:tgtEl>
                                          <p:spTgt spid="92"/>
                                        </p:tgtEl>
                                        <p:attrNameLst>
                                          <p:attrName>style.visibility</p:attrName>
                                        </p:attrNameLst>
                                      </p:cBhvr>
                                      <p:to>
                                        <p:strVal val="visible"/>
                                      </p:to>
                                    </p:set>
                                    <p:animEffect transition="in" filter="fade">
                                      <p:cBhvr>
                                        <p:cTn id="43" dur="500"/>
                                        <p:tgtEl>
                                          <p:spTgt spid="9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93"/>
                                        </p:tgtEl>
                                        <p:attrNameLst>
                                          <p:attrName>style.visibility</p:attrName>
                                        </p:attrNameLst>
                                      </p:cBhvr>
                                      <p:to>
                                        <p:strVal val="visible"/>
                                      </p:to>
                                    </p:set>
                                    <p:animEffect transition="in" filter="fade">
                                      <p:cBhvr>
                                        <p:cTn id="46" dur="500"/>
                                        <p:tgtEl>
                                          <p:spTgt spid="9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95"/>
                                        </p:tgtEl>
                                        <p:attrNameLst>
                                          <p:attrName>style.visibility</p:attrName>
                                        </p:attrNameLst>
                                      </p:cBhvr>
                                      <p:to>
                                        <p:strVal val="visible"/>
                                      </p:to>
                                    </p:set>
                                    <p:animEffect transition="in" filter="fade">
                                      <p:cBhvr>
                                        <p:cTn id="49" dur="500"/>
                                        <p:tgtEl>
                                          <p:spTgt spid="9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96"/>
                                        </p:tgtEl>
                                        <p:attrNameLst>
                                          <p:attrName>style.visibility</p:attrName>
                                        </p:attrNameLst>
                                      </p:cBhvr>
                                      <p:to>
                                        <p:strVal val="visible"/>
                                      </p:to>
                                    </p:set>
                                    <p:animEffect transition="in" filter="fade">
                                      <p:cBhvr>
                                        <p:cTn id="52" dur="500"/>
                                        <p:tgtEl>
                                          <p:spTgt spid="9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97"/>
                                        </p:tgtEl>
                                        <p:attrNameLst>
                                          <p:attrName>style.visibility</p:attrName>
                                        </p:attrNameLst>
                                      </p:cBhvr>
                                      <p:to>
                                        <p:strVal val="visible"/>
                                      </p:to>
                                    </p:set>
                                    <p:animEffect transition="in" filter="fade">
                                      <p:cBhvr>
                                        <p:cTn id="55" dur="500"/>
                                        <p:tgtEl>
                                          <p:spTgt spid="9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98"/>
                                        </p:tgtEl>
                                        <p:attrNameLst>
                                          <p:attrName>style.visibility</p:attrName>
                                        </p:attrNameLst>
                                      </p:cBhvr>
                                      <p:to>
                                        <p:strVal val="visible"/>
                                      </p:to>
                                    </p:set>
                                    <p:animEffect transition="in" filter="fade">
                                      <p:cBhvr>
                                        <p:cTn id="58" dur="500"/>
                                        <p:tgtEl>
                                          <p:spTgt spid="9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99"/>
                                        </p:tgtEl>
                                        <p:attrNameLst>
                                          <p:attrName>style.visibility</p:attrName>
                                        </p:attrNameLst>
                                      </p:cBhvr>
                                      <p:to>
                                        <p:strVal val="visible"/>
                                      </p:to>
                                    </p:set>
                                    <p:animEffect transition="in" filter="fade">
                                      <p:cBhvr>
                                        <p:cTn id="61" dur="500"/>
                                        <p:tgtEl>
                                          <p:spTgt spid="99"/>
                                        </p:tgtEl>
                                      </p:cBhvr>
                                    </p:animEffect>
                                  </p:childTnLst>
                                </p:cTn>
                              </p:par>
                              <p:par>
                                <p:cTn id="62" presetID="10" presetClass="entr" presetSubtype="0" fill="hold" nodeType="withEffect">
                                  <p:stCondLst>
                                    <p:cond delay="0"/>
                                  </p:stCondLst>
                                  <p:childTnLst>
                                    <p:set>
                                      <p:cBhvr>
                                        <p:cTn id="63" dur="1" fill="hold">
                                          <p:stCondLst>
                                            <p:cond delay="0"/>
                                          </p:stCondLst>
                                        </p:cTn>
                                        <p:tgtEl>
                                          <p:spTgt spid="100"/>
                                        </p:tgtEl>
                                        <p:attrNameLst>
                                          <p:attrName>style.visibility</p:attrName>
                                        </p:attrNameLst>
                                      </p:cBhvr>
                                      <p:to>
                                        <p:strVal val="visible"/>
                                      </p:to>
                                    </p:set>
                                    <p:animEffect transition="in" filter="fade">
                                      <p:cBhvr>
                                        <p:cTn id="64" dur="500"/>
                                        <p:tgtEl>
                                          <p:spTgt spid="100"/>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101"/>
                                        </p:tgtEl>
                                        <p:attrNameLst>
                                          <p:attrName>style.visibility</p:attrName>
                                        </p:attrNameLst>
                                      </p:cBhvr>
                                      <p:to>
                                        <p:strVal val="visible"/>
                                      </p:to>
                                    </p:set>
                                    <p:animEffect transition="in" filter="fade">
                                      <p:cBhvr>
                                        <p:cTn id="69" dur="500"/>
                                        <p:tgtEl>
                                          <p:spTgt spid="101"/>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6"/>
                                        </p:tgtEl>
                                        <p:attrNameLst>
                                          <p:attrName>style.visibility</p:attrName>
                                        </p:attrNameLst>
                                      </p:cBhvr>
                                      <p:to>
                                        <p:strVal val="visible"/>
                                      </p:to>
                                    </p:set>
                                    <p:animEffect transition="in" filter="fade">
                                      <p:cBhvr>
                                        <p:cTn id="72" dur="500"/>
                                        <p:tgtEl>
                                          <p:spTgt spid="6"/>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1"/>
                                        </p:tgtEl>
                                        <p:attrNameLst>
                                          <p:attrName>style.visibility</p:attrName>
                                        </p:attrNameLst>
                                      </p:cBhvr>
                                      <p:to>
                                        <p:strVal val="visible"/>
                                      </p:to>
                                    </p:set>
                                    <p:animEffect transition="in" filter="fade">
                                      <p:cBhvr>
                                        <p:cTn id="75" dur="500"/>
                                        <p:tgtEl>
                                          <p:spTgt spid="4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42"/>
                                        </p:tgtEl>
                                        <p:attrNameLst>
                                          <p:attrName>style.visibility</p:attrName>
                                        </p:attrNameLst>
                                      </p:cBhvr>
                                      <p:to>
                                        <p:strVal val="visible"/>
                                      </p:to>
                                    </p:set>
                                    <p:animEffect transition="in" filter="fade">
                                      <p:cBhvr>
                                        <p:cTn id="78" dur="500"/>
                                        <p:tgtEl>
                                          <p:spTgt spid="42"/>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43"/>
                                        </p:tgtEl>
                                        <p:attrNameLst>
                                          <p:attrName>style.visibility</p:attrName>
                                        </p:attrNameLst>
                                      </p:cBhvr>
                                      <p:to>
                                        <p:strVal val="visible"/>
                                      </p:to>
                                    </p:set>
                                    <p:animEffect transition="in" filter="fade">
                                      <p:cBhvr>
                                        <p:cTn id="81" dur="500"/>
                                        <p:tgtEl>
                                          <p:spTgt spid="4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5"/>
                                        </p:tgtEl>
                                        <p:attrNameLst>
                                          <p:attrName>style.visibility</p:attrName>
                                        </p:attrNameLst>
                                      </p:cBhvr>
                                      <p:to>
                                        <p:strVal val="visible"/>
                                      </p:to>
                                    </p:set>
                                    <p:animEffect transition="in" filter="fade">
                                      <p:cBhvr>
                                        <p:cTn id="84" dur="500"/>
                                        <p:tgtEl>
                                          <p:spTgt spid="45"/>
                                        </p:tgtEl>
                                      </p:cBhvr>
                                    </p:animEffect>
                                  </p:childTnLst>
                                </p:cTn>
                              </p:par>
                              <p:par>
                                <p:cTn id="85" presetID="10" presetClass="entr" presetSubtype="0" fill="hold" nodeType="withEffect">
                                  <p:stCondLst>
                                    <p:cond delay="0"/>
                                  </p:stCondLst>
                                  <p:childTnLst>
                                    <p:set>
                                      <p:cBhvr>
                                        <p:cTn id="86" dur="1" fill="hold">
                                          <p:stCondLst>
                                            <p:cond delay="0"/>
                                          </p:stCondLst>
                                        </p:cTn>
                                        <p:tgtEl>
                                          <p:spTgt spid="46"/>
                                        </p:tgtEl>
                                        <p:attrNameLst>
                                          <p:attrName>style.visibility</p:attrName>
                                        </p:attrNameLst>
                                      </p:cBhvr>
                                      <p:to>
                                        <p:strVal val="visible"/>
                                      </p:to>
                                    </p:set>
                                    <p:animEffect transition="in" filter="fade">
                                      <p:cBhvr>
                                        <p:cTn id="87" dur="500"/>
                                        <p:tgtEl>
                                          <p:spTgt spid="46"/>
                                        </p:tgtEl>
                                      </p:cBhvr>
                                    </p:animEffect>
                                  </p:childTnLst>
                                </p:cTn>
                              </p:par>
                              <p:par>
                                <p:cTn id="88" presetID="10" presetClass="entr" presetSubtype="0" fill="hold" nodeType="withEffect">
                                  <p:stCondLst>
                                    <p:cond delay="0"/>
                                  </p:stCondLst>
                                  <p:childTnLst>
                                    <p:set>
                                      <p:cBhvr>
                                        <p:cTn id="89" dur="1" fill="hold">
                                          <p:stCondLst>
                                            <p:cond delay="0"/>
                                          </p:stCondLst>
                                        </p:cTn>
                                        <p:tgtEl>
                                          <p:spTgt spid="47"/>
                                        </p:tgtEl>
                                        <p:attrNameLst>
                                          <p:attrName>style.visibility</p:attrName>
                                        </p:attrNameLst>
                                      </p:cBhvr>
                                      <p:to>
                                        <p:strVal val="visible"/>
                                      </p:to>
                                    </p:set>
                                    <p:animEffect transition="in" filter="fade">
                                      <p:cBhvr>
                                        <p:cTn id="90" dur="500"/>
                                        <p:tgtEl>
                                          <p:spTgt spid="47"/>
                                        </p:tgtEl>
                                      </p:cBhvr>
                                    </p:animEffect>
                                  </p:childTnLst>
                                </p:cTn>
                              </p:par>
                              <p:par>
                                <p:cTn id="91" presetID="10" presetClass="entr" presetSubtype="0" fill="hold" nodeType="withEffect">
                                  <p:stCondLst>
                                    <p:cond delay="0"/>
                                  </p:stCondLst>
                                  <p:childTnLst>
                                    <p:set>
                                      <p:cBhvr>
                                        <p:cTn id="92" dur="1" fill="hold">
                                          <p:stCondLst>
                                            <p:cond delay="0"/>
                                          </p:stCondLst>
                                        </p:cTn>
                                        <p:tgtEl>
                                          <p:spTgt spid="48"/>
                                        </p:tgtEl>
                                        <p:attrNameLst>
                                          <p:attrName>style.visibility</p:attrName>
                                        </p:attrNameLst>
                                      </p:cBhvr>
                                      <p:to>
                                        <p:strVal val="visible"/>
                                      </p:to>
                                    </p:set>
                                    <p:animEffect transition="in" filter="fade">
                                      <p:cBhvr>
                                        <p:cTn id="93" dur="500"/>
                                        <p:tgtEl>
                                          <p:spTgt spid="48"/>
                                        </p:tgtEl>
                                      </p:cBhvr>
                                    </p:animEffect>
                                  </p:childTnLst>
                                </p:cTn>
                              </p:par>
                              <p:par>
                                <p:cTn id="94" presetID="10" presetClass="entr" presetSubtype="0" fill="hold" nodeType="withEffect">
                                  <p:stCondLst>
                                    <p:cond delay="0"/>
                                  </p:stCondLst>
                                  <p:childTnLst>
                                    <p:set>
                                      <p:cBhvr>
                                        <p:cTn id="95" dur="1" fill="hold">
                                          <p:stCondLst>
                                            <p:cond delay="0"/>
                                          </p:stCondLst>
                                        </p:cTn>
                                        <p:tgtEl>
                                          <p:spTgt spid="49"/>
                                        </p:tgtEl>
                                        <p:attrNameLst>
                                          <p:attrName>style.visibility</p:attrName>
                                        </p:attrNameLst>
                                      </p:cBhvr>
                                      <p:to>
                                        <p:strVal val="visible"/>
                                      </p:to>
                                    </p:set>
                                    <p:animEffect transition="in" filter="fade">
                                      <p:cBhvr>
                                        <p:cTn id="96" dur="500"/>
                                        <p:tgtEl>
                                          <p:spTgt spid="49"/>
                                        </p:tgtEl>
                                      </p:cBhvr>
                                    </p:animEffect>
                                  </p:childTnLst>
                                </p:cTn>
                              </p:par>
                              <p:par>
                                <p:cTn id="97" presetID="10" presetClass="entr" presetSubtype="0" fill="hold" nodeType="withEffect">
                                  <p:stCondLst>
                                    <p:cond delay="0"/>
                                  </p:stCondLst>
                                  <p:childTnLst>
                                    <p:set>
                                      <p:cBhvr>
                                        <p:cTn id="98" dur="1" fill="hold">
                                          <p:stCondLst>
                                            <p:cond delay="0"/>
                                          </p:stCondLst>
                                        </p:cTn>
                                        <p:tgtEl>
                                          <p:spTgt spid="50"/>
                                        </p:tgtEl>
                                        <p:attrNameLst>
                                          <p:attrName>style.visibility</p:attrName>
                                        </p:attrNameLst>
                                      </p:cBhvr>
                                      <p:to>
                                        <p:strVal val="visible"/>
                                      </p:to>
                                    </p:set>
                                    <p:animEffect transition="in" filter="fade">
                                      <p:cBhvr>
                                        <p:cTn id="99" dur="500"/>
                                        <p:tgtEl>
                                          <p:spTgt spid="50"/>
                                        </p:tgtEl>
                                      </p:cBhvr>
                                    </p:animEffect>
                                  </p:childTnLst>
                                </p:cTn>
                              </p:par>
                              <p:par>
                                <p:cTn id="100" presetID="10" presetClass="entr" presetSubtype="0" fill="hold" nodeType="withEffect">
                                  <p:stCondLst>
                                    <p:cond delay="0"/>
                                  </p:stCondLst>
                                  <p:childTnLst>
                                    <p:set>
                                      <p:cBhvr>
                                        <p:cTn id="101" dur="1" fill="hold">
                                          <p:stCondLst>
                                            <p:cond delay="0"/>
                                          </p:stCondLst>
                                        </p:cTn>
                                        <p:tgtEl>
                                          <p:spTgt spid="51"/>
                                        </p:tgtEl>
                                        <p:attrNameLst>
                                          <p:attrName>style.visibility</p:attrName>
                                        </p:attrNameLst>
                                      </p:cBhvr>
                                      <p:to>
                                        <p:strVal val="visible"/>
                                      </p:to>
                                    </p:set>
                                    <p:animEffect transition="in" filter="fade">
                                      <p:cBhvr>
                                        <p:cTn id="102" dur="500"/>
                                        <p:tgtEl>
                                          <p:spTgt spid="5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5"/>
                                        </p:tgtEl>
                                        <p:attrNameLst>
                                          <p:attrName>style.visibility</p:attrName>
                                        </p:attrNameLst>
                                      </p:cBhvr>
                                      <p:to>
                                        <p:strVal val="visible"/>
                                      </p:to>
                                    </p:set>
                                    <p:animEffect transition="in" filter="fade">
                                      <p:cBhvr>
                                        <p:cTn id="105" dur="500"/>
                                        <p:tgtEl>
                                          <p:spTgt spid="5"/>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52"/>
                                        </p:tgtEl>
                                        <p:attrNameLst>
                                          <p:attrName>style.visibility</p:attrName>
                                        </p:attrNameLst>
                                      </p:cBhvr>
                                      <p:to>
                                        <p:strVal val="visible"/>
                                      </p:to>
                                    </p:set>
                                    <p:animEffect transition="in" filter="fade">
                                      <p:cBhvr>
                                        <p:cTn id="108" dur="500"/>
                                        <p:tgtEl>
                                          <p:spTgt spid="52"/>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
                                        </p:tgtEl>
                                        <p:attrNameLst>
                                          <p:attrName>style.visibility</p:attrName>
                                        </p:attrNameLst>
                                      </p:cBhvr>
                                      <p:to>
                                        <p:strVal val="visible"/>
                                      </p:to>
                                    </p:set>
                                    <p:animEffect transition="in" filter="fade">
                                      <p:cBhvr>
                                        <p:cTn id="111" dur="500"/>
                                        <p:tgtEl>
                                          <p:spTgt spid="7"/>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53"/>
                                        </p:tgtEl>
                                        <p:attrNameLst>
                                          <p:attrName>style.visibility</p:attrName>
                                        </p:attrNameLst>
                                      </p:cBhvr>
                                      <p:to>
                                        <p:strVal val="visible"/>
                                      </p:to>
                                    </p:set>
                                    <p:animEffect transition="in" filter="fade">
                                      <p:cBhvr>
                                        <p:cTn id="114" dur="500"/>
                                        <p:tgtEl>
                                          <p:spTgt spid="53"/>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54"/>
                                        </p:tgtEl>
                                        <p:attrNameLst>
                                          <p:attrName>style.visibility</p:attrName>
                                        </p:attrNameLst>
                                      </p:cBhvr>
                                      <p:to>
                                        <p:strVal val="visible"/>
                                      </p:to>
                                    </p:set>
                                    <p:animEffect transition="in" filter="fade">
                                      <p:cBhvr>
                                        <p:cTn id="117" dur="500"/>
                                        <p:tgtEl>
                                          <p:spTgt spid="54"/>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8"/>
                                        </p:tgtEl>
                                        <p:attrNameLst>
                                          <p:attrName>style.visibility</p:attrName>
                                        </p:attrNameLst>
                                      </p:cBhvr>
                                      <p:to>
                                        <p:strVal val="visible"/>
                                      </p:to>
                                    </p:set>
                                    <p:animEffect transition="in" filter="fade">
                                      <p:cBhvr>
                                        <p:cTn id="120" dur="500"/>
                                        <p:tgtEl>
                                          <p:spTgt spid="8"/>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61"/>
                                        </p:tgtEl>
                                        <p:attrNameLst>
                                          <p:attrName>style.visibility</p:attrName>
                                        </p:attrNameLst>
                                      </p:cBhvr>
                                      <p:to>
                                        <p:strVal val="visible"/>
                                      </p:to>
                                    </p:set>
                                    <p:animEffect transition="in" filter="fade">
                                      <p:cBhvr>
                                        <p:cTn id="123" dur="500"/>
                                        <p:tgtEl>
                                          <p:spTgt spid="61"/>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55"/>
                                        </p:tgtEl>
                                        <p:attrNameLst>
                                          <p:attrName>style.visibility</p:attrName>
                                        </p:attrNameLst>
                                      </p:cBhvr>
                                      <p:to>
                                        <p:strVal val="visible"/>
                                      </p:to>
                                    </p:set>
                                    <p:animEffect transition="in" filter="fade">
                                      <p:cBhvr>
                                        <p:cTn id="126" dur="500"/>
                                        <p:tgtEl>
                                          <p:spTgt spid="55"/>
                                        </p:tgtEl>
                                      </p:cBhvr>
                                    </p:animEffect>
                                  </p:childTnLst>
                                </p:cTn>
                              </p:par>
                              <p:par>
                                <p:cTn id="127" presetID="10" presetClass="entr" presetSubtype="0" fill="hold" nodeType="withEffect">
                                  <p:stCondLst>
                                    <p:cond delay="0"/>
                                  </p:stCondLst>
                                  <p:childTnLst>
                                    <p:set>
                                      <p:cBhvr>
                                        <p:cTn id="128" dur="1" fill="hold">
                                          <p:stCondLst>
                                            <p:cond delay="0"/>
                                          </p:stCondLst>
                                        </p:cTn>
                                        <p:tgtEl>
                                          <p:spTgt spid="62"/>
                                        </p:tgtEl>
                                        <p:attrNameLst>
                                          <p:attrName>style.visibility</p:attrName>
                                        </p:attrNameLst>
                                      </p:cBhvr>
                                      <p:to>
                                        <p:strVal val="visible"/>
                                      </p:to>
                                    </p:set>
                                    <p:animEffect transition="in" filter="fade">
                                      <p:cBhvr>
                                        <p:cTn id="129" dur="500"/>
                                        <p:tgtEl>
                                          <p:spTgt spid="62"/>
                                        </p:tgtEl>
                                      </p:cBhvr>
                                    </p:animEffect>
                                  </p:childTnLst>
                                </p:cTn>
                              </p:par>
                              <p:par>
                                <p:cTn id="130" presetID="10" presetClass="entr" presetSubtype="0" fill="hold" nodeType="withEffect">
                                  <p:stCondLst>
                                    <p:cond delay="0"/>
                                  </p:stCondLst>
                                  <p:childTnLst>
                                    <p:set>
                                      <p:cBhvr>
                                        <p:cTn id="131" dur="1" fill="hold">
                                          <p:stCondLst>
                                            <p:cond delay="0"/>
                                          </p:stCondLst>
                                        </p:cTn>
                                        <p:tgtEl>
                                          <p:spTgt spid="63"/>
                                        </p:tgtEl>
                                        <p:attrNameLst>
                                          <p:attrName>style.visibility</p:attrName>
                                        </p:attrNameLst>
                                      </p:cBhvr>
                                      <p:to>
                                        <p:strVal val="visible"/>
                                      </p:to>
                                    </p:set>
                                    <p:animEffect transition="in" filter="fade">
                                      <p:cBhvr>
                                        <p:cTn id="132" dur="500"/>
                                        <p:tgtEl>
                                          <p:spTgt spid="63"/>
                                        </p:tgtEl>
                                      </p:cBhvr>
                                    </p:animEffect>
                                  </p:childTnLst>
                                </p:cTn>
                              </p:par>
                              <p:par>
                                <p:cTn id="133" presetID="10" presetClass="entr" presetSubtype="0" fill="hold" nodeType="withEffect">
                                  <p:stCondLst>
                                    <p:cond delay="0"/>
                                  </p:stCondLst>
                                  <p:childTnLst>
                                    <p:set>
                                      <p:cBhvr>
                                        <p:cTn id="134" dur="1" fill="hold">
                                          <p:stCondLst>
                                            <p:cond delay="0"/>
                                          </p:stCondLst>
                                        </p:cTn>
                                        <p:tgtEl>
                                          <p:spTgt spid="64"/>
                                        </p:tgtEl>
                                        <p:attrNameLst>
                                          <p:attrName>style.visibility</p:attrName>
                                        </p:attrNameLst>
                                      </p:cBhvr>
                                      <p:to>
                                        <p:strVal val="visible"/>
                                      </p:to>
                                    </p:set>
                                    <p:animEffect transition="in" filter="fade">
                                      <p:cBhvr>
                                        <p:cTn id="135" dur="500"/>
                                        <p:tgtEl>
                                          <p:spTgt spid="64"/>
                                        </p:tgtEl>
                                      </p:cBhvr>
                                    </p:animEffect>
                                  </p:childTnLst>
                                </p:cTn>
                              </p:par>
                              <p:par>
                                <p:cTn id="136" presetID="10" presetClass="entr" presetSubtype="0" fill="hold" nodeType="withEffect">
                                  <p:stCondLst>
                                    <p:cond delay="0"/>
                                  </p:stCondLst>
                                  <p:childTnLst>
                                    <p:set>
                                      <p:cBhvr>
                                        <p:cTn id="137" dur="1" fill="hold">
                                          <p:stCondLst>
                                            <p:cond delay="0"/>
                                          </p:stCondLst>
                                        </p:cTn>
                                        <p:tgtEl>
                                          <p:spTgt spid="11"/>
                                        </p:tgtEl>
                                        <p:attrNameLst>
                                          <p:attrName>style.visibility</p:attrName>
                                        </p:attrNameLst>
                                      </p:cBhvr>
                                      <p:to>
                                        <p:strVal val="visible"/>
                                      </p:to>
                                    </p:set>
                                    <p:animEffect transition="in" filter="fade">
                                      <p:cBhvr>
                                        <p:cTn id="138" dur="500"/>
                                        <p:tgtEl>
                                          <p:spTgt spid="11"/>
                                        </p:tgtEl>
                                      </p:cBhvr>
                                    </p:animEffect>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grpId="0" nodeType="clickEffect">
                                  <p:stCondLst>
                                    <p:cond delay="0"/>
                                  </p:stCondLst>
                                  <p:childTnLst>
                                    <p:set>
                                      <p:cBhvr>
                                        <p:cTn id="142" dur="1" fill="hold">
                                          <p:stCondLst>
                                            <p:cond delay="0"/>
                                          </p:stCondLst>
                                        </p:cTn>
                                        <p:tgtEl>
                                          <p:spTgt spid="102"/>
                                        </p:tgtEl>
                                        <p:attrNameLst>
                                          <p:attrName>style.visibility</p:attrName>
                                        </p:attrNameLst>
                                      </p:cBhvr>
                                      <p:to>
                                        <p:strVal val="visible"/>
                                      </p:to>
                                    </p:set>
                                    <p:animEffect transition="in" filter="fade">
                                      <p:cBhvr>
                                        <p:cTn id="143" dur="500"/>
                                        <p:tgtEl>
                                          <p:spTgt spid="102"/>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103"/>
                                        </p:tgtEl>
                                        <p:attrNameLst>
                                          <p:attrName>style.visibility</p:attrName>
                                        </p:attrNameLst>
                                      </p:cBhvr>
                                      <p:to>
                                        <p:strVal val="visible"/>
                                      </p:to>
                                    </p:set>
                                    <p:animEffect transition="in" filter="fade">
                                      <p:cBhvr>
                                        <p:cTn id="146" dur="500"/>
                                        <p:tgtEl>
                                          <p:spTgt spid="103"/>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104"/>
                                        </p:tgtEl>
                                        <p:attrNameLst>
                                          <p:attrName>style.visibility</p:attrName>
                                        </p:attrNameLst>
                                      </p:cBhvr>
                                      <p:to>
                                        <p:strVal val="visible"/>
                                      </p:to>
                                    </p:set>
                                    <p:animEffect transition="in" filter="fade">
                                      <p:cBhvr>
                                        <p:cTn id="149" dur="500"/>
                                        <p:tgtEl>
                                          <p:spTgt spid="104"/>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105"/>
                                        </p:tgtEl>
                                        <p:attrNameLst>
                                          <p:attrName>style.visibility</p:attrName>
                                        </p:attrNameLst>
                                      </p:cBhvr>
                                      <p:to>
                                        <p:strVal val="visible"/>
                                      </p:to>
                                    </p:set>
                                    <p:animEffect transition="in" filter="fade">
                                      <p:cBhvr>
                                        <p:cTn id="152" dur="500"/>
                                        <p:tgtEl>
                                          <p:spTgt spid="105"/>
                                        </p:tgtEl>
                                      </p:cBhvr>
                                    </p:animEffect>
                                  </p:childTnLst>
                                </p:cTn>
                              </p:par>
                              <p:par>
                                <p:cTn id="153" presetID="10" presetClass="entr" presetSubtype="0" fill="hold" grpId="0" nodeType="withEffect">
                                  <p:stCondLst>
                                    <p:cond delay="0"/>
                                  </p:stCondLst>
                                  <p:childTnLst>
                                    <p:set>
                                      <p:cBhvr>
                                        <p:cTn id="154" dur="1" fill="hold">
                                          <p:stCondLst>
                                            <p:cond delay="0"/>
                                          </p:stCondLst>
                                        </p:cTn>
                                        <p:tgtEl>
                                          <p:spTgt spid="106"/>
                                        </p:tgtEl>
                                        <p:attrNameLst>
                                          <p:attrName>style.visibility</p:attrName>
                                        </p:attrNameLst>
                                      </p:cBhvr>
                                      <p:to>
                                        <p:strVal val="visible"/>
                                      </p:to>
                                    </p:set>
                                    <p:animEffect transition="in" filter="fade">
                                      <p:cBhvr>
                                        <p:cTn id="155" dur="500"/>
                                        <p:tgtEl>
                                          <p:spTgt spid="106"/>
                                        </p:tgtEl>
                                      </p:cBhvr>
                                    </p:animEffect>
                                  </p:childTnLst>
                                </p:cTn>
                              </p:par>
                              <p:par>
                                <p:cTn id="156" presetID="10" presetClass="entr" presetSubtype="0" fill="hold" grpId="0" nodeType="withEffect">
                                  <p:stCondLst>
                                    <p:cond delay="0"/>
                                  </p:stCondLst>
                                  <p:childTnLst>
                                    <p:set>
                                      <p:cBhvr>
                                        <p:cTn id="157" dur="1" fill="hold">
                                          <p:stCondLst>
                                            <p:cond delay="0"/>
                                          </p:stCondLst>
                                        </p:cTn>
                                        <p:tgtEl>
                                          <p:spTgt spid="107"/>
                                        </p:tgtEl>
                                        <p:attrNameLst>
                                          <p:attrName>style.visibility</p:attrName>
                                        </p:attrNameLst>
                                      </p:cBhvr>
                                      <p:to>
                                        <p:strVal val="visible"/>
                                      </p:to>
                                    </p:set>
                                    <p:animEffect transition="in" filter="fade">
                                      <p:cBhvr>
                                        <p:cTn id="158" dur="500"/>
                                        <p:tgtEl>
                                          <p:spTgt spid="107"/>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35"/>
                                        </p:tgtEl>
                                        <p:attrNameLst>
                                          <p:attrName>style.visibility</p:attrName>
                                        </p:attrNameLst>
                                      </p:cBhvr>
                                      <p:to>
                                        <p:strVal val="visible"/>
                                      </p:to>
                                    </p:set>
                                    <p:animEffect transition="in" filter="fade">
                                      <p:cBhvr>
                                        <p:cTn id="16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3" grpId="0"/>
      <p:bldP spid="104" grpId="0"/>
      <p:bldP spid="105" grpId="0"/>
      <p:bldP spid="106" grpId="0"/>
      <p:bldP spid="107" grpId="0"/>
      <p:bldP spid="35" grpId="0"/>
      <p:bldP spid="80" grpId="0" animBg="1"/>
      <p:bldP spid="81" grpId="0" animBg="1"/>
      <p:bldP spid="82" grpId="0" animBg="1"/>
      <p:bldP spid="83" grpId="0" animBg="1"/>
      <p:bldP spid="84" grpId="0" animBg="1"/>
      <p:bldP spid="85" grpId="0" animBg="1"/>
      <p:bldP spid="86" grpId="0"/>
      <p:bldP spid="89" grpId="0"/>
      <p:bldP spid="90" grpId="0"/>
      <p:bldP spid="91" grpId="0"/>
      <p:bldP spid="93" grpId="0" animBg="1"/>
      <p:bldP spid="95" grpId="0"/>
      <p:bldP spid="96" grpId="0"/>
      <p:bldP spid="97" grpId="0"/>
      <p:bldP spid="98" grpId="0" animBg="1"/>
      <p:bldP spid="99" grpId="0" animBg="1"/>
      <p:bldP spid="101" grpId="0"/>
      <p:bldP spid="6" grpId="0"/>
      <p:bldP spid="41" grpId="0" animBg="1"/>
      <p:bldP spid="42" grpId="0" animBg="1"/>
      <p:bldP spid="43" grpId="0"/>
      <p:bldP spid="45" grpId="0"/>
      <p:bldP spid="5" grpId="0"/>
      <p:bldP spid="52" grpId="0"/>
      <p:bldP spid="7" grpId="0"/>
      <p:bldP spid="53" grpId="0" animBg="1"/>
      <p:bldP spid="54" grpId="0"/>
      <p:bldP spid="8" grpId="0"/>
      <p:bldP spid="61" grpId="0"/>
      <p:bldP spid="5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ectangle 132"/>
          <p:cNvSpPr/>
          <p:nvPr/>
        </p:nvSpPr>
        <p:spPr bwMode="auto">
          <a:xfrm>
            <a:off x="6524676" y="1938606"/>
            <a:ext cx="685742" cy="62368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lnSpc>
                <a:spcPts val="662"/>
              </a:lnSpc>
              <a:spcBef>
                <a:spcPct val="0"/>
              </a:spcBef>
              <a:spcAft>
                <a:spcPts val="221"/>
              </a:spcAft>
            </a:pPr>
            <a:r>
              <a:rPr lang="en-US" sz="825" dirty="0">
                <a:gradFill>
                  <a:gsLst>
                    <a:gs pos="0">
                      <a:srgbClr val="FFFFFF"/>
                    </a:gs>
                    <a:gs pos="100000">
                      <a:srgbClr val="FFFFFF"/>
                    </a:gs>
                  </a:gsLst>
                  <a:lin ang="5400000" scaled="0"/>
                </a:gradFill>
              </a:rPr>
              <a:t>connect</a:t>
            </a:r>
            <a:endParaRPr lang="en-US" sz="825" dirty="0">
              <a:gradFill>
                <a:gsLst>
                  <a:gs pos="0">
                    <a:srgbClr val="FFFFFF"/>
                  </a:gs>
                  <a:gs pos="100000">
                    <a:srgbClr val="FFFFFF"/>
                  </a:gs>
                </a:gsLst>
                <a:lin ang="5400000" scaled="0"/>
              </a:gradFill>
            </a:endParaRPr>
          </a:p>
        </p:txBody>
      </p:sp>
      <p:sp>
        <p:nvSpPr>
          <p:cNvPr id="136" name="Rectangle 135"/>
          <p:cNvSpPr/>
          <p:nvPr/>
        </p:nvSpPr>
        <p:spPr bwMode="auto">
          <a:xfrm>
            <a:off x="7248095" y="1938606"/>
            <a:ext cx="685742" cy="62368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lnSpc>
                <a:spcPts val="662"/>
              </a:lnSpc>
              <a:spcBef>
                <a:spcPct val="0"/>
              </a:spcBef>
              <a:spcAft>
                <a:spcPts val="221"/>
              </a:spcAft>
            </a:pPr>
            <a:r>
              <a:rPr lang="en-US" sz="825" dirty="0">
                <a:gradFill>
                  <a:gsLst>
                    <a:gs pos="0">
                      <a:srgbClr val="FFFFFF"/>
                    </a:gs>
                    <a:gs pos="100000">
                      <a:srgbClr val="FFFFFF"/>
                    </a:gs>
                  </a:gsLst>
                  <a:lin ang="5400000" scaled="0"/>
                </a:gradFill>
              </a:rPr>
              <a:t>virtual network</a:t>
            </a:r>
            <a:endParaRPr lang="en-US" sz="825" dirty="0">
              <a:gradFill>
                <a:gsLst>
                  <a:gs pos="0">
                    <a:srgbClr val="FFFFFF"/>
                  </a:gs>
                  <a:gs pos="100000">
                    <a:srgbClr val="FFFFFF"/>
                  </a:gs>
                </a:gsLst>
                <a:lin ang="5400000" scaled="0"/>
              </a:gradFill>
            </a:endParaRPr>
          </a:p>
        </p:txBody>
      </p:sp>
      <p:sp>
        <p:nvSpPr>
          <p:cNvPr id="140" name="Rectangle 139"/>
          <p:cNvSpPr/>
          <p:nvPr/>
        </p:nvSpPr>
        <p:spPr bwMode="auto">
          <a:xfrm>
            <a:off x="7977435" y="1938606"/>
            <a:ext cx="685742" cy="62368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lnSpc>
                <a:spcPts val="662"/>
              </a:lnSpc>
              <a:spcBef>
                <a:spcPct val="0"/>
              </a:spcBef>
              <a:spcAft>
                <a:spcPts val="221"/>
              </a:spcAft>
            </a:pPr>
            <a:r>
              <a:rPr lang="en-US" sz="825" dirty="0">
                <a:gradFill>
                  <a:gsLst>
                    <a:gs pos="0">
                      <a:srgbClr val="FFFFFF"/>
                    </a:gs>
                    <a:gs pos="100000">
                      <a:srgbClr val="FFFFFF"/>
                    </a:gs>
                  </a:gsLst>
                  <a:lin ang="5400000" scaled="0"/>
                </a:gradFill>
              </a:rPr>
              <a:t>traffic manager</a:t>
            </a:r>
            <a:endParaRPr lang="en-US" sz="825" dirty="0">
              <a:gradFill>
                <a:gsLst>
                  <a:gs pos="0">
                    <a:srgbClr val="FFFFFF"/>
                  </a:gs>
                  <a:gs pos="100000">
                    <a:srgbClr val="FFFFFF"/>
                  </a:gs>
                </a:gsLst>
                <a:lin ang="5400000" scaled="0"/>
              </a:gradFill>
            </a:endParaRPr>
          </a:p>
        </p:txBody>
      </p:sp>
      <p:sp>
        <p:nvSpPr>
          <p:cNvPr id="126" name="Rectangle 125"/>
          <p:cNvSpPr/>
          <p:nvPr/>
        </p:nvSpPr>
        <p:spPr bwMode="auto">
          <a:xfrm>
            <a:off x="4227069" y="1938606"/>
            <a:ext cx="685742" cy="62368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lnSpc>
                <a:spcPts val="662"/>
              </a:lnSpc>
              <a:spcBef>
                <a:spcPct val="0"/>
              </a:spcBef>
              <a:spcAft>
                <a:spcPts val="221"/>
              </a:spcAft>
            </a:pPr>
            <a:r>
              <a:rPr lang="en-US" sz="825" dirty="0" err="1">
                <a:gradFill>
                  <a:gsLst>
                    <a:gs pos="0">
                      <a:srgbClr val="FFFFFF"/>
                    </a:gs>
                    <a:gs pos="100000">
                      <a:srgbClr val="FFFFFF"/>
                    </a:gs>
                  </a:gsLst>
                  <a:lin ang="5400000" scaled="0"/>
                </a:gradFill>
              </a:rPr>
              <a:t>HDInsight</a:t>
            </a:r>
            <a:endParaRPr lang="en-US" sz="825" dirty="0">
              <a:gradFill>
                <a:gsLst>
                  <a:gs pos="0">
                    <a:srgbClr val="FFFFFF"/>
                  </a:gs>
                  <a:gs pos="100000">
                    <a:srgbClr val="FFFFFF"/>
                  </a:gs>
                </a:gsLst>
                <a:lin ang="5400000" scaled="0"/>
              </a:gradFill>
            </a:endParaRPr>
          </a:p>
        </p:txBody>
      </p:sp>
      <p:sp>
        <p:nvSpPr>
          <p:cNvPr id="127" name="Rectangle 126"/>
          <p:cNvSpPr/>
          <p:nvPr/>
        </p:nvSpPr>
        <p:spPr bwMode="auto">
          <a:xfrm>
            <a:off x="4950669" y="1938606"/>
            <a:ext cx="685742" cy="62368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lnSpc>
                <a:spcPts val="662"/>
              </a:lnSpc>
              <a:spcBef>
                <a:spcPct val="0"/>
              </a:spcBef>
              <a:spcAft>
                <a:spcPts val="221"/>
              </a:spcAft>
            </a:pPr>
            <a:r>
              <a:rPr lang="en-US" sz="825" dirty="0">
                <a:gradFill>
                  <a:gsLst>
                    <a:gs pos="0">
                      <a:srgbClr val="FFFFFF"/>
                    </a:gs>
                    <a:gs pos="100000">
                      <a:srgbClr val="FFFFFF"/>
                    </a:gs>
                  </a:gsLst>
                  <a:lin ang="5400000" scaled="0"/>
                </a:gradFill>
              </a:rPr>
              <a:t>tables</a:t>
            </a:r>
            <a:endParaRPr lang="en-US" sz="825" dirty="0">
              <a:gradFill>
                <a:gsLst>
                  <a:gs pos="0">
                    <a:srgbClr val="FFFFFF"/>
                  </a:gs>
                  <a:gs pos="100000">
                    <a:srgbClr val="FFFFFF"/>
                  </a:gs>
                </a:gsLst>
                <a:lin ang="5400000" scaled="0"/>
              </a:gradFill>
            </a:endParaRPr>
          </a:p>
        </p:txBody>
      </p:sp>
      <p:sp>
        <p:nvSpPr>
          <p:cNvPr id="130" name="Rectangle 129"/>
          <p:cNvSpPr/>
          <p:nvPr/>
        </p:nvSpPr>
        <p:spPr bwMode="auto">
          <a:xfrm>
            <a:off x="5676420" y="1938606"/>
            <a:ext cx="685742" cy="62368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lnSpc>
                <a:spcPts val="662"/>
              </a:lnSpc>
              <a:spcBef>
                <a:spcPct val="0"/>
              </a:spcBef>
              <a:spcAft>
                <a:spcPts val="221"/>
              </a:spcAft>
            </a:pPr>
            <a:r>
              <a:rPr lang="en-US" sz="825" dirty="0">
                <a:gradFill>
                  <a:gsLst>
                    <a:gs pos="0">
                      <a:srgbClr val="FFFFFF"/>
                    </a:gs>
                    <a:gs pos="100000">
                      <a:srgbClr val="FFFFFF"/>
                    </a:gs>
                  </a:gsLst>
                  <a:lin ang="5400000" scaled="0"/>
                </a:gradFill>
              </a:rPr>
              <a:t>blob storage</a:t>
            </a:r>
            <a:endParaRPr lang="en-US" sz="825" dirty="0">
              <a:gradFill>
                <a:gsLst>
                  <a:gs pos="0">
                    <a:srgbClr val="FFFFFF"/>
                  </a:gs>
                  <a:gs pos="100000">
                    <a:srgbClr val="FFFFFF"/>
                  </a:gs>
                </a:gsLst>
                <a:lin ang="5400000" scaled="0"/>
              </a:gradFill>
            </a:endParaRPr>
          </a:p>
        </p:txBody>
      </p:sp>
      <p:sp>
        <p:nvSpPr>
          <p:cNvPr id="120" name="Rectangle 119"/>
          <p:cNvSpPr/>
          <p:nvPr/>
        </p:nvSpPr>
        <p:spPr bwMode="auto">
          <a:xfrm>
            <a:off x="3502096" y="1938606"/>
            <a:ext cx="685742" cy="623689"/>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lnSpc>
                <a:spcPts val="662"/>
              </a:lnSpc>
              <a:spcBef>
                <a:spcPct val="0"/>
              </a:spcBef>
              <a:spcAft>
                <a:spcPts val="221"/>
              </a:spcAft>
            </a:pPr>
            <a:r>
              <a:rPr lang="en-US" sz="825" dirty="0">
                <a:gradFill>
                  <a:gsLst>
                    <a:gs pos="0">
                      <a:srgbClr val="FFFFFF"/>
                    </a:gs>
                    <a:gs pos="100000">
                      <a:srgbClr val="FFFFFF"/>
                    </a:gs>
                  </a:gsLst>
                  <a:lin ang="5400000" scaled="0"/>
                </a:gradFill>
              </a:rPr>
              <a:t>SQL database</a:t>
            </a:r>
            <a:endParaRPr lang="en-US" sz="825" dirty="0">
              <a:gradFill>
                <a:gsLst>
                  <a:gs pos="0">
                    <a:srgbClr val="FFFFFF"/>
                  </a:gs>
                  <a:gs pos="100000">
                    <a:srgbClr val="FFFFFF"/>
                  </a:gs>
                </a:gsLst>
                <a:lin ang="5400000" scaled="0"/>
              </a:gradFill>
            </a:endParaRPr>
          </a:p>
        </p:txBody>
      </p:sp>
      <p:grpSp>
        <p:nvGrpSpPr>
          <p:cNvPr id="18" name="Group 17"/>
          <p:cNvGrpSpPr/>
          <p:nvPr/>
        </p:nvGrpSpPr>
        <p:grpSpPr>
          <a:xfrm>
            <a:off x="2648491" y="1939604"/>
            <a:ext cx="685742" cy="623689"/>
            <a:chOff x="3905005" y="2764563"/>
            <a:chExt cx="932657" cy="848261"/>
          </a:xfrm>
        </p:grpSpPr>
        <p:sp>
          <p:nvSpPr>
            <p:cNvPr id="116" name="Rectangle 115"/>
            <p:cNvSpPr/>
            <p:nvPr/>
          </p:nvSpPr>
          <p:spPr bwMode="auto">
            <a:xfrm>
              <a:off x="3905005"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lnSpc>
                  <a:spcPts val="662"/>
                </a:lnSpc>
                <a:spcBef>
                  <a:spcPct val="0"/>
                </a:spcBef>
                <a:spcAft>
                  <a:spcPts val="221"/>
                </a:spcAft>
              </a:pPr>
              <a:r>
                <a:rPr lang="en-US" sz="825" dirty="0">
                  <a:gradFill>
                    <a:gsLst>
                      <a:gs pos="0">
                        <a:srgbClr val="FFFFFF"/>
                      </a:gs>
                      <a:gs pos="100000">
                        <a:srgbClr val="FFFFFF"/>
                      </a:gs>
                    </a:gsLst>
                    <a:lin ang="5400000" scaled="0"/>
                  </a:gradFill>
                </a:rPr>
                <a:t>m</a:t>
              </a:r>
              <a:r>
                <a:rPr lang="en-US" sz="825" dirty="0">
                  <a:gradFill>
                    <a:gsLst>
                      <a:gs pos="0">
                        <a:srgbClr val="FFFFFF"/>
                      </a:gs>
                      <a:gs pos="100000">
                        <a:srgbClr val="FFFFFF"/>
                      </a:gs>
                    </a:gsLst>
                    <a:lin ang="5400000" scaled="0"/>
                  </a:gradFill>
                </a:rPr>
                <a:t>obile services</a:t>
              </a:r>
              <a:endParaRPr lang="en-US" sz="825" dirty="0">
                <a:gradFill>
                  <a:gsLst>
                    <a:gs pos="0">
                      <a:srgbClr val="FFFFFF"/>
                    </a:gs>
                    <a:gs pos="100000">
                      <a:srgbClr val="FFFFFF"/>
                    </a:gs>
                  </a:gsLst>
                  <a:lin ang="5400000" scaled="0"/>
                </a:gradFill>
              </a:endParaRPr>
            </a:p>
          </p:txBody>
        </p:sp>
        <p:pic>
          <p:nvPicPr>
            <p:cNvPr id="128" name="Picture 12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193710" y="2862665"/>
              <a:ext cx="287186" cy="415748"/>
            </a:xfrm>
            <a:prstGeom prst="rect">
              <a:avLst/>
            </a:prstGeom>
          </p:spPr>
        </p:pic>
      </p:grpSp>
      <p:sp>
        <p:nvSpPr>
          <p:cNvPr id="3" name="Rectangle 2"/>
          <p:cNvSpPr/>
          <p:nvPr/>
        </p:nvSpPr>
        <p:spPr>
          <a:xfrm>
            <a:off x="397269" y="2867824"/>
            <a:ext cx="8329116" cy="1896801"/>
          </a:xfrm>
          <a:prstGeom prst="rect">
            <a:avLst/>
          </a:prstGeom>
          <a:solidFill>
            <a:srgbClr val="00A1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spcBef>
                <a:spcPct val="0"/>
              </a:spcBef>
              <a:spcAft>
                <a:spcPct val="0"/>
              </a:spcAft>
            </a:pPr>
            <a:endParaRPr lang="en-US" sz="825" dirty="0">
              <a:gradFill>
                <a:gsLst>
                  <a:gs pos="0">
                    <a:srgbClr val="FFFFFF"/>
                  </a:gs>
                  <a:gs pos="100000">
                    <a:srgbClr val="FFFFFF"/>
                  </a:gs>
                </a:gsLst>
                <a:lin ang="5400000" scaled="0"/>
              </a:gradFill>
            </a:endParaRPr>
          </a:p>
        </p:txBody>
      </p:sp>
      <p:sp>
        <p:nvSpPr>
          <p:cNvPr id="5" name="Rectangle 4"/>
          <p:cNvSpPr/>
          <p:nvPr/>
        </p:nvSpPr>
        <p:spPr bwMode="auto">
          <a:xfrm>
            <a:off x="407323" y="84199"/>
            <a:ext cx="8319277" cy="71217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7919" tIns="48961" rIns="97919" bIns="48961" rtlCol="0" anchor="ctr"/>
          <a:lstStyle/>
          <a:p>
            <a:pPr algn="ctr"/>
            <a:endParaRPr lang="en-US" sz="1350" dirty="0">
              <a:latin typeface="Segoe UI" pitchFamily="34" charset="0"/>
              <a:ea typeface="Segoe UI" pitchFamily="34" charset="0"/>
              <a:cs typeface="Segoe UI" pitchFamily="34" charset="0"/>
            </a:endParaRPr>
          </a:p>
        </p:txBody>
      </p:sp>
      <p:pic>
        <p:nvPicPr>
          <p:cNvPr id="6" name="Picture 4" descr="http://www.jbase.com/new/products/images/java.png"/>
          <p:cNvPicPr>
            <a:picLocks noChangeAspect="1" noChangeArrowheads="1"/>
          </p:cNvPicPr>
          <p:nvPr/>
        </p:nvPicPr>
        <p:blipFill>
          <a:blip r:embed="rId5" cstate="print">
            <a:lum bright="100000" contrast="100000"/>
          </a:blip>
          <a:srcRect/>
          <a:stretch>
            <a:fillRect/>
          </a:stretch>
        </p:blipFill>
        <p:spPr bwMode="auto">
          <a:xfrm>
            <a:off x="2979719" y="137341"/>
            <a:ext cx="300863" cy="561352"/>
          </a:xfrm>
          <a:prstGeom prst="rect">
            <a:avLst/>
          </a:prstGeom>
          <a:noFill/>
        </p:spPr>
      </p:pic>
      <p:pic>
        <p:nvPicPr>
          <p:cNvPr id="7" name="Picture 6" descr="PHP.png"/>
          <p:cNvPicPr>
            <a:picLocks noChangeAspect="1"/>
          </p:cNvPicPr>
          <p:nvPr/>
        </p:nvPicPr>
        <p:blipFill>
          <a:blip r:embed="rId6" cstate="print"/>
          <a:stretch>
            <a:fillRect/>
          </a:stretch>
        </p:blipFill>
        <p:spPr>
          <a:xfrm>
            <a:off x="3972000" y="284920"/>
            <a:ext cx="711444" cy="374176"/>
          </a:xfrm>
          <a:prstGeom prst="rect">
            <a:avLst/>
          </a:prstGeom>
          <a:noFill/>
        </p:spPr>
      </p:pic>
      <p:pic>
        <p:nvPicPr>
          <p:cNvPr id="8" name="Picture 2" descr="https://mediabank.partners.extranet.microsoft.com/Assets/Active/M-Q/Microsoft_.NET/Microsoft_NET_ADO_.NET/Logos+Logotypes/NET-ADO_bL.png"/>
          <p:cNvPicPr>
            <a:picLocks noChangeAspect="1" noChangeArrowheads="1"/>
          </p:cNvPicPr>
          <p:nvPr/>
        </p:nvPicPr>
        <p:blipFill>
          <a:blip r:embed="rId7" cstate="print">
            <a:lum bright="100000" contrast="100000"/>
            <a:alphaModFix/>
          </a:blip>
          <a:srcRect r="31488"/>
          <a:stretch>
            <a:fillRect/>
          </a:stretch>
        </p:blipFill>
        <p:spPr bwMode="auto">
          <a:xfrm>
            <a:off x="953748" y="267278"/>
            <a:ext cx="1334554" cy="385706"/>
          </a:xfrm>
          <a:prstGeom prst="rect">
            <a:avLst/>
          </a:prstGeom>
          <a:noFill/>
        </p:spPr>
      </p:pic>
      <p:sp>
        <p:nvSpPr>
          <p:cNvPr id="9" name="Rectangle 8"/>
          <p:cNvSpPr/>
          <p:nvPr/>
        </p:nvSpPr>
        <p:spPr>
          <a:xfrm>
            <a:off x="616894" y="2936967"/>
            <a:ext cx="4104938" cy="600164"/>
          </a:xfrm>
          <a:prstGeom prst="rect">
            <a:avLst/>
          </a:prstGeom>
        </p:spPr>
        <p:txBody>
          <a:bodyPr wrap="square">
            <a:spAutoFit/>
          </a:bodyPr>
          <a:lstStyle/>
          <a:p>
            <a:pPr defTabSz="1087508"/>
            <a:r>
              <a:rPr lang="en-US" sz="2100" dirty="0">
                <a:solidFill>
                  <a:schemeClr val="bg1">
                    <a:alpha val="99000"/>
                  </a:schemeClr>
                </a:solidFill>
                <a:latin typeface="Segoe UI" pitchFamily="34" charset="0"/>
                <a:ea typeface="Segoe UI" pitchFamily="34" charset="0"/>
                <a:cs typeface="Segoe UI" pitchFamily="34" charset="0"/>
              </a:rPr>
              <a:t>Global Physical Infrastructure</a:t>
            </a:r>
          </a:p>
          <a:p>
            <a:pPr defTabSz="1087508"/>
            <a:r>
              <a:rPr lang="en-US" sz="1200" i="1" dirty="0">
                <a:solidFill>
                  <a:schemeClr val="bg1">
                    <a:alpha val="99000"/>
                  </a:schemeClr>
                </a:solidFill>
                <a:latin typeface="Segoe UI" pitchFamily="34" charset="0"/>
                <a:ea typeface="Segoe UI" pitchFamily="34" charset="0"/>
                <a:cs typeface="Segoe UI" pitchFamily="34" charset="0"/>
              </a:rPr>
              <a:t>servers / network / datacenters</a:t>
            </a:r>
          </a:p>
        </p:txBody>
      </p:sp>
      <p:grpSp>
        <p:nvGrpSpPr>
          <p:cNvPr id="117" name="Group 116"/>
          <p:cNvGrpSpPr/>
          <p:nvPr/>
        </p:nvGrpSpPr>
        <p:grpSpPr>
          <a:xfrm>
            <a:off x="1579708" y="1077005"/>
            <a:ext cx="685742" cy="623689"/>
            <a:chOff x="557112" y="1694567"/>
            <a:chExt cx="932657" cy="848261"/>
          </a:xfrm>
        </p:grpSpPr>
        <p:sp>
          <p:nvSpPr>
            <p:cNvPr id="10" name="Rectangle 9"/>
            <p:cNvSpPr/>
            <p:nvPr/>
          </p:nvSpPr>
          <p:spPr bwMode="auto">
            <a:xfrm>
              <a:off x="557112"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spcBef>
                  <a:spcPct val="0"/>
                </a:spcBef>
                <a:spcAft>
                  <a:spcPct val="0"/>
                </a:spcAft>
              </a:pPr>
              <a:r>
                <a:rPr lang="en-US" sz="825" dirty="0">
                  <a:gradFill>
                    <a:gsLst>
                      <a:gs pos="0">
                        <a:srgbClr val="FFFFFF"/>
                      </a:gs>
                      <a:gs pos="100000">
                        <a:srgbClr val="FFFFFF"/>
                      </a:gs>
                    </a:gsLst>
                    <a:lin ang="5400000" scaled="0"/>
                  </a:gradFill>
                </a:rPr>
                <a:t>caching</a:t>
              </a:r>
            </a:p>
          </p:txBody>
        </p:sp>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3782" y="1799715"/>
              <a:ext cx="440572" cy="436597"/>
            </a:xfrm>
            <a:prstGeom prst="rect">
              <a:avLst/>
            </a:prstGeom>
          </p:spPr>
        </p:pic>
      </p:grpSp>
      <p:grpSp>
        <p:nvGrpSpPr>
          <p:cNvPr id="122" name="Group 121"/>
          <p:cNvGrpSpPr/>
          <p:nvPr/>
        </p:nvGrpSpPr>
        <p:grpSpPr>
          <a:xfrm>
            <a:off x="3869014" y="1077005"/>
            <a:ext cx="685742" cy="623689"/>
            <a:chOff x="3670728" y="1694567"/>
            <a:chExt cx="932657" cy="848261"/>
          </a:xfrm>
        </p:grpSpPr>
        <p:sp>
          <p:nvSpPr>
            <p:cNvPr id="14" name="Rectangle 13"/>
            <p:cNvSpPr/>
            <p:nvPr/>
          </p:nvSpPr>
          <p:spPr bwMode="auto">
            <a:xfrm>
              <a:off x="3670728"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spcBef>
                  <a:spcPct val="0"/>
                </a:spcBef>
                <a:spcAft>
                  <a:spcPct val="0"/>
                </a:spcAft>
              </a:pPr>
              <a:r>
                <a:rPr lang="en-US" sz="825" dirty="0">
                  <a:gradFill>
                    <a:gsLst>
                      <a:gs pos="0">
                        <a:srgbClr val="FFFFFF"/>
                      </a:gs>
                      <a:gs pos="100000">
                        <a:srgbClr val="FFFFFF"/>
                      </a:gs>
                    </a:gsLst>
                    <a:lin ang="5400000" scaled="0"/>
                  </a:gradFill>
                </a:rPr>
                <a:t>media</a:t>
              </a:r>
            </a:p>
          </p:txBody>
        </p:sp>
        <p:pic>
          <p:nvPicPr>
            <p:cNvPr id="16" name="Picture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31611" y="1794519"/>
              <a:ext cx="443940" cy="439934"/>
            </a:xfrm>
            <a:prstGeom prst="rect">
              <a:avLst/>
            </a:prstGeom>
          </p:spPr>
        </p:pic>
      </p:grpSp>
      <p:grpSp>
        <p:nvGrpSpPr>
          <p:cNvPr id="137" name="Group 136"/>
          <p:cNvGrpSpPr/>
          <p:nvPr/>
        </p:nvGrpSpPr>
        <p:grpSpPr>
          <a:xfrm>
            <a:off x="4632117" y="1077005"/>
            <a:ext cx="685742" cy="623689"/>
            <a:chOff x="4708600" y="1694567"/>
            <a:chExt cx="932657" cy="848261"/>
          </a:xfrm>
        </p:grpSpPr>
        <p:sp>
          <p:nvSpPr>
            <p:cNvPr id="15" name="Rectangle 14"/>
            <p:cNvSpPr/>
            <p:nvPr/>
          </p:nvSpPr>
          <p:spPr bwMode="auto">
            <a:xfrm>
              <a:off x="4708600"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spcBef>
                  <a:spcPct val="0"/>
                </a:spcBef>
                <a:spcAft>
                  <a:spcPct val="0"/>
                </a:spcAft>
              </a:pPr>
              <a:r>
                <a:rPr lang="en-US" sz="825" dirty="0" err="1">
                  <a:gradFill>
                    <a:gsLst>
                      <a:gs pos="0">
                        <a:srgbClr val="FFFFFF"/>
                      </a:gs>
                      <a:gs pos="100000">
                        <a:srgbClr val="FFFFFF"/>
                      </a:gs>
                    </a:gsLst>
                    <a:lin ang="5400000" scaled="0"/>
                  </a:gradFill>
                </a:rPr>
                <a:t>cdn</a:t>
              </a:r>
              <a:endParaRPr lang="en-US" sz="825" dirty="0">
                <a:gradFill>
                  <a:gsLst>
                    <a:gs pos="0">
                      <a:srgbClr val="FFFFFF"/>
                    </a:gs>
                    <a:gs pos="100000">
                      <a:srgbClr val="FFFFFF"/>
                    </a:gs>
                  </a:gsLst>
                  <a:lin ang="5400000" scaled="0"/>
                </a:gradFill>
              </a:endParaRPr>
            </a:p>
          </p:txBody>
        </p:sp>
        <p:pic>
          <p:nvPicPr>
            <p:cNvPr id="19" name="Picture 5" descr="C:\Users\Jonahs\Dropbox\Projects SCOTT\MEET Windows Azure\source\Background\tile-icon-CD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34085" y="1770440"/>
              <a:ext cx="505669" cy="5011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8" name="Group 137"/>
          <p:cNvGrpSpPr/>
          <p:nvPr/>
        </p:nvGrpSpPr>
        <p:grpSpPr>
          <a:xfrm>
            <a:off x="6152145" y="1076469"/>
            <a:ext cx="685742" cy="623689"/>
            <a:chOff x="6775944" y="1693838"/>
            <a:chExt cx="932657" cy="848261"/>
          </a:xfrm>
        </p:grpSpPr>
        <p:sp>
          <p:nvSpPr>
            <p:cNvPr id="23" name="Rectangle 22"/>
            <p:cNvSpPr/>
            <p:nvPr/>
          </p:nvSpPr>
          <p:spPr bwMode="auto">
            <a:xfrm>
              <a:off x="6775944" y="1693838"/>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spcBef>
                  <a:spcPct val="0"/>
                </a:spcBef>
                <a:spcAft>
                  <a:spcPct val="0"/>
                </a:spcAft>
              </a:pPr>
              <a:r>
                <a:rPr lang="en-US" sz="825" dirty="0" err="1">
                  <a:gradFill>
                    <a:gsLst>
                      <a:gs pos="0">
                        <a:srgbClr val="FFFFFF"/>
                      </a:gs>
                      <a:gs pos="100000">
                        <a:srgbClr val="FFFFFF"/>
                      </a:gs>
                    </a:gsLst>
                    <a:lin ang="5400000" scaled="0"/>
                  </a:gradFill>
                </a:rPr>
                <a:t>hpc</a:t>
              </a:r>
              <a:endParaRPr lang="en-US" sz="825" dirty="0">
                <a:gradFill>
                  <a:gsLst>
                    <a:gs pos="0">
                      <a:srgbClr val="FFFFFF"/>
                    </a:gs>
                    <a:gs pos="100000">
                      <a:srgbClr val="FFFFFF"/>
                    </a:gs>
                  </a:gsLst>
                  <a:lin ang="5400000" scaled="0"/>
                </a:gradFill>
              </a:endParaRPr>
            </a:p>
          </p:txBody>
        </p:sp>
        <p:pic>
          <p:nvPicPr>
            <p:cNvPr id="30" name="Picture 2" descr="\\MAGNUM\Projects\Microsoft\Cloud Power FY12\Design\Icons\PNGs\Cloud_on_your_terms.png"/>
            <p:cNvPicPr>
              <a:picLocks noChangeAspect="1" noChangeArrowheads="1"/>
            </p:cNvPicPr>
            <p:nvPr/>
          </p:nvPicPr>
          <p:blipFill>
            <a:blip r:embed="rId11" cstate="print">
              <a:lum bright="100000"/>
            </a:blip>
            <a:stretch>
              <a:fillRect/>
            </a:stretch>
          </p:blipFill>
          <p:spPr bwMode="auto">
            <a:xfrm>
              <a:off x="6959952" y="1694521"/>
              <a:ext cx="633040" cy="633040"/>
            </a:xfrm>
            <a:prstGeom prst="rect">
              <a:avLst/>
            </a:prstGeom>
            <a:noFill/>
            <a:ln>
              <a:noFill/>
            </a:ln>
          </p:spPr>
        </p:pic>
      </p:grpSp>
      <p:grpSp>
        <p:nvGrpSpPr>
          <p:cNvPr id="45" name="Group 44"/>
          <p:cNvGrpSpPr/>
          <p:nvPr/>
        </p:nvGrpSpPr>
        <p:grpSpPr>
          <a:xfrm>
            <a:off x="5389043" y="1077004"/>
            <a:ext cx="685742" cy="623689"/>
            <a:chOff x="7822217" y="1694567"/>
            <a:chExt cx="932657" cy="848261"/>
          </a:xfrm>
        </p:grpSpPr>
        <p:sp>
          <p:nvSpPr>
            <p:cNvPr id="21" name="Rectangle 20"/>
            <p:cNvSpPr/>
            <p:nvPr/>
          </p:nvSpPr>
          <p:spPr bwMode="auto">
            <a:xfrm>
              <a:off x="7822217"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spcBef>
                  <a:spcPct val="0"/>
                </a:spcBef>
                <a:spcAft>
                  <a:spcPct val="0"/>
                </a:spcAft>
              </a:pPr>
              <a:r>
                <a:rPr lang="en-US" sz="825" dirty="0">
                  <a:gradFill>
                    <a:gsLst>
                      <a:gs pos="0">
                        <a:srgbClr val="FFFFFF"/>
                      </a:gs>
                      <a:gs pos="100000">
                        <a:srgbClr val="FFFFFF"/>
                      </a:gs>
                    </a:gsLst>
                    <a:lin ang="5400000" scaled="0"/>
                  </a:gradFill>
                </a:rPr>
                <a:t>integration</a:t>
              </a:r>
            </a:p>
          </p:txBody>
        </p:sp>
        <p:pic>
          <p:nvPicPr>
            <p:cNvPr id="31" name="Picture 3"/>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8121534" y="1837149"/>
              <a:ext cx="334760" cy="334759"/>
            </a:xfrm>
            <a:prstGeom prst="rect">
              <a:avLst/>
            </a:prstGeom>
            <a:solidFill>
              <a:srgbClr val="00A1D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2" name="Picture 31"/>
          <p:cNvPicPr>
            <a:picLocks noChangeAspect="1"/>
          </p:cNvPicPr>
          <p:nvPr/>
        </p:nvPicPr>
        <p:blipFill>
          <a:blip r:embed="rId13"/>
          <a:stretch>
            <a:fillRect/>
          </a:stretch>
        </p:blipFill>
        <p:spPr>
          <a:xfrm>
            <a:off x="7235055" y="332874"/>
            <a:ext cx="1012723" cy="248703"/>
          </a:xfrm>
          <a:prstGeom prst="rect">
            <a:avLst/>
          </a:prstGeom>
        </p:spPr>
      </p:pic>
      <p:pic>
        <p:nvPicPr>
          <p:cNvPr id="33" name="Picture 32"/>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5374861" y="299620"/>
            <a:ext cx="1168778" cy="308892"/>
          </a:xfrm>
          <a:prstGeom prst="rect">
            <a:avLst/>
          </a:prstGeom>
        </p:spPr>
      </p:pic>
      <p:sp>
        <p:nvSpPr>
          <p:cNvPr id="34" name="Rectangle 33"/>
          <p:cNvSpPr/>
          <p:nvPr/>
        </p:nvSpPr>
        <p:spPr>
          <a:xfrm>
            <a:off x="1479254" y="2534897"/>
            <a:ext cx="804131" cy="276999"/>
          </a:xfrm>
          <a:prstGeom prst="rect">
            <a:avLst/>
          </a:prstGeom>
        </p:spPr>
        <p:txBody>
          <a:bodyPr wrap="none">
            <a:spAutoFit/>
          </a:bodyPr>
          <a:lstStyle/>
          <a:p>
            <a:r>
              <a:rPr lang="en-US" sz="1200" dirty="0">
                <a:solidFill>
                  <a:srgbClr val="002060"/>
                </a:solidFill>
                <a:latin typeface="Segoe UI Semibold" panose="020B0702040204020203" pitchFamily="34" charset="0"/>
                <a:ea typeface="Segoe UI" pitchFamily="34" charset="0"/>
                <a:cs typeface="Segoe UI Semibold" panose="020B0702040204020203" pitchFamily="34" charset="0"/>
              </a:rPr>
              <a:t>compute</a:t>
            </a:r>
            <a:endParaRPr lang="en-US" sz="1200" dirty="0">
              <a:solidFill>
                <a:srgbClr val="002060"/>
              </a:solidFill>
            </a:endParaRPr>
          </a:p>
        </p:txBody>
      </p:sp>
      <p:sp>
        <p:nvSpPr>
          <p:cNvPr id="35" name="Rectangle 34"/>
          <p:cNvSpPr/>
          <p:nvPr/>
        </p:nvSpPr>
        <p:spPr>
          <a:xfrm>
            <a:off x="4168613" y="2534897"/>
            <a:ext cx="1085297" cy="276999"/>
          </a:xfrm>
          <a:prstGeom prst="rect">
            <a:avLst/>
          </a:prstGeom>
        </p:spPr>
        <p:txBody>
          <a:bodyPr wrap="none">
            <a:spAutoFit/>
          </a:bodyPr>
          <a:lstStyle/>
          <a:p>
            <a:r>
              <a:rPr lang="en-US" sz="1200" dirty="0">
                <a:solidFill>
                  <a:srgbClr val="002060"/>
                </a:solidFill>
                <a:latin typeface="Segoe UI Semibold" panose="020B0702040204020203" pitchFamily="34" charset="0"/>
                <a:cs typeface="Segoe UI Semibold" panose="020B0702040204020203" pitchFamily="34" charset="0"/>
              </a:rPr>
              <a:t>data services</a:t>
            </a:r>
            <a:endParaRPr lang="en-US" sz="1200" dirty="0">
              <a:solidFill>
                <a:srgbClr val="002060"/>
              </a:solidFill>
            </a:endParaRPr>
          </a:p>
        </p:txBody>
      </p:sp>
      <p:sp>
        <p:nvSpPr>
          <p:cNvPr id="36" name="Rectangle 35"/>
          <p:cNvSpPr/>
          <p:nvPr/>
        </p:nvSpPr>
        <p:spPr>
          <a:xfrm>
            <a:off x="7025119" y="2534897"/>
            <a:ext cx="823687" cy="276999"/>
          </a:xfrm>
          <a:prstGeom prst="rect">
            <a:avLst/>
          </a:prstGeom>
        </p:spPr>
        <p:txBody>
          <a:bodyPr wrap="none">
            <a:spAutoFit/>
          </a:bodyPr>
          <a:lstStyle/>
          <a:p>
            <a:r>
              <a:rPr lang="en-US" sz="1200" dirty="0">
                <a:solidFill>
                  <a:srgbClr val="002060"/>
                </a:solidFill>
                <a:latin typeface="Segoe UI Semibold" panose="020B0702040204020203" pitchFamily="34" charset="0"/>
                <a:cs typeface="Segoe UI Semibold" panose="020B0702040204020203" pitchFamily="34" charset="0"/>
              </a:rPr>
              <a:t>networks</a:t>
            </a:r>
            <a:endParaRPr lang="en-US" sz="1200" dirty="0">
              <a:solidFill>
                <a:srgbClr val="002060"/>
              </a:solidFill>
            </a:endParaRPr>
          </a:p>
        </p:txBody>
      </p:sp>
      <p:grpSp>
        <p:nvGrpSpPr>
          <p:cNvPr id="2" name="Group 1"/>
          <p:cNvGrpSpPr/>
          <p:nvPr/>
        </p:nvGrpSpPr>
        <p:grpSpPr>
          <a:xfrm>
            <a:off x="495595" y="1939604"/>
            <a:ext cx="685742" cy="623689"/>
            <a:chOff x="674042" y="2764563"/>
            <a:chExt cx="932657" cy="848261"/>
          </a:xfrm>
        </p:grpSpPr>
        <p:sp>
          <p:nvSpPr>
            <p:cNvPr id="112" name="Rectangle 111"/>
            <p:cNvSpPr/>
            <p:nvPr/>
          </p:nvSpPr>
          <p:spPr bwMode="auto">
            <a:xfrm>
              <a:off x="674042"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lnSpc>
                  <a:spcPts val="662"/>
                </a:lnSpc>
                <a:spcBef>
                  <a:spcPct val="0"/>
                </a:spcBef>
                <a:spcAft>
                  <a:spcPts val="221"/>
                </a:spcAft>
              </a:pPr>
              <a:r>
                <a:rPr lang="en-US" sz="825" dirty="0">
                  <a:gradFill>
                    <a:gsLst>
                      <a:gs pos="0">
                        <a:srgbClr val="FFFFFF"/>
                      </a:gs>
                      <a:gs pos="100000">
                        <a:srgbClr val="FFFFFF"/>
                      </a:gs>
                    </a:gsLst>
                    <a:lin ang="5400000" scaled="0"/>
                  </a:gradFill>
                </a:rPr>
                <a:t>virtual machines</a:t>
              </a:r>
              <a:endParaRPr lang="en-US" sz="825" dirty="0">
                <a:gradFill>
                  <a:gsLst>
                    <a:gs pos="0">
                      <a:srgbClr val="FFFFFF"/>
                    </a:gs>
                    <a:gs pos="100000">
                      <a:srgbClr val="FFFFFF"/>
                    </a:gs>
                  </a:gsLst>
                  <a:lin ang="5400000" scaled="0"/>
                </a:gradFill>
              </a:endParaRPr>
            </a:p>
          </p:txBody>
        </p:sp>
        <p:pic>
          <p:nvPicPr>
            <p:cNvPr id="37" name="Picture 3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50400" y="2888822"/>
              <a:ext cx="391693" cy="354312"/>
            </a:xfrm>
            <a:prstGeom prst="rect">
              <a:avLst/>
            </a:prstGeom>
            <a:ln>
              <a:noFill/>
            </a:ln>
          </p:spPr>
        </p:pic>
      </p:grpSp>
      <p:grpSp>
        <p:nvGrpSpPr>
          <p:cNvPr id="4" name="Group 3"/>
          <p:cNvGrpSpPr/>
          <p:nvPr/>
        </p:nvGrpSpPr>
        <p:grpSpPr>
          <a:xfrm>
            <a:off x="1210444" y="1939604"/>
            <a:ext cx="685742" cy="623689"/>
            <a:chOff x="1754149" y="2764563"/>
            <a:chExt cx="932657" cy="848261"/>
          </a:xfrm>
        </p:grpSpPr>
        <p:sp>
          <p:nvSpPr>
            <p:cNvPr id="113" name="Rectangle 112"/>
            <p:cNvSpPr/>
            <p:nvPr/>
          </p:nvSpPr>
          <p:spPr bwMode="auto">
            <a:xfrm>
              <a:off x="1754149"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lnSpc>
                  <a:spcPts val="662"/>
                </a:lnSpc>
                <a:spcBef>
                  <a:spcPct val="0"/>
                </a:spcBef>
                <a:spcAft>
                  <a:spcPts val="221"/>
                </a:spcAft>
              </a:pPr>
              <a:r>
                <a:rPr lang="en-US" sz="825" dirty="0">
                  <a:gradFill>
                    <a:gsLst>
                      <a:gs pos="0">
                        <a:srgbClr val="FFFFFF"/>
                      </a:gs>
                      <a:gs pos="100000">
                        <a:srgbClr val="FFFFFF"/>
                      </a:gs>
                    </a:gsLst>
                    <a:lin ang="5400000" scaled="0"/>
                  </a:gradFill>
                </a:rPr>
                <a:t>web sites</a:t>
              </a:r>
              <a:endParaRPr lang="en-US" sz="825" dirty="0">
                <a:gradFill>
                  <a:gsLst>
                    <a:gs pos="0">
                      <a:srgbClr val="FFFFFF"/>
                    </a:gs>
                    <a:gs pos="100000">
                      <a:srgbClr val="FFFFFF"/>
                    </a:gs>
                  </a:gsLst>
                  <a:lin ang="5400000" scaled="0"/>
                </a:gradFill>
              </a:endParaRPr>
            </a:p>
          </p:txBody>
        </p:sp>
        <p:pic>
          <p:nvPicPr>
            <p:cNvPr id="39" name="Picture 3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045382" y="2860580"/>
              <a:ext cx="391693" cy="391693"/>
            </a:xfrm>
            <a:prstGeom prst="rect">
              <a:avLst/>
            </a:prstGeom>
          </p:spPr>
        </p:pic>
      </p:grpSp>
      <p:sp>
        <p:nvSpPr>
          <p:cNvPr id="50" name="Freeform 58"/>
          <p:cNvSpPr>
            <a:spLocks noEditPoints="1"/>
          </p:cNvSpPr>
          <p:nvPr/>
        </p:nvSpPr>
        <p:spPr bwMode="black">
          <a:xfrm>
            <a:off x="6713339" y="2017473"/>
            <a:ext cx="287713" cy="30837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513584"/>
            <a:endParaRPr lang="en-US" sz="750">
              <a:solidFill>
                <a:srgbClr val="FFFFFF"/>
              </a:solidFill>
            </a:endParaRPr>
          </a:p>
        </p:txBody>
      </p:sp>
      <p:sp>
        <p:nvSpPr>
          <p:cNvPr id="52" name="Freeform 78"/>
          <p:cNvSpPr>
            <a:spLocks noEditPoints="1"/>
          </p:cNvSpPr>
          <p:nvPr/>
        </p:nvSpPr>
        <p:spPr bwMode="black">
          <a:xfrm>
            <a:off x="7428054" y="2010872"/>
            <a:ext cx="295572" cy="282866"/>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513584"/>
            <a:endParaRPr lang="en-US" sz="750" dirty="0">
              <a:solidFill>
                <a:srgbClr val="FFFFFF"/>
              </a:solidFill>
            </a:endParaRPr>
          </a:p>
        </p:txBody>
      </p:sp>
      <p:sp>
        <p:nvSpPr>
          <p:cNvPr id="60" name="TextBox 59"/>
          <p:cNvSpPr txBox="1"/>
          <p:nvPr/>
        </p:nvSpPr>
        <p:spPr>
          <a:xfrm>
            <a:off x="681242" y="4290318"/>
            <a:ext cx="2670272" cy="253916"/>
          </a:xfrm>
          <a:prstGeom prst="rect">
            <a:avLst/>
          </a:prstGeom>
          <a:noFill/>
        </p:spPr>
        <p:txBody>
          <a:bodyPr wrap="square" lIns="0" tIns="0" rIns="0" bIns="0" rtlCol="0">
            <a:spAutoFit/>
          </a:bodyPr>
          <a:lstStyle/>
          <a:p>
            <a:pPr>
              <a:spcBef>
                <a:spcPct val="20000"/>
              </a:spcBef>
              <a:buSzPct val="80000"/>
            </a:pPr>
            <a:r>
              <a:rPr lang="en-US" sz="825" dirty="0">
                <a:solidFill>
                  <a:schemeClr val="bg1"/>
                </a:solidFill>
              </a:rPr>
              <a:t>N Central US, S Central US, N Europe, W Europe, E Asia, SE Asia + 24 Edge CDN Locations</a:t>
            </a:r>
          </a:p>
        </p:txBody>
      </p:sp>
      <p:grpSp>
        <p:nvGrpSpPr>
          <p:cNvPr id="68" name="Group 67"/>
          <p:cNvGrpSpPr/>
          <p:nvPr/>
        </p:nvGrpSpPr>
        <p:grpSpPr>
          <a:xfrm>
            <a:off x="671606" y="3617932"/>
            <a:ext cx="1472978" cy="517065"/>
            <a:chOff x="893149" y="4891541"/>
            <a:chExt cx="1964249" cy="689518"/>
          </a:xfrm>
        </p:grpSpPr>
        <p:sp>
          <p:nvSpPr>
            <p:cNvPr id="69" name="Freeform 123"/>
            <p:cNvSpPr>
              <a:spLocks noEditPoints="1"/>
            </p:cNvSpPr>
            <p:nvPr/>
          </p:nvSpPr>
          <p:spPr bwMode="black">
            <a:xfrm>
              <a:off x="917487" y="4960327"/>
              <a:ext cx="173050" cy="191359"/>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97919" tIns="48961" rIns="97919" bIns="48961" numCol="1" anchor="t" anchorCtr="0" compatLnSpc="1">
              <a:prstTxWarp prst="textNoShape">
                <a:avLst/>
              </a:prstTxWarp>
            </a:bodyPr>
            <a:lstStyle/>
            <a:p>
              <a:pPr defTabSz="513584"/>
              <a:endParaRPr lang="en-US" sz="1350" dirty="0">
                <a:solidFill>
                  <a:srgbClr val="FFFFFF"/>
                </a:solidFill>
              </a:endParaRPr>
            </a:p>
          </p:txBody>
        </p:sp>
        <p:pic>
          <p:nvPicPr>
            <p:cNvPr id="70" name="Picture 69"/>
            <p:cNvPicPr>
              <a:picLocks noChangeAspect="1"/>
            </p:cNvPicPr>
            <p:nvPr/>
          </p:nvPicPr>
          <p:blipFill rotWithShape="1">
            <a:blip r:embed="rId17" cstate="print">
              <a:clrChange>
                <a:clrFrom>
                  <a:srgbClr val="4EB1E4"/>
                </a:clrFrom>
                <a:clrTo>
                  <a:srgbClr val="4EB1E4">
                    <a:alpha val="0"/>
                  </a:srgbClr>
                </a:clrTo>
              </a:clrChange>
              <a:extLst>
                <a:ext uri="{28A0092B-C50C-407E-A947-70E740481C1C}">
                  <a14:useLocalDpi xmlns:a14="http://schemas.microsoft.com/office/drawing/2010/main"/>
                </a:ext>
              </a:extLst>
            </a:blip>
            <a:srcRect/>
            <a:stretch/>
          </p:blipFill>
          <p:spPr>
            <a:xfrm>
              <a:off x="893149" y="5226322"/>
              <a:ext cx="238986" cy="354073"/>
            </a:xfrm>
            <a:prstGeom prst="rect">
              <a:avLst/>
            </a:prstGeom>
          </p:spPr>
        </p:pic>
        <p:sp>
          <p:nvSpPr>
            <p:cNvPr id="71" name="TextBox 70"/>
            <p:cNvSpPr txBox="1"/>
            <p:nvPr/>
          </p:nvSpPr>
          <p:spPr>
            <a:xfrm>
              <a:off x="1227418" y="4891541"/>
              <a:ext cx="1629980" cy="689518"/>
            </a:xfrm>
            <a:prstGeom prst="rect">
              <a:avLst/>
            </a:prstGeom>
            <a:noFill/>
          </p:spPr>
          <p:txBody>
            <a:bodyPr wrap="square" lIns="0" tIns="0" rIns="0" bIns="0" rtlCol="0">
              <a:spAutoFit/>
            </a:bodyPr>
            <a:lstStyle/>
            <a:p>
              <a:pPr>
                <a:lnSpc>
                  <a:spcPct val="150000"/>
                </a:lnSpc>
                <a:spcBef>
                  <a:spcPct val="20000"/>
                </a:spcBef>
                <a:buSzPct val="80000"/>
              </a:pPr>
              <a:r>
                <a:rPr lang="en-US" sz="1050" dirty="0">
                  <a:solidFill>
                    <a:schemeClr val="bg1"/>
                  </a:solidFill>
                </a:rPr>
                <a:t>Automated</a:t>
              </a:r>
            </a:p>
            <a:p>
              <a:pPr>
                <a:lnSpc>
                  <a:spcPct val="150000"/>
                </a:lnSpc>
                <a:spcBef>
                  <a:spcPct val="20000"/>
                </a:spcBef>
                <a:buSzPct val="80000"/>
              </a:pPr>
              <a:r>
                <a:rPr lang="en-US" sz="1050" dirty="0">
                  <a:solidFill>
                    <a:schemeClr val="bg1"/>
                  </a:solidFill>
                </a:rPr>
                <a:t>Managed Resources</a:t>
              </a:r>
            </a:p>
          </p:txBody>
        </p:sp>
      </p:grpSp>
      <p:grpSp>
        <p:nvGrpSpPr>
          <p:cNvPr id="72" name="Group 71"/>
          <p:cNvGrpSpPr/>
          <p:nvPr/>
        </p:nvGrpSpPr>
        <p:grpSpPr>
          <a:xfrm>
            <a:off x="2208954" y="3626504"/>
            <a:ext cx="1558769" cy="519530"/>
            <a:chOff x="778745" y="4891541"/>
            <a:chExt cx="2078653" cy="692805"/>
          </a:xfrm>
        </p:grpSpPr>
        <p:pic>
          <p:nvPicPr>
            <p:cNvPr id="73" name="Picture 72"/>
            <p:cNvPicPr>
              <a:picLocks noChangeAspect="1"/>
            </p:cNvPicPr>
            <p:nvPr/>
          </p:nvPicPr>
          <p:blipFill rotWithShape="1">
            <a:blip r:embed="rId18" cstate="print">
              <a:clrChange>
                <a:clrFrom>
                  <a:srgbClr val="4EB1E4"/>
                </a:clrFrom>
                <a:clrTo>
                  <a:srgbClr val="4EB1E4">
                    <a:alpha val="0"/>
                  </a:srgbClr>
                </a:clrTo>
              </a:clrChange>
              <a:extLst>
                <a:ext uri="{28A0092B-C50C-407E-A947-70E740481C1C}">
                  <a14:useLocalDpi xmlns:a14="http://schemas.microsoft.com/office/drawing/2010/main" val="0"/>
                </a:ext>
              </a:extLst>
            </a:blip>
            <a:srcRect l="22861" t="54347" r="65276" b="24478"/>
            <a:stretch/>
          </p:blipFill>
          <p:spPr>
            <a:xfrm>
              <a:off x="778745" y="4965737"/>
              <a:ext cx="355312" cy="224987"/>
            </a:xfrm>
            <a:prstGeom prst="rect">
              <a:avLst/>
            </a:prstGeom>
          </p:spPr>
        </p:pic>
        <p:pic>
          <p:nvPicPr>
            <p:cNvPr id="74" name="Picture 73"/>
            <p:cNvPicPr>
              <a:picLocks noChangeAspect="1"/>
            </p:cNvPicPr>
            <p:nvPr/>
          </p:nvPicPr>
          <p:blipFill rotWithShape="1">
            <a:blip r:embed="rId19" cstate="print">
              <a:clrChange>
                <a:clrFrom>
                  <a:srgbClr val="4EB1E4"/>
                </a:clrFrom>
                <a:clrTo>
                  <a:srgbClr val="4EB1E4">
                    <a:alpha val="0"/>
                  </a:srgbClr>
                </a:clrTo>
              </a:clrChange>
              <a:extLst>
                <a:ext uri="{28A0092B-C50C-407E-A947-70E740481C1C}">
                  <a14:useLocalDpi xmlns:a14="http://schemas.microsoft.com/office/drawing/2010/main"/>
                </a:ext>
              </a:extLst>
            </a:blip>
            <a:srcRect/>
            <a:stretch/>
          </p:blipFill>
          <p:spPr>
            <a:xfrm>
              <a:off x="797329" y="5261691"/>
              <a:ext cx="299189" cy="322655"/>
            </a:xfrm>
            <a:prstGeom prst="rect">
              <a:avLst/>
            </a:prstGeom>
          </p:spPr>
        </p:pic>
        <p:sp>
          <p:nvSpPr>
            <p:cNvPr id="75" name="TextBox 74"/>
            <p:cNvSpPr txBox="1"/>
            <p:nvPr/>
          </p:nvSpPr>
          <p:spPr>
            <a:xfrm>
              <a:off x="1227418" y="4891541"/>
              <a:ext cx="1629980" cy="689518"/>
            </a:xfrm>
            <a:prstGeom prst="rect">
              <a:avLst/>
            </a:prstGeom>
            <a:noFill/>
          </p:spPr>
          <p:txBody>
            <a:bodyPr wrap="square" lIns="0" tIns="0" rIns="0" bIns="0" rtlCol="0">
              <a:spAutoFit/>
            </a:bodyPr>
            <a:lstStyle/>
            <a:p>
              <a:pPr>
                <a:lnSpc>
                  <a:spcPct val="150000"/>
                </a:lnSpc>
                <a:spcBef>
                  <a:spcPct val="20000"/>
                </a:spcBef>
                <a:buSzPct val="80000"/>
              </a:pPr>
              <a:r>
                <a:rPr lang="en-US" sz="1050" dirty="0">
                  <a:solidFill>
                    <a:schemeClr val="bg1"/>
                  </a:solidFill>
                </a:rPr>
                <a:t>Elastic</a:t>
              </a:r>
            </a:p>
            <a:p>
              <a:pPr>
                <a:lnSpc>
                  <a:spcPct val="150000"/>
                </a:lnSpc>
                <a:spcBef>
                  <a:spcPct val="20000"/>
                </a:spcBef>
                <a:buSzPct val="80000"/>
              </a:pPr>
              <a:r>
                <a:rPr lang="en-US" sz="1050" dirty="0">
                  <a:solidFill>
                    <a:schemeClr val="bg1"/>
                  </a:solidFill>
                </a:rPr>
                <a:t>Usage Based</a:t>
              </a:r>
            </a:p>
          </p:txBody>
        </p:sp>
      </p:grpSp>
      <p:pic>
        <p:nvPicPr>
          <p:cNvPr id="76" name="Picture 75"/>
          <p:cNvPicPr>
            <a:picLocks noChangeAspect="1"/>
          </p:cNvPicPr>
          <p:nvPr/>
        </p:nvPicPr>
        <p:blipFill rotWithShape="1">
          <a:blip r:embed="rId20">
            <a:extLst>
              <a:ext uri="{28A0092B-C50C-407E-A947-70E740481C1C}">
                <a14:useLocalDpi xmlns:a14="http://schemas.microsoft.com/office/drawing/2010/main" val="0"/>
              </a:ext>
            </a:extLst>
          </a:blip>
          <a:srcRect l="1042" t="5709" r="4519" b="12643"/>
          <a:stretch/>
        </p:blipFill>
        <p:spPr>
          <a:xfrm>
            <a:off x="4093935" y="2865415"/>
            <a:ext cx="4628495" cy="1896743"/>
          </a:xfrm>
          <a:prstGeom prst="rect">
            <a:avLst/>
          </a:prstGeom>
        </p:spPr>
      </p:pic>
      <p:sp>
        <p:nvSpPr>
          <p:cNvPr id="77" name="Oval 76"/>
          <p:cNvSpPr/>
          <p:nvPr/>
        </p:nvSpPr>
        <p:spPr bwMode="auto">
          <a:xfrm>
            <a:off x="4332816" y="3351478"/>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8" name="Oval 77"/>
          <p:cNvSpPr/>
          <p:nvPr/>
        </p:nvSpPr>
        <p:spPr bwMode="auto">
          <a:xfrm>
            <a:off x="4412897" y="3179931"/>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9" name="Oval 78"/>
          <p:cNvSpPr/>
          <p:nvPr/>
        </p:nvSpPr>
        <p:spPr bwMode="auto">
          <a:xfrm>
            <a:off x="4390255" y="3238940"/>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0" name="Oval 79"/>
          <p:cNvSpPr/>
          <p:nvPr/>
        </p:nvSpPr>
        <p:spPr bwMode="auto">
          <a:xfrm>
            <a:off x="4721832" y="3463959"/>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1" name="Oval 80"/>
          <p:cNvSpPr/>
          <p:nvPr/>
        </p:nvSpPr>
        <p:spPr bwMode="auto">
          <a:xfrm>
            <a:off x="4907866" y="3509495"/>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2" name="Oval 81"/>
          <p:cNvSpPr/>
          <p:nvPr/>
        </p:nvSpPr>
        <p:spPr bwMode="auto">
          <a:xfrm>
            <a:off x="5002509" y="3134395"/>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3" name="Oval 82"/>
          <p:cNvSpPr/>
          <p:nvPr/>
        </p:nvSpPr>
        <p:spPr bwMode="auto">
          <a:xfrm>
            <a:off x="5032732" y="3347024"/>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4" name="Oval 83"/>
          <p:cNvSpPr/>
          <p:nvPr/>
        </p:nvSpPr>
        <p:spPr bwMode="auto">
          <a:xfrm>
            <a:off x="5075236" y="3299021"/>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5" name="Oval 84"/>
          <p:cNvSpPr/>
          <p:nvPr/>
        </p:nvSpPr>
        <p:spPr bwMode="auto">
          <a:xfrm>
            <a:off x="5120772" y="3282799"/>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6" name="Oval 85"/>
          <p:cNvSpPr/>
          <p:nvPr/>
        </p:nvSpPr>
        <p:spPr bwMode="auto">
          <a:xfrm>
            <a:off x="6048671" y="3175553"/>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7" name="Oval 86"/>
          <p:cNvSpPr/>
          <p:nvPr/>
        </p:nvSpPr>
        <p:spPr bwMode="auto">
          <a:xfrm>
            <a:off x="6030182" y="3037743"/>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8" name="Oval 87"/>
          <p:cNvSpPr/>
          <p:nvPr/>
        </p:nvSpPr>
        <p:spPr bwMode="auto">
          <a:xfrm>
            <a:off x="6302011" y="2946356"/>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89" name="Oval 88"/>
          <p:cNvSpPr/>
          <p:nvPr/>
        </p:nvSpPr>
        <p:spPr bwMode="auto">
          <a:xfrm>
            <a:off x="6204679" y="3155263"/>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0" name="Oval 89"/>
          <p:cNvSpPr/>
          <p:nvPr/>
        </p:nvSpPr>
        <p:spPr bwMode="auto">
          <a:xfrm>
            <a:off x="6248317" y="3116766"/>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1" name="Oval 90"/>
          <p:cNvSpPr/>
          <p:nvPr/>
        </p:nvSpPr>
        <p:spPr bwMode="auto">
          <a:xfrm>
            <a:off x="6514439" y="2937774"/>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2" name="Oval 91"/>
          <p:cNvSpPr/>
          <p:nvPr/>
        </p:nvSpPr>
        <p:spPr bwMode="auto">
          <a:xfrm>
            <a:off x="6356688" y="3260848"/>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3" name="Oval 92"/>
          <p:cNvSpPr/>
          <p:nvPr/>
        </p:nvSpPr>
        <p:spPr bwMode="auto">
          <a:xfrm>
            <a:off x="8153338" y="3401570"/>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4" name="Oval 93"/>
          <p:cNvSpPr/>
          <p:nvPr/>
        </p:nvSpPr>
        <p:spPr bwMode="auto">
          <a:xfrm>
            <a:off x="8487768" y="4097960"/>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5" name="Oval 94"/>
          <p:cNvSpPr/>
          <p:nvPr/>
        </p:nvSpPr>
        <p:spPr bwMode="auto">
          <a:xfrm>
            <a:off x="8532065" y="4430059"/>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6" name="Oval 95"/>
          <p:cNvSpPr/>
          <p:nvPr/>
        </p:nvSpPr>
        <p:spPr bwMode="auto">
          <a:xfrm>
            <a:off x="8212745" y="3260848"/>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97" name="Picture 2"/>
          <p:cNvPicPr>
            <a:picLocks noChangeAspect="1" noChangeArrowheads="1"/>
          </p:cNvPicPr>
          <p:nvPr/>
        </p:nvPicPr>
        <p:blipFill>
          <a:blip r:embed="rId21" cstate="print">
            <a:extLst>
              <a:ext uri="{28A0092B-C50C-407E-A947-70E740481C1C}">
                <a14:useLocalDpi xmlns:a14="http://schemas.microsoft.com/office/drawing/2010/main" val="0"/>
              </a:ext>
            </a:extLst>
          </a:blip>
          <a:stretch>
            <a:fillRect/>
          </a:stretch>
        </p:blipFill>
        <p:spPr bwMode="auto">
          <a:xfrm>
            <a:off x="8171722" y="2011038"/>
            <a:ext cx="286321" cy="286321"/>
          </a:xfrm>
          <a:prstGeom prst="rect">
            <a:avLst/>
          </a:prstGeom>
          <a:noFill/>
          <a:extLst>
            <a:ext uri="{909E8E84-426E-40DD-AFC4-6F175D3DCCD1}">
              <a14:hiddenFill xmlns:a14="http://schemas.microsoft.com/office/drawing/2010/main">
                <a:solidFill>
                  <a:srgbClr val="FFFFFF"/>
                </a:solidFill>
              </a14:hiddenFill>
            </a:ext>
          </a:extLst>
        </p:spPr>
      </p:pic>
      <p:sp>
        <p:nvSpPr>
          <p:cNvPr id="98" name="Oval 97"/>
          <p:cNvSpPr/>
          <p:nvPr/>
        </p:nvSpPr>
        <p:spPr bwMode="auto">
          <a:xfrm>
            <a:off x="7997690" y="3865190"/>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99" name="Oval 98"/>
          <p:cNvSpPr/>
          <p:nvPr/>
        </p:nvSpPr>
        <p:spPr bwMode="auto">
          <a:xfrm>
            <a:off x="7833385" y="4001741"/>
            <a:ext cx="91071" cy="91071"/>
          </a:xfrm>
          <a:prstGeom prst="ellipse">
            <a:avLst/>
          </a:prstGeom>
          <a:solidFill>
            <a:schemeClr val="accent4">
              <a:lumMod val="20000"/>
              <a:lumOff val="8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121" name="Group 120"/>
          <p:cNvGrpSpPr/>
          <p:nvPr/>
        </p:nvGrpSpPr>
        <p:grpSpPr>
          <a:xfrm>
            <a:off x="3105912" y="1077005"/>
            <a:ext cx="685742" cy="623689"/>
            <a:chOff x="2632856" y="1694567"/>
            <a:chExt cx="932657" cy="848261"/>
          </a:xfrm>
        </p:grpSpPr>
        <p:sp>
          <p:nvSpPr>
            <p:cNvPr id="13" name="Rectangle 12"/>
            <p:cNvSpPr/>
            <p:nvPr/>
          </p:nvSpPr>
          <p:spPr bwMode="auto">
            <a:xfrm>
              <a:off x="2632856"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spcBef>
                  <a:spcPct val="0"/>
                </a:spcBef>
                <a:spcAft>
                  <a:spcPct val="0"/>
                </a:spcAft>
              </a:pPr>
              <a:r>
                <a:rPr lang="en-US" sz="825" dirty="0">
                  <a:gradFill>
                    <a:gsLst>
                      <a:gs pos="0">
                        <a:srgbClr val="FFFFFF"/>
                      </a:gs>
                      <a:gs pos="100000">
                        <a:srgbClr val="FFFFFF"/>
                      </a:gs>
                    </a:gsLst>
                    <a:lin ang="5400000" scaled="0"/>
                  </a:gradFill>
                </a:rPr>
                <a:t>service bus</a:t>
              </a:r>
            </a:p>
          </p:txBody>
        </p:sp>
        <p:pic>
          <p:nvPicPr>
            <p:cNvPr id="100" name="Picture 99"/>
            <p:cNvPicPr>
              <a:picLocks noChangeAspect="1"/>
            </p:cNvPicPr>
            <p:nvPr/>
          </p:nvPicPr>
          <p:blipFill>
            <a:blip r:embed="rId22"/>
            <a:stretch>
              <a:fillRect/>
            </a:stretch>
          </p:blipFill>
          <p:spPr>
            <a:xfrm>
              <a:off x="2914754" y="1808638"/>
              <a:ext cx="392312" cy="443933"/>
            </a:xfrm>
            <a:prstGeom prst="rect">
              <a:avLst/>
            </a:prstGeom>
          </p:spPr>
        </p:pic>
      </p:grpSp>
      <p:grpSp>
        <p:nvGrpSpPr>
          <p:cNvPr id="119" name="Group 118"/>
          <p:cNvGrpSpPr/>
          <p:nvPr/>
        </p:nvGrpSpPr>
        <p:grpSpPr>
          <a:xfrm>
            <a:off x="2342810" y="1066472"/>
            <a:ext cx="685742" cy="634222"/>
            <a:chOff x="1594984" y="1680242"/>
            <a:chExt cx="932657" cy="862586"/>
          </a:xfrm>
        </p:grpSpPr>
        <p:sp>
          <p:nvSpPr>
            <p:cNvPr id="12" name="Rectangle 11"/>
            <p:cNvSpPr/>
            <p:nvPr/>
          </p:nvSpPr>
          <p:spPr bwMode="auto">
            <a:xfrm>
              <a:off x="1594984" y="1694567"/>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spcBef>
                  <a:spcPct val="0"/>
                </a:spcBef>
                <a:spcAft>
                  <a:spcPct val="0"/>
                </a:spcAft>
              </a:pPr>
              <a:r>
                <a:rPr lang="en-US" sz="825" dirty="0">
                  <a:gradFill>
                    <a:gsLst>
                      <a:gs pos="0">
                        <a:srgbClr val="FFFFFF"/>
                      </a:gs>
                      <a:gs pos="100000">
                        <a:srgbClr val="FFFFFF"/>
                      </a:gs>
                    </a:gsLst>
                    <a:lin ang="5400000" scaled="0"/>
                  </a:gradFill>
                </a:rPr>
                <a:t>identity</a:t>
              </a:r>
            </a:p>
          </p:txBody>
        </p:sp>
        <p:grpSp>
          <p:nvGrpSpPr>
            <p:cNvPr id="101" name="Group 100"/>
            <p:cNvGrpSpPr/>
            <p:nvPr/>
          </p:nvGrpSpPr>
          <p:grpSpPr>
            <a:xfrm>
              <a:off x="1844813" y="1680242"/>
              <a:ext cx="475079" cy="574537"/>
              <a:chOff x="1806352" y="1647445"/>
              <a:chExt cx="465806" cy="563323"/>
            </a:xfrm>
          </p:grpSpPr>
          <p:pic>
            <p:nvPicPr>
              <p:cNvPr id="102" name="Picture 10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806352" y="1749166"/>
                <a:ext cx="465806" cy="461602"/>
              </a:xfrm>
              <a:prstGeom prst="rect">
                <a:avLst/>
              </a:prstGeom>
            </p:spPr>
          </p:pic>
          <p:sp>
            <p:nvSpPr>
              <p:cNvPr id="103" name="Rectangle 102"/>
              <p:cNvSpPr/>
              <p:nvPr/>
            </p:nvSpPr>
            <p:spPr bwMode="auto">
              <a:xfrm>
                <a:off x="1910285" y="1818216"/>
                <a:ext cx="259122" cy="262866"/>
              </a:xfrm>
              <a:prstGeom prst="rect">
                <a:avLst/>
              </a:prstGeom>
              <a:solidFill>
                <a:srgbClr val="00A1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04" name="Picture 103"/>
              <p:cNvPicPr>
                <a:picLocks noChangeAspect="1"/>
              </p:cNvPicPr>
              <p:nvPr/>
            </p:nvPicPr>
            <p:blipFill>
              <a:blip r:embed="rId24"/>
              <a:stretch>
                <a:fillRect/>
              </a:stretch>
            </p:blipFill>
            <p:spPr>
              <a:xfrm>
                <a:off x="1918145" y="1838740"/>
                <a:ext cx="234093" cy="248280"/>
              </a:xfrm>
              <a:prstGeom prst="rect">
                <a:avLst/>
              </a:prstGeom>
            </p:spPr>
          </p:pic>
          <p:sp>
            <p:nvSpPr>
              <p:cNvPr id="105" name="Rectangle 104"/>
              <p:cNvSpPr/>
              <p:nvPr/>
            </p:nvSpPr>
            <p:spPr bwMode="auto">
              <a:xfrm>
                <a:off x="1878581" y="2098735"/>
                <a:ext cx="278834" cy="6822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6" name="Rectangle 105"/>
              <p:cNvSpPr/>
              <p:nvPr/>
            </p:nvSpPr>
            <p:spPr bwMode="auto">
              <a:xfrm>
                <a:off x="1998998" y="1723076"/>
                <a:ext cx="76494" cy="58011"/>
              </a:xfrm>
              <a:prstGeom prst="rect">
                <a:avLst/>
              </a:prstGeom>
              <a:solidFill>
                <a:srgbClr val="82BA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07" name="Oval 106"/>
              <p:cNvSpPr/>
              <p:nvPr/>
            </p:nvSpPr>
            <p:spPr bwMode="auto">
              <a:xfrm>
                <a:off x="2021475" y="1733895"/>
                <a:ext cx="27432" cy="27432"/>
              </a:xfrm>
              <a:prstGeom prst="ellipse">
                <a:avLst/>
              </a:prstGeom>
              <a:solidFill>
                <a:srgbClr val="00A1D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08" name="Picture 107"/>
              <p:cNvPicPr>
                <a:picLocks noChangeAspect="1"/>
              </p:cNvPicPr>
              <p:nvPr/>
            </p:nvPicPr>
            <p:blipFill rotWithShape="1">
              <a:blip r:embed="rId25"/>
              <a:srcRect l="1" t="-14115" r="-1" b="-2"/>
              <a:stretch/>
            </p:blipFill>
            <p:spPr>
              <a:xfrm>
                <a:off x="1957466" y="1647445"/>
                <a:ext cx="163873" cy="77624"/>
              </a:xfrm>
              <a:prstGeom prst="rect">
                <a:avLst/>
              </a:prstGeom>
            </p:spPr>
          </p:pic>
        </p:grpSp>
      </p:grpSp>
      <p:grpSp>
        <p:nvGrpSpPr>
          <p:cNvPr id="17" name="Group 16"/>
          <p:cNvGrpSpPr/>
          <p:nvPr/>
        </p:nvGrpSpPr>
        <p:grpSpPr>
          <a:xfrm>
            <a:off x="1927824" y="1939604"/>
            <a:ext cx="685742" cy="623689"/>
            <a:chOff x="2836116" y="2764563"/>
            <a:chExt cx="932657" cy="848261"/>
          </a:xfrm>
        </p:grpSpPr>
        <p:sp>
          <p:nvSpPr>
            <p:cNvPr id="114" name="Rectangle 113"/>
            <p:cNvSpPr/>
            <p:nvPr/>
          </p:nvSpPr>
          <p:spPr bwMode="auto">
            <a:xfrm>
              <a:off x="2836116" y="2764563"/>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lnSpc>
                  <a:spcPts val="662"/>
                </a:lnSpc>
                <a:spcBef>
                  <a:spcPct val="0"/>
                </a:spcBef>
                <a:spcAft>
                  <a:spcPts val="221"/>
                </a:spcAft>
              </a:pPr>
              <a:r>
                <a:rPr lang="en-US" sz="825" dirty="0">
                  <a:gradFill>
                    <a:gsLst>
                      <a:gs pos="0">
                        <a:srgbClr val="FFFFFF"/>
                      </a:gs>
                      <a:gs pos="100000">
                        <a:srgbClr val="FFFFFF"/>
                      </a:gs>
                    </a:gsLst>
                    <a:lin ang="5400000" scaled="0"/>
                  </a:gradFill>
                </a:rPr>
                <a:t>c</a:t>
              </a:r>
              <a:r>
                <a:rPr lang="en-US" sz="825" dirty="0">
                  <a:gradFill>
                    <a:gsLst>
                      <a:gs pos="0">
                        <a:srgbClr val="FFFFFF"/>
                      </a:gs>
                      <a:gs pos="100000">
                        <a:srgbClr val="FFFFFF"/>
                      </a:gs>
                    </a:gsLst>
                    <a:lin ang="5400000" scaled="0"/>
                  </a:gradFill>
                </a:rPr>
                <a:t>loud services</a:t>
              </a:r>
              <a:endParaRPr lang="en-US" sz="825" dirty="0">
                <a:gradFill>
                  <a:gsLst>
                    <a:gs pos="0">
                      <a:srgbClr val="FFFFFF"/>
                    </a:gs>
                    <a:gs pos="100000">
                      <a:srgbClr val="FFFFFF"/>
                    </a:gs>
                  </a:gsLst>
                  <a:lin ang="5400000" scaled="0"/>
                </a:gradFill>
              </a:endParaRPr>
            </a:p>
          </p:txBody>
        </p:sp>
        <p:pic>
          <p:nvPicPr>
            <p:cNvPr id="109" name="Picture 108"/>
            <p:cNvPicPr>
              <a:picLocks noChangeAspect="1"/>
            </p:cNvPicPr>
            <p:nvPr/>
          </p:nvPicPr>
          <p:blipFill>
            <a:blip r:embed="rId26"/>
            <a:stretch>
              <a:fillRect/>
            </a:stretch>
          </p:blipFill>
          <p:spPr>
            <a:xfrm>
              <a:off x="3041622" y="2864604"/>
              <a:ext cx="456809" cy="386531"/>
            </a:xfrm>
            <a:prstGeom prst="rect">
              <a:avLst/>
            </a:prstGeom>
          </p:spPr>
        </p:pic>
      </p:grpSp>
      <p:pic>
        <p:nvPicPr>
          <p:cNvPr id="42" name="Picture 2"/>
          <p:cNvPicPr>
            <a:picLocks noChangeAspect="1" noChangeArrowheads="1"/>
          </p:cNvPicPr>
          <p:nvPr/>
        </p:nvPicPr>
        <p:blipFill>
          <a:blip r:embed="rId27"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669715" y="2023753"/>
            <a:ext cx="287995" cy="260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0" name="Picture 2" descr="C:\Users\Jonahs\Dropbox\Projects SCOTT\MEET Windows Azure\source\Background\tile-icon-storage.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129526" y="2020654"/>
            <a:ext cx="307573" cy="307573"/>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847922" y="2041611"/>
            <a:ext cx="294820" cy="267072"/>
          </a:xfrm>
          <a:prstGeom prst="rect">
            <a:avLst/>
          </a:prstGeom>
        </p:spPr>
      </p:pic>
      <p:pic>
        <p:nvPicPr>
          <p:cNvPr id="132" name="Picture 3" descr="C:\Users\Jonahs\Dropbox\Projects SCOTT\MEET Windows Azure\source\Background\tile-icon-bigdata.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401050" y="2019535"/>
            <a:ext cx="326078" cy="323136"/>
          </a:xfrm>
          <a:prstGeom prst="rect">
            <a:avLst/>
          </a:prstGeom>
          <a:noFill/>
          <a:extLst>
            <a:ext uri="{909E8E84-426E-40DD-AFC4-6F175D3DCCD1}">
              <a14:hiddenFill xmlns:a14="http://schemas.microsoft.com/office/drawing/2010/main">
                <a:solidFill>
                  <a:srgbClr val="FFFFFF"/>
                </a:solidFill>
              </a14:hiddenFill>
            </a:ext>
          </a:extLst>
        </p:spPr>
      </p:pic>
      <p:grpSp>
        <p:nvGrpSpPr>
          <p:cNvPr id="139" name="Group 138"/>
          <p:cNvGrpSpPr/>
          <p:nvPr/>
        </p:nvGrpSpPr>
        <p:grpSpPr>
          <a:xfrm>
            <a:off x="6911659" y="1076469"/>
            <a:ext cx="685742" cy="623689"/>
            <a:chOff x="7808936" y="1693838"/>
            <a:chExt cx="932657" cy="848261"/>
          </a:xfrm>
        </p:grpSpPr>
        <p:sp>
          <p:nvSpPr>
            <p:cNvPr id="134" name="Rectangle 133"/>
            <p:cNvSpPr/>
            <p:nvPr/>
          </p:nvSpPr>
          <p:spPr bwMode="auto">
            <a:xfrm>
              <a:off x="7808936" y="1693838"/>
              <a:ext cx="932657" cy="848261"/>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spcBef>
                  <a:spcPct val="0"/>
                </a:spcBef>
                <a:spcAft>
                  <a:spcPct val="0"/>
                </a:spcAft>
              </a:pPr>
              <a:r>
                <a:rPr lang="en-US" sz="825" dirty="0">
                  <a:gradFill>
                    <a:gsLst>
                      <a:gs pos="0">
                        <a:srgbClr val="FFFFFF"/>
                      </a:gs>
                      <a:gs pos="100000">
                        <a:srgbClr val="FFFFFF"/>
                      </a:gs>
                    </a:gsLst>
                    <a:lin ang="5400000" scaled="0"/>
                  </a:gradFill>
                </a:rPr>
                <a:t>analytics</a:t>
              </a:r>
              <a:endParaRPr lang="en-US" sz="825" dirty="0">
                <a:gradFill>
                  <a:gsLst>
                    <a:gs pos="0">
                      <a:srgbClr val="FFFFFF"/>
                    </a:gs>
                    <a:gs pos="100000">
                      <a:srgbClr val="FFFFFF"/>
                    </a:gs>
                  </a:gsLst>
                  <a:lin ang="5400000" scaled="0"/>
                </a:gradFill>
              </a:endParaRPr>
            </a:p>
          </p:txBody>
        </p:sp>
        <p:sp>
          <p:nvSpPr>
            <p:cNvPr id="135" name="Freeform 134"/>
            <p:cNvSpPr>
              <a:spLocks noEditPoints="1"/>
            </p:cNvSpPr>
            <p:nvPr/>
          </p:nvSpPr>
          <p:spPr bwMode="auto">
            <a:xfrm>
              <a:off x="8091678" y="1858018"/>
              <a:ext cx="347115" cy="306045"/>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68570" tIns="34285" rIns="68570" bIns="34285" numCol="1" anchor="t" anchorCtr="0" compatLnSpc="1">
              <a:prstTxWarp prst="textNoShape">
                <a:avLst/>
              </a:prstTxWarp>
            </a:bodyPr>
            <a:lstStyle/>
            <a:p>
              <a:pPr defTabSz="911225"/>
              <a:endParaRPr lang="en-US" dirty="0">
                <a:solidFill>
                  <a:srgbClr val="292929"/>
                </a:solidFill>
              </a:endParaRPr>
            </a:p>
          </p:txBody>
        </p:sp>
      </p:grpSp>
      <p:sp>
        <p:nvSpPr>
          <p:cNvPr id="141" name="Rectangle 140"/>
          <p:cNvSpPr/>
          <p:nvPr/>
        </p:nvSpPr>
        <p:spPr>
          <a:xfrm>
            <a:off x="403512" y="1250101"/>
            <a:ext cx="1042017" cy="276999"/>
          </a:xfrm>
          <a:prstGeom prst="rect">
            <a:avLst/>
          </a:prstGeom>
        </p:spPr>
        <p:txBody>
          <a:bodyPr wrap="none">
            <a:spAutoFit/>
          </a:bodyPr>
          <a:lstStyle/>
          <a:p>
            <a:r>
              <a:rPr lang="en-US" sz="1200" dirty="0">
                <a:solidFill>
                  <a:srgbClr val="002060"/>
                </a:solidFill>
                <a:latin typeface="Segoe UI Semibold" panose="020B0702040204020203" pitchFamily="34" charset="0"/>
                <a:ea typeface="Segoe UI" pitchFamily="34" charset="0"/>
                <a:cs typeface="Segoe UI Semibold" panose="020B0702040204020203" pitchFamily="34" charset="0"/>
              </a:rPr>
              <a:t>a</a:t>
            </a:r>
            <a:r>
              <a:rPr lang="en-US" sz="1200" dirty="0">
                <a:solidFill>
                  <a:srgbClr val="002060"/>
                </a:solidFill>
                <a:latin typeface="Segoe UI Semibold" panose="020B0702040204020203" pitchFamily="34" charset="0"/>
                <a:ea typeface="Segoe UI" pitchFamily="34" charset="0"/>
                <a:cs typeface="Segoe UI Semibold" panose="020B0702040204020203" pitchFamily="34" charset="0"/>
              </a:rPr>
              <a:t>pp services</a:t>
            </a:r>
            <a:endParaRPr lang="en-US" sz="1200" dirty="0">
              <a:solidFill>
                <a:srgbClr val="002060"/>
              </a:solidFill>
            </a:endParaRPr>
          </a:p>
        </p:txBody>
      </p:sp>
      <p:cxnSp>
        <p:nvCxnSpPr>
          <p:cNvPr id="145" name="Straight Connector 144"/>
          <p:cNvCxnSpPr/>
          <p:nvPr/>
        </p:nvCxnSpPr>
        <p:spPr>
          <a:xfrm>
            <a:off x="538133" y="1833286"/>
            <a:ext cx="7919910" cy="0"/>
          </a:xfrm>
          <a:prstGeom prst="line">
            <a:avLst/>
          </a:prstGeom>
          <a:ln w="28575">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3416845" y="1940477"/>
            <a:ext cx="0" cy="661163"/>
          </a:xfrm>
          <a:prstGeom prst="line">
            <a:avLst/>
          </a:prstGeom>
          <a:ln w="28575">
            <a:solidFill>
              <a:srgbClr val="00188F"/>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6454472" y="1940477"/>
            <a:ext cx="0" cy="661163"/>
          </a:xfrm>
          <a:prstGeom prst="line">
            <a:avLst/>
          </a:prstGeom>
          <a:ln w="28575">
            <a:solidFill>
              <a:srgbClr val="00188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609592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477222" y="1269660"/>
            <a:ext cx="2430803" cy="2883400"/>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b" anchorCtr="0" compatLnSpc="1">
            <a:prstTxWarp prst="textNoShape">
              <a:avLst/>
            </a:prstTxWarp>
          </a:bodyPr>
          <a:lstStyle/>
          <a:p>
            <a:pPr algn="ctr" defTabSz="685513" fontAlgn="base">
              <a:spcBef>
                <a:spcPct val="0"/>
              </a:spcBef>
              <a:spcAft>
                <a:spcPct val="0"/>
              </a:spcAft>
            </a:pPr>
            <a:r>
              <a:rPr lang="en-US" sz="3529" dirty="0">
                <a:gradFill>
                  <a:gsLst>
                    <a:gs pos="0">
                      <a:srgbClr val="FFFFFF"/>
                    </a:gs>
                    <a:gs pos="100000">
                      <a:srgbClr val="FFFFFF"/>
                    </a:gs>
                  </a:gsLst>
                  <a:lin ang="5400000" scaled="0"/>
                </a:gradFill>
              </a:rPr>
              <a:t>compute</a:t>
            </a:r>
          </a:p>
        </p:txBody>
      </p:sp>
      <p:sp>
        <p:nvSpPr>
          <p:cNvPr id="2" name="Title 1"/>
          <p:cNvSpPr>
            <a:spLocks noGrp="1"/>
          </p:cNvSpPr>
          <p:nvPr>
            <p:ph type="title"/>
          </p:nvPr>
        </p:nvSpPr>
        <p:spPr/>
        <p:txBody>
          <a:bodyPr/>
          <a:lstStyle/>
          <a:p>
            <a:r>
              <a:rPr lang="en-US" dirty="0" smtClean="0"/>
              <a:t>Windows </a:t>
            </a:r>
            <a:r>
              <a:rPr lang="en-US" dirty="0"/>
              <a:t>Azure Compute</a:t>
            </a:r>
          </a:p>
        </p:txBody>
      </p:sp>
      <p:sp>
        <p:nvSpPr>
          <p:cNvPr id="91" name="Content Placeholder 2"/>
          <p:cNvSpPr>
            <a:spLocks noGrp="1"/>
          </p:cNvSpPr>
          <p:nvPr>
            <p:ph type="body" sz="quarter" idx="15"/>
          </p:nvPr>
        </p:nvSpPr>
        <p:spPr>
          <a:xfrm>
            <a:off x="5042570" y="1146792"/>
            <a:ext cx="3428835" cy="538773"/>
          </a:xfrm>
        </p:spPr>
        <p:txBody>
          <a:bodyPr/>
          <a:lstStyle/>
          <a:p>
            <a:pPr marL="252102" lvl="1" indent="0">
              <a:spcBef>
                <a:spcPts val="0"/>
              </a:spcBef>
              <a:spcAft>
                <a:spcPts val="441"/>
              </a:spcAft>
              <a:buNone/>
            </a:pPr>
            <a:r>
              <a:rPr lang="en-US" sz="2353" b="1" spc="-75" dirty="0">
                <a:solidFill>
                  <a:schemeClr val="bg1"/>
                </a:solidFill>
                <a:latin typeface="Segoe UI Light" pitchFamily="34" charset="0"/>
              </a:rPr>
              <a:t>Features:</a:t>
            </a:r>
            <a:r>
              <a:rPr lang="en-US" sz="2353" spc="-75" dirty="0">
                <a:solidFill>
                  <a:schemeClr val="bg1"/>
                </a:solidFill>
                <a:latin typeface="Segoe UI Light" pitchFamily="34" charset="0"/>
              </a:rPr>
              <a:t> </a:t>
            </a:r>
          </a:p>
          <a:p>
            <a:pPr lvl="1">
              <a:spcBef>
                <a:spcPts val="0"/>
              </a:spcBef>
              <a:spcAft>
                <a:spcPts val="441"/>
              </a:spcAft>
            </a:pPr>
            <a:r>
              <a:rPr lang="en-US" sz="1176" dirty="0">
                <a:solidFill>
                  <a:schemeClr val="bg1"/>
                </a:solidFill>
              </a:rPr>
              <a:t>99.95% Monthly SLA </a:t>
            </a:r>
          </a:p>
          <a:p>
            <a:pPr lvl="1">
              <a:spcBef>
                <a:spcPts val="0"/>
              </a:spcBef>
              <a:spcAft>
                <a:spcPts val="441"/>
              </a:spcAft>
            </a:pPr>
            <a:r>
              <a:rPr lang="en-US" sz="1176" dirty="0">
                <a:solidFill>
                  <a:schemeClr val="bg1"/>
                </a:solidFill>
              </a:rPr>
              <a:t>Support for  Windows and Linux VM’s</a:t>
            </a:r>
          </a:p>
          <a:p>
            <a:pPr lvl="1">
              <a:spcBef>
                <a:spcPts val="0"/>
              </a:spcBef>
              <a:spcAft>
                <a:spcPts val="441"/>
              </a:spcAft>
            </a:pPr>
            <a:r>
              <a:rPr lang="en-US" sz="1176" dirty="0">
                <a:solidFill>
                  <a:schemeClr val="bg1"/>
                </a:solidFill>
              </a:rPr>
              <a:t>Fault </a:t>
            </a:r>
            <a:r>
              <a:rPr lang="en-US" sz="1029" dirty="0">
                <a:solidFill>
                  <a:schemeClr val="bg1"/>
                </a:solidFill>
              </a:rPr>
              <a:t>Isolation</a:t>
            </a:r>
            <a:r>
              <a:rPr lang="en-US" sz="1176" dirty="0">
                <a:solidFill>
                  <a:schemeClr val="bg1"/>
                </a:solidFill>
              </a:rPr>
              <a:t> </a:t>
            </a:r>
          </a:p>
          <a:p>
            <a:pPr lvl="1">
              <a:spcBef>
                <a:spcPts val="0"/>
              </a:spcBef>
              <a:spcAft>
                <a:spcPts val="441"/>
              </a:spcAft>
            </a:pPr>
            <a:r>
              <a:rPr lang="en-US" sz="1176" dirty="0">
                <a:solidFill>
                  <a:schemeClr val="bg1"/>
                </a:solidFill>
              </a:rPr>
              <a:t>Elastic Capacity</a:t>
            </a:r>
          </a:p>
          <a:p>
            <a:pPr lvl="1">
              <a:spcBef>
                <a:spcPts val="0"/>
              </a:spcBef>
              <a:spcAft>
                <a:spcPts val="441"/>
              </a:spcAft>
            </a:pPr>
            <a:r>
              <a:rPr lang="en-US" sz="1176" dirty="0">
                <a:solidFill>
                  <a:schemeClr val="bg1"/>
                </a:solidFill>
              </a:rPr>
              <a:t>Open source support (Git, etc…)</a:t>
            </a:r>
          </a:p>
          <a:p>
            <a:pPr lvl="1">
              <a:spcBef>
                <a:spcPts val="0"/>
              </a:spcBef>
              <a:spcAft>
                <a:spcPts val="441"/>
              </a:spcAft>
            </a:pPr>
            <a:r>
              <a:rPr lang="en-US" sz="1176" dirty="0">
                <a:solidFill>
                  <a:schemeClr val="bg1"/>
                </a:solidFill>
              </a:rPr>
              <a:t>First class .Net Support</a:t>
            </a:r>
          </a:p>
          <a:p>
            <a:pPr lvl="1">
              <a:spcBef>
                <a:spcPts val="0"/>
              </a:spcBef>
              <a:spcAft>
                <a:spcPts val="441"/>
              </a:spcAft>
            </a:pPr>
            <a:r>
              <a:rPr lang="en-US" sz="1176" dirty="0">
                <a:solidFill>
                  <a:schemeClr val="bg1"/>
                </a:solidFill>
              </a:rPr>
              <a:t>Support for a variety of languages and frameworks - </a:t>
            </a:r>
          </a:p>
        </p:txBody>
      </p:sp>
      <p:grpSp>
        <p:nvGrpSpPr>
          <p:cNvPr id="5" name="Group 4"/>
          <p:cNvGrpSpPr/>
          <p:nvPr/>
        </p:nvGrpSpPr>
        <p:grpSpPr>
          <a:xfrm>
            <a:off x="972340" y="1955948"/>
            <a:ext cx="1335378" cy="1148156"/>
            <a:chOff x="1569605" y="4004849"/>
            <a:chExt cx="467630" cy="391064"/>
          </a:xfrm>
          <a:solidFill>
            <a:schemeClr val="bg1"/>
          </a:solidFill>
        </p:grpSpPr>
        <p:sp>
          <p:nvSpPr>
            <p:cNvPr id="7" name="Freeform 86"/>
            <p:cNvSpPr>
              <a:spLocks noEditPoints="1"/>
            </p:cNvSpPr>
            <p:nvPr/>
          </p:nvSpPr>
          <p:spPr bwMode="black">
            <a:xfrm>
              <a:off x="1569605" y="4042989"/>
              <a:ext cx="341444" cy="352924"/>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4665"/>
              <a:endParaRPr lang="en-US" sz="900" dirty="0">
                <a:solidFill>
                  <a:prstClr val="black"/>
                </a:solidFill>
                <a:ea typeface="Segoe UI" pitchFamily="34" charset="0"/>
                <a:cs typeface="Segoe UI" pitchFamily="34" charset="0"/>
              </a:endParaRPr>
            </a:p>
          </p:txBody>
        </p:sp>
        <p:sp>
          <p:nvSpPr>
            <p:cNvPr id="8" name="Oval 87"/>
            <p:cNvSpPr>
              <a:spLocks noChangeArrowheads="1"/>
            </p:cNvSpPr>
            <p:nvPr/>
          </p:nvSpPr>
          <p:spPr bwMode="black">
            <a:xfrm>
              <a:off x="1708656" y="4193007"/>
              <a:ext cx="63340" cy="6509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4665"/>
              <a:endParaRPr lang="en-US" sz="900" dirty="0">
                <a:solidFill>
                  <a:prstClr val="black"/>
                </a:solidFill>
                <a:ea typeface="Segoe UI" pitchFamily="34" charset="0"/>
                <a:cs typeface="Segoe UI" pitchFamily="34" charset="0"/>
              </a:endParaRPr>
            </a:p>
          </p:txBody>
        </p:sp>
        <p:sp>
          <p:nvSpPr>
            <p:cNvPr id="9" name="Freeform 88"/>
            <p:cNvSpPr>
              <a:spLocks noEditPoints="1"/>
            </p:cNvSpPr>
            <p:nvPr/>
          </p:nvSpPr>
          <p:spPr bwMode="black">
            <a:xfrm>
              <a:off x="1864039" y="4004849"/>
              <a:ext cx="173196" cy="19171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pPr defTabSz="684665"/>
              <a:endParaRPr lang="en-US" sz="900" dirty="0">
                <a:solidFill>
                  <a:prstClr val="black"/>
                </a:solidFill>
                <a:ea typeface="Segoe UI" pitchFamily="34" charset="0"/>
                <a:cs typeface="Segoe UI" pitchFamily="34" charset="0"/>
              </a:endParaRPr>
            </a:p>
          </p:txBody>
        </p:sp>
      </p:grpSp>
      <p:sp>
        <p:nvSpPr>
          <p:cNvPr id="92" name="Text Placeholder 4"/>
          <p:cNvSpPr txBox="1">
            <a:spLocks/>
          </p:cNvSpPr>
          <p:nvPr/>
        </p:nvSpPr>
        <p:spPr>
          <a:xfrm>
            <a:off x="321184" y="813580"/>
            <a:ext cx="8360574" cy="207749"/>
          </a:xfrm>
          <a:prstGeom prst="rect">
            <a:avLst/>
          </a:prstGeom>
        </p:spPr>
        <p:txBody>
          <a:bodyPr vert="horz" wrap="square" lIns="0" tIns="0" rIns="0" bIns="0" rtlCol="0">
            <a:spAutoFit/>
          </a:bodyPr>
          <a:lstStyle>
            <a:lvl1pPr marL="3175" indent="0" algn="l" defTabSz="914363" rtl="0" eaLnBrk="1" latinLnBrk="0" hangingPunct="1">
              <a:lnSpc>
                <a:spcPct val="90000"/>
              </a:lnSpc>
              <a:spcBef>
                <a:spcPts val="0"/>
              </a:spcBef>
              <a:spcAft>
                <a:spcPts val="900"/>
              </a:spcAft>
              <a:buSzPct val="80000"/>
              <a:buFont typeface="Arial" pitchFamily="34" charset="0"/>
              <a:buNone/>
              <a:defRPr sz="4000" kern="1200" spc="-100" baseline="0">
                <a:gradFill>
                  <a:gsLst>
                    <a:gs pos="0">
                      <a:srgbClr val="595959"/>
                    </a:gs>
                    <a:gs pos="86000">
                      <a:srgbClr val="595959"/>
                    </a:gs>
                  </a:gsLst>
                  <a:lin ang="5400000" scaled="0"/>
                </a:gradFill>
                <a:latin typeface="Segoe UI Light" pitchFamily="34" charset="0"/>
                <a:ea typeface="+mn-ea"/>
                <a:cs typeface="+mn-cs"/>
              </a:defRPr>
            </a:lvl1pPr>
            <a:lvl2pPr marL="3175" indent="0" algn="l" defTabSz="914363" rtl="0" eaLnBrk="1" latinLnBrk="0" hangingPunct="1">
              <a:lnSpc>
                <a:spcPct val="90000"/>
              </a:lnSpc>
              <a:spcBef>
                <a:spcPts val="0"/>
              </a:spcBef>
              <a:buSzPct val="80000"/>
              <a:buFont typeface="Arial" pitchFamily="34" charset="0"/>
              <a:buNone/>
              <a:defRPr sz="2000" kern="1200" spc="-50" baseline="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3"/>
              </a:buBlip>
              <a:defRPr sz="24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3"/>
              </a:buBlip>
              <a:defRPr sz="2000" kern="120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500" dirty="0"/>
              <a:t>Flexible </a:t>
            </a:r>
            <a:r>
              <a:rPr lang="en-US" sz="1500" dirty="0">
                <a:solidFill>
                  <a:schemeClr val="accent2"/>
                </a:solidFill>
              </a:rPr>
              <a:t>IaaS and PaaS based hosting options </a:t>
            </a:r>
            <a:r>
              <a:rPr lang="en-US" sz="1500" dirty="0"/>
              <a:t>for Cloud, Web, and Virtual Workloads. </a:t>
            </a:r>
          </a:p>
        </p:txBody>
      </p:sp>
      <p:grpSp>
        <p:nvGrpSpPr>
          <p:cNvPr id="12" name="Group 11"/>
          <p:cNvGrpSpPr/>
          <p:nvPr/>
        </p:nvGrpSpPr>
        <p:grpSpPr>
          <a:xfrm>
            <a:off x="5568439" y="3313643"/>
            <a:ext cx="2319463" cy="1293164"/>
            <a:chOff x="7195474" y="5034490"/>
            <a:chExt cx="3154631" cy="1758792"/>
          </a:xfrm>
        </p:grpSpPr>
        <p:sp>
          <p:nvSpPr>
            <p:cNvPr id="4" name="Rectangle 3"/>
            <p:cNvSpPr/>
            <p:nvPr/>
          </p:nvSpPr>
          <p:spPr>
            <a:xfrm>
              <a:off x="8047018" y="5049745"/>
              <a:ext cx="2303087" cy="345343"/>
            </a:xfrm>
            <a:prstGeom prst="rect">
              <a:avLst/>
            </a:prstGeom>
            <a:solidFill>
              <a:schemeClr val="accent6">
                <a:lumMod val="20000"/>
                <a:lumOff val="80000"/>
              </a:schemeClr>
            </a:solidFill>
          </p:spPr>
          <p:txBody>
            <a:bodyPr wrap="square">
              <a:spAutoFit/>
            </a:bodyPr>
            <a:lstStyle/>
            <a:p>
              <a:r>
                <a:rPr lang="en-US" sz="1050" dirty="0"/>
                <a:t>.net</a:t>
              </a:r>
            </a:p>
          </p:txBody>
        </p:sp>
        <p:sp>
          <p:nvSpPr>
            <p:cNvPr id="21" name="Rectangle 20"/>
            <p:cNvSpPr/>
            <p:nvPr/>
          </p:nvSpPr>
          <p:spPr>
            <a:xfrm>
              <a:off x="8047018" y="5411887"/>
              <a:ext cx="2303087" cy="345343"/>
            </a:xfrm>
            <a:prstGeom prst="rect">
              <a:avLst/>
            </a:prstGeom>
            <a:solidFill>
              <a:schemeClr val="accent4">
                <a:lumMod val="20000"/>
                <a:lumOff val="80000"/>
              </a:schemeClr>
            </a:solidFill>
          </p:spPr>
          <p:txBody>
            <a:bodyPr wrap="square">
              <a:spAutoFit/>
            </a:bodyPr>
            <a:lstStyle/>
            <a:p>
              <a:r>
                <a:rPr lang="en-US" sz="1050" dirty="0"/>
                <a:t>node.js</a:t>
              </a:r>
            </a:p>
          </p:txBody>
        </p:sp>
        <p:sp>
          <p:nvSpPr>
            <p:cNvPr id="22" name="Rectangle 21"/>
            <p:cNvSpPr/>
            <p:nvPr/>
          </p:nvSpPr>
          <p:spPr>
            <a:xfrm>
              <a:off x="8047018" y="5770547"/>
              <a:ext cx="2303087" cy="345343"/>
            </a:xfrm>
            <a:prstGeom prst="rect">
              <a:avLst/>
            </a:prstGeom>
            <a:solidFill>
              <a:schemeClr val="accent5">
                <a:lumMod val="20000"/>
                <a:lumOff val="80000"/>
              </a:schemeClr>
            </a:solidFill>
          </p:spPr>
          <p:txBody>
            <a:bodyPr wrap="square">
              <a:spAutoFit/>
            </a:bodyPr>
            <a:lstStyle/>
            <a:p>
              <a:r>
                <a:rPr lang="en-US" sz="1050" dirty="0"/>
                <a:t>java</a:t>
              </a:r>
            </a:p>
          </p:txBody>
        </p:sp>
        <p:sp>
          <p:nvSpPr>
            <p:cNvPr id="23" name="Rectangle 22"/>
            <p:cNvSpPr/>
            <p:nvPr/>
          </p:nvSpPr>
          <p:spPr>
            <a:xfrm>
              <a:off x="8047018" y="6107322"/>
              <a:ext cx="2303087" cy="345343"/>
            </a:xfrm>
            <a:prstGeom prst="rect">
              <a:avLst/>
            </a:prstGeom>
            <a:solidFill>
              <a:schemeClr val="accent3">
                <a:lumMod val="20000"/>
                <a:lumOff val="80000"/>
              </a:schemeClr>
            </a:solidFill>
          </p:spPr>
          <p:txBody>
            <a:bodyPr wrap="square">
              <a:spAutoFit/>
            </a:bodyPr>
            <a:lstStyle/>
            <a:p>
              <a:r>
                <a:rPr lang="en-US" sz="1050" dirty="0"/>
                <a:t>php</a:t>
              </a:r>
            </a:p>
          </p:txBody>
        </p:sp>
        <p:sp>
          <p:nvSpPr>
            <p:cNvPr id="24" name="Rectangle 23"/>
            <p:cNvSpPr/>
            <p:nvPr/>
          </p:nvSpPr>
          <p:spPr>
            <a:xfrm>
              <a:off x="8047018" y="6447939"/>
              <a:ext cx="2303087" cy="345343"/>
            </a:xfrm>
            <a:prstGeom prst="rect">
              <a:avLst/>
            </a:prstGeom>
            <a:solidFill>
              <a:schemeClr val="accent1">
                <a:lumMod val="20000"/>
                <a:lumOff val="80000"/>
              </a:schemeClr>
            </a:solidFill>
          </p:spPr>
          <p:txBody>
            <a:bodyPr wrap="square">
              <a:spAutoFit/>
            </a:bodyPr>
            <a:lstStyle/>
            <a:p>
              <a:r>
                <a:rPr lang="en-US" sz="1050" dirty="0"/>
                <a:t>python</a:t>
              </a:r>
            </a:p>
          </p:txBody>
        </p:sp>
        <p:sp>
          <p:nvSpPr>
            <p:cNvPr id="13" name="Pie 12"/>
            <p:cNvSpPr/>
            <p:nvPr/>
          </p:nvSpPr>
          <p:spPr bwMode="auto">
            <a:xfrm>
              <a:off x="7195474" y="5034490"/>
              <a:ext cx="1559699" cy="1734144"/>
            </a:xfrm>
            <a:prstGeom prst="pie">
              <a:avLst>
                <a:gd name="adj1" fmla="val 5405119"/>
                <a:gd name="adj2" fmla="val 16189340"/>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14" name="TextBox 13"/>
            <p:cNvSpPr txBox="1"/>
            <p:nvPr/>
          </p:nvSpPr>
          <p:spPr>
            <a:xfrm rot="16200000">
              <a:off x="7054222" y="5726058"/>
              <a:ext cx="1390179" cy="282553"/>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accent2"/>
                  </a:solidFill>
                </a:rPr>
                <a:t>Frameworks</a:t>
              </a:r>
            </a:p>
          </p:txBody>
        </p:sp>
      </p:grpSp>
      <p:sp>
        <p:nvSpPr>
          <p:cNvPr id="26" name="Rectangle 25"/>
          <p:cNvSpPr/>
          <p:nvPr/>
        </p:nvSpPr>
        <p:spPr bwMode="auto">
          <a:xfrm>
            <a:off x="3035586" y="1269592"/>
            <a:ext cx="2033381" cy="798335"/>
          </a:xfrm>
          <a:prstGeom prst="rect">
            <a:avLst/>
          </a:prstGeom>
          <a:solidFill>
            <a:schemeClr val="accent2"/>
          </a:solidFill>
          <a:ln w="9525" cap="flat" cmpd="sng" algn="ctr">
            <a:solidFill>
              <a:schemeClr val="accent2"/>
            </a:solid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marL="520256" defTabSz="571101">
              <a:defRPr/>
            </a:pPr>
            <a:r>
              <a:rPr lang="en-US" sz="1471" kern="0" dirty="0">
                <a:gradFill>
                  <a:gsLst>
                    <a:gs pos="0">
                      <a:srgbClr val="FFFFFF"/>
                    </a:gs>
                    <a:gs pos="100000">
                      <a:srgbClr val="FFFFFF"/>
                    </a:gs>
                  </a:gsLst>
                  <a:lin ang="5400000" scaled="0"/>
                </a:gradFill>
                <a:latin typeface="Segoe UI"/>
              </a:rPr>
              <a:t>Windows Azure Websites</a:t>
            </a:r>
          </a:p>
        </p:txBody>
      </p:sp>
      <p:sp>
        <p:nvSpPr>
          <p:cNvPr id="27" name="Rectangle 26"/>
          <p:cNvSpPr/>
          <p:nvPr/>
        </p:nvSpPr>
        <p:spPr bwMode="auto">
          <a:xfrm>
            <a:off x="3035586" y="1272639"/>
            <a:ext cx="361085" cy="798335"/>
          </a:xfrm>
          <a:prstGeom prst="rect">
            <a:avLst/>
          </a:prstGeom>
          <a:solidFill>
            <a:schemeClr val="bg1"/>
          </a:solidFill>
          <a:ln w="9525" cap="flat" cmpd="sng" algn="ctr">
            <a:solidFill>
              <a:schemeClr val="accent2"/>
            </a:solidFill>
            <a:prstDash val="solid"/>
            <a:headEnd type="none" w="med" len="med"/>
            <a:tailEnd type="none" w="med" len="med"/>
          </a:ln>
          <a:effectLst/>
        </p:spPr>
        <p:txBody>
          <a:bodyPr vert="vert270" wrap="square" lIns="57123" tIns="28562" rIns="57123" bIns="28562" numCol="1" rtlCol="0" anchor="t" anchorCtr="0" compatLnSpc="1">
            <a:prstTxWarp prst="textNoShape">
              <a:avLst/>
            </a:prstTxWarp>
          </a:bodyPr>
          <a:lstStyle/>
          <a:p>
            <a:pPr algn="ctr" defTabSz="571101">
              <a:defRPr/>
            </a:pPr>
            <a:r>
              <a:rPr lang="en-US" sz="1471" kern="0" dirty="0">
                <a:solidFill>
                  <a:schemeClr val="accent4"/>
                </a:solidFill>
                <a:latin typeface="Segoe UI"/>
              </a:rPr>
              <a:t>WEB</a:t>
            </a:r>
          </a:p>
        </p:txBody>
      </p:sp>
      <p:grpSp>
        <p:nvGrpSpPr>
          <p:cNvPr id="10" name="Group 9"/>
          <p:cNvGrpSpPr/>
          <p:nvPr/>
        </p:nvGrpSpPr>
        <p:grpSpPr>
          <a:xfrm>
            <a:off x="3034212" y="2156096"/>
            <a:ext cx="2034756" cy="1033748"/>
            <a:chOff x="3914514" y="2654430"/>
            <a:chExt cx="3583869" cy="1597384"/>
          </a:xfrm>
        </p:grpSpPr>
        <p:sp>
          <p:nvSpPr>
            <p:cNvPr id="25" name="Rectangle 24"/>
            <p:cNvSpPr/>
            <p:nvPr/>
          </p:nvSpPr>
          <p:spPr bwMode="auto">
            <a:xfrm>
              <a:off x="3916385" y="2654430"/>
              <a:ext cx="3581998" cy="1593239"/>
            </a:xfrm>
            <a:prstGeom prst="rect">
              <a:avLst/>
            </a:prstGeom>
            <a:solidFill>
              <a:schemeClr val="accent2"/>
            </a:solidFill>
            <a:ln w="9525" cap="flat" cmpd="sng" algn="ctr">
              <a:solidFill>
                <a:schemeClr val="accent2"/>
              </a:solid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marL="520256" defTabSz="571101">
                <a:defRPr/>
              </a:pPr>
              <a:r>
                <a:rPr lang="en-US" sz="1471" kern="0" dirty="0">
                  <a:gradFill>
                    <a:gsLst>
                      <a:gs pos="0">
                        <a:srgbClr val="FFFFFF"/>
                      </a:gs>
                      <a:gs pos="100000">
                        <a:srgbClr val="FFFFFF"/>
                      </a:gs>
                    </a:gsLst>
                    <a:lin ang="5400000" scaled="0"/>
                  </a:gradFill>
                  <a:latin typeface="Segoe UI"/>
                </a:rPr>
                <a:t>Virtual Machines</a:t>
              </a:r>
            </a:p>
          </p:txBody>
        </p:sp>
        <p:sp>
          <p:nvSpPr>
            <p:cNvPr id="28" name="Rectangle 27"/>
            <p:cNvSpPr/>
            <p:nvPr/>
          </p:nvSpPr>
          <p:spPr bwMode="auto">
            <a:xfrm>
              <a:off x="3914514" y="2658575"/>
              <a:ext cx="636087" cy="1593239"/>
            </a:xfrm>
            <a:prstGeom prst="rect">
              <a:avLst/>
            </a:prstGeom>
            <a:solidFill>
              <a:schemeClr val="bg1"/>
            </a:solidFill>
            <a:ln w="9525" cap="flat" cmpd="sng" algn="ctr">
              <a:solidFill>
                <a:schemeClr val="accent2"/>
              </a:solidFill>
              <a:prstDash val="solid"/>
              <a:headEnd type="none" w="med" len="med"/>
              <a:tailEnd type="none" w="med" len="med"/>
            </a:ln>
            <a:effectLst/>
          </p:spPr>
          <p:txBody>
            <a:bodyPr vert="vert270" wrap="square" lIns="57123" tIns="28562" rIns="57123" bIns="28562" numCol="1" rtlCol="0" anchor="t" anchorCtr="0" compatLnSpc="1">
              <a:prstTxWarp prst="textNoShape">
                <a:avLst/>
              </a:prstTxWarp>
            </a:bodyPr>
            <a:lstStyle/>
            <a:p>
              <a:pPr algn="ctr" defTabSz="571101">
                <a:defRPr/>
              </a:pPr>
              <a:r>
                <a:rPr lang="en-US" sz="1471" kern="0" dirty="0">
                  <a:solidFill>
                    <a:schemeClr val="accent3"/>
                  </a:solidFill>
                  <a:latin typeface="Segoe UI"/>
                </a:rPr>
                <a:t>VIRTUAL</a:t>
              </a:r>
              <a:endParaRPr lang="en-US" sz="1471" kern="0" dirty="0">
                <a:gradFill>
                  <a:gsLst>
                    <a:gs pos="0">
                      <a:srgbClr val="FFFFFF"/>
                    </a:gs>
                    <a:gs pos="100000">
                      <a:srgbClr val="FFFFFF"/>
                    </a:gs>
                  </a:gsLst>
                  <a:lin ang="5400000" scaled="0"/>
                </a:gradFill>
                <a:latin typeface="Segoe UI"/>
              </a:endParaRPr>
            </a:p>
          </p:txBody>
        </p:sp>
      </p:grpSp>
      <p:grpSp>
        <p:nvGrpSpPr>
          <p:cNvPr id="11" name="Group 10"/>
          <p:cNvGrpSpPr/>
          <p:nvPr/>
        </p:nvGrpSpPr>
        <p:grpSpPr>
          <a:xfrm>
            <a:off x="3035237" y="3248476"/>
            <a:ext cx="2033730" cy="904585"/>
            <a:chOff x="4830015" y="4701093"/>
            <a:chExt cx="3581998" cy="1593240"/>
          </a:xfrm>
        </p:grpSpPr>
        <p:sp>
          <p:nvSpPr>
            <p:cNvPr id="29" name="Rectangle 28"/>
            <p:cNvSpPr/>
            <p:nvPr/>
          </p:nvSpPr>
          <p:spPr bwMode="auto">
            <a:xfrm>
              <a:off x="4830015" y="4701094"/>
              <a:ext cx="3581998" cy="1593239"/>
            </a:xfrm>
            <a:prstGeom prst="rect">
              <a:avLst/>
            </a:prstGeom>
            <a:solidFill>
              <a:schemeClr val="accent2"/>
            </a:solidFill>
            <a:ln w="9525" cap="flat" cmpd="sng" algn="ctr">
              <a:solidFill>
                <a:schemeClr val="accent2"/>
              </a:solidFill>
              <a:prstDash val="solid"/>
              <a:headEnd type="none" w="med" len="med"/>
              <a:tailEnd type="none" w="med" len="med"/>
            </a:ln>
            <a:effectLst/>
          </p:spPr>
          <p:txBody>
            <a:bodyPr vert="horz" wrap="square" lIns="57123" tIns="28562" rIns="57123" bIns="28562" numCol="1" rtlCol="0" anchor="ctr" anchorCtr="0" compatLnSpc="1">
              <a:prstTxWarp prst="textNoShape">
                <a:avLst/>
              </a:prstTxWarp>
            </a:bodyPr>
            <a:lstStyle/>
            <a:p>
              <a:pPr marL="520256" defTabSz="571101">
                <a:defRPr/>
              </a:pPr>
              <a:r>
                <a:rPr lang="en-US" sz="1471" kern="0" dirty="0">
                  <a:gradFill>
                    <a:gsLst>
                      <a:gs pos="0">
                        <a:srgbClr val="FFFFFF"/>
                      </a:gs>
                      <a:gs pos="100000">
                        <a:srgbClr val="FFFFFF"/>
                      </a:gs>
                    </a:gsLst>
                    <a:lin ang="5400000" scaled="0"/>
                  </a:gradFill>
                  <a:latin typeface="Segoe UI"/>
                </a:rPr>
                <a:t>Worker Role</a:t>
              </a:r>
            </a:p>
            <a:p>
              <a:pPr marL="520256" defTabSz="571101">
                <a:defRPr/>
              </a:pPr>
              <a:r>
                <a:rPr lang="en-US" sz="1471" kern="0" dirty="0">
                  <a:gradFill>
                    <a:gsLst>
                      <a:gs pos="0">
                        <a:srgbClr val="FFFFFF"/>
                      </a:gs>
                      <a:gs pos="100000">
                        <a:srgbClr val="FFFFFF"/>
                      </a:gs>
                    </a:gsLst>
                    <a:lin ang="5400000" scaled="0"/>
                  </a:gradFill>
                  <a:latin typeface="Segoe UI"/>
                </a:rPr>
                <a:t>Web Role</a:t>
              </a:r>
            </a:p>
          </p:txBody>
        </p:sp>
        <p:sp>
          <p:nvSpPr>
            <p:cNvPr id="30" name="Rectangle 29"/>
            <p:cNvSpPr/>
            <p:nvPr/>
          </p:nvSpPr>
          <p:spPr bwMode="auto">
            <a:xfrm>
              <a:off x="4830015" y="4701093"/>
              <a:ext cx="636087" cy="1593239"/>
            </a:xfrm>
            <a:prstGeom prst="rect">
              <a:avLst/>
            </a:prstGeom>
            <a:solidFill>
              <a:schemeClr val="bg1"/>
            </a:solidFill>
            <a:ln w="9525" cap="flat" cmpd="sng" algn="ctr">
              <a:solidFill>
                <a:schemeClr val="accent2"/>
              </a:solidFill>
              <a:prstDash val="solid"/>
              <a:headEnd type="none" w="med" len="med"/>
              <a:tailEnd type="none" w="med" len="med"/>
            </a:ln>
            <a:effectLst/>
          </p:spPr>
          <p:txBody>
            <a:bodyPr vert="vert270" wrap="square" lIns="57123" tIns="28562" rIns="57123" bIns="28562" numCol="1" rtlCol="0" anchor="t" anchorCtr="0" compatLnSpc="1">
              <a:prstTxWarp prst="textNoShape">
                <a:avLst/>
              </a:prstTxWarp>
            </a:bodyPr>
            <a:lstStyle/>
            <a:p>
              <a:pPr algn="ctr" defTabSz="571101">
                <a:defRPr/>
              </a:pPr>
              <a:r>
                <a:rPr lang="en-US" sz="1471" kern="0" dirty="0">
                  <a:solidFill>
                    <a:schemeClr val="accent2"/>
                  </a:solidFill>
                  <a:latin typeface="Segoe UI"/>
                </a:rPr>
                <a:t>CLOUD</a:t>
              </a:r>
            </a:p>
          </p:txBody>
        </p:sp>
      </p:grpSp>
    </p:spTree>
    <p:extLst>
      <p:ext uri="{BB962C8B-B14F-4D97-AF65-F5344CB8AC3E}">
        <p14:creationId xmlns:p14="http://schemas.microsoft.com/office/powerpoint/2010/main" val="3215215886"/>
      </p:ext>
    </p:extLst>
  </p:cSld>
  <p:clrMapOvr>
    <a:masterClrMapping/>
  </p:clrMapOvr>
  <mc:AlternateContent xmlns:mc="http://schemas.openxmlformats.org/markup-compatibility/2006">
    <mc:Choice xmlns:p14="http://schemas.microsoft.com/office/powerpoint/2010/main" Requires="p14">
      <p:transition p14:dur="0" advTm="364165"/>
    </mc:Choice>
    <mc:Fallback>
      <p:transition advTm="364165"/>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01929" y="971550"/>
            <a:ext cx="8740142" cy="3559514"/>
          </a:xfrm>
        </p:spPr>
        <p:txBody>
          <a:bodyPr>
            <a:normAutofit fontScale="62500" lnSpcReduction="20000"/>
          </a:bodyPr>
          <a:lstStyle/>
          <a:p>
            <a:r>
              <a:rPr lang="en-US" dirty="0" smtClean="0"/>
              <a:t>Design concepts</a:t>
            </a:r>
          </a:p>
          <a:p>
            <a:pPr lvl="1"/>
            <a:r>
              <a:rPr lang="en-US" dirty="0" smtClean="0"/>
              <a:t>New look and feel</a:t>
            </a:r>
          </a:p>
          <a:p>
            <a:pPr lvl="1"/>
            <a:r>
              <a:rPr lang="en-US" dirty="0" smtClean="0"/>
              <a:t>Windows 8</a:t>
            </a:r>
          </a:p>
          <a:p>
            <a:pPr lvl="1"/>
            <a:r>
              <a:rPr lang="en-US" dirty="0" smtClean="0"/>
              <a:t>Windows Phone 8</a:t>
            </a:r>
            <a:endParaRPr lang="en-US" dirty="0"/>
          </a:p>
          <a:p>
            <a:r>
              <a:rPr lang="en-US" dirty="0" smtClean="0"/>
              <a:t>Azure</a:t>
            </a:r>
          </a:p>
          <a:p>
            <a:r>
              <a:rPr lang="en-US" dirty="0" smtClean="0"/>
              <a:t>Development Models</a:t>
            </a:r>
          </a:p>
          <a:p>
            <a:pPr lvl="1"/>
            <a:r>
              <a:rPr lang="en-US" dirty="0" smtClean="0"/>
              <a:t>HTML</a:t>
            </a:r>
          </a:p>
          <a:p>
            <a:pPr lvl="1"/>
            <a:r>
              <a:rPr lang="en-US" dirty="0" smtClean="0"/>
              <a:t>DirectX</a:t>
            </a:r>
          </a:p>
          <a:p>
            <a:pPr lvl="1"/>
            <a:r>
              <a:rPr lang="en-US" dirty="0" smtClean="0"/>
              <a:t>XAML</a:t>
            </a:r>
          </a:p>
          <a:p>
            <a:r>
              <a:rPr lang="en-US" dirty="0" smtClean="0"/>
              <a:t>Development Languages</a:t>
            </a:r>
          </a:p>
          <a:p>
            <a:pPr lvl="1"/>
            <a:r>
              <a:rPr lang="en-US" dirty="0" smtClean="0"/>
              <a:t>C#, HTML, VB, C++</a:t>
            </a:r>
          </a:p>
          <a:p>
            <a:r>
              <a:rPr lang="en-US" dirty="0" smtClean="0"/>
              <a:t>Windows 8 Features</a:t>
            </a:r>
          </a:p>
          <a:p>
            <a:r>
              <a:rPr lang="en-US" dirty="0" smtClean="0"/>
              <a:t>Windows Phone Features</a:t>
            </a:r>
          </a:p>
          <a:p>
            <a:r>
              <a:rPr lang="en-US" dirty="0" smtClean="0"/>
              <a:t>Store</a:t>
            </a:r>
            <a:endParaRPr lang="en-US" dirty="0"/>
          </a:p>
        </p:txBody>
      </p:sp>
      <p:sp>
        <p:nvSpPr>
          <p:cNvPr id="4" name="Title 3"/>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25204815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Websites</a:t>
            </a:r>
            <a:endParaRPr lang="en-US" dirty="0">
              <a:solidFill>
                <a:schemeClr val="accent2"/>
              </a:solidFill>
              <a:latin typeface="+mj-lt"/>
            </a:endParaRPr>
          </a:p>
        </p:txBody>
      </p:sp>
      <p:sp>
        <p:nvSpPr>
          <p:cNvPr id="3" name="Text Placeholder 2"/>
          <p:cNvSpPr>
            <a:spLocks noGrp="1"/>
          </p:cNvSpPr>
          <p:nvPr>
            <p:ph type="body" sz="quarter" idx="15"/>
          </p:nvPr>
        </p:nvSpPr>
        <p:spPr/>
        <p:txBody>
          <a:bodyPr/>
          <a:lstStyle/>
          <a:p>
            <a:r>
              <a:rPr lang="en-US" sz="1765" dirty="0"/>
              <a:t>A highly scalable Web hosting service for private and public clouds optimized for cloud hosting economics and integrated with the worlds best applications, frameworks and tools.</a:t>
            </a:r>
          </a:p>
          <a:p>
            <a:endParaRPr lang="en-US" sz="1765" dirty="0"/>
          </a:p>
        </p:txBody>
      </p:sp>
      <p:sp>
        <p:nvSpPr>
          <p:cNvPr id="38" name="Rectangle 37"/>
          <p:cNvSpPr/>
          <p:nvPr/>
        </p:nvSpPr>
        <p:spPr bwMode="auto">
          <a:xfrm>
            <a:off x="587675" y="2638982"/>
            <a:ext cx="2111964" cy="14946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t" anchorCtr="0" compatLnSpc="1">
            <a:prstTxWarp prst="textNoShape">
              <a:avLst/>
            </a:prstTxWarp>
          </a:bodyPr>
          <a:lstStyle/>
          <a:p>
            <a:pPr indent="-107116">
              <a:spcAft>
                <a:spcPts val="600"/>
              </a:spcAft>
              <a:defRPr/>
            </a:pPr>
            <a:r>
              <a:rPr lang="en-US" sz="1125" dirty="0">
                <a:solidFill>
                  <a:schemeClr val="tx2">
                    <a:alpha val="99000"/>
                  </a:schemeClr>
                </a:solidFill>
              </a:rPr>
              <a:t>Easy to get started with 10 free web sites</a:t>
            </a:r>
          </a:p>
          <a:p>
            <a:pPr indent="-107116">
              <a:spcAft>
                <a:spcPts val="600"/>
              </a:spcAft>
              <a:defRPr/>
            </a:pPr>
            <a:r>
              <a:rPr lang="en-US" sz="1125" dirty="0">
                <a:solidFill>
                  <a:schemeClr val="tx2">
                    <a:alpha val="99000"/>
                  </a:schemeClr>
                </a:solidFill>
              </a:rPr>
              <a:t>Easy to create sites in a few clicks </a:t>
            </a:r>
            <a:endParaRPr lang="en-US" sz="1125" dirty="0">
              <a:solidFill>
                <a:schemeClr val="accent2">
                  <a:alpha val="99000"/>
                </a:schemeClr>
              </a:solidFill>
            </a:endParaRPr>
          </a:p>
          <a:p>
            <a:pPr indent="-107116">
              <a:spcAft>
                <a:spcPts val="600"/>
              </a:spcAft>
              <a:defRPr/>
            </a:pPr>
            <a:r>
              <a:rPr lang="en-US" sz="1125" dirty="0">
                <a:solidFill>
                  <a:schemeClr val="tx2">
                    <a:alpha val="99000"/>
                  </a:schemeClr>
                </a:solidFill>
              </a:rPr>
              <a:t>Easy to deploy existing sites </a:t>
            </a:r>
          </a:p>
          <a:p>
            <a:pPr indent="-107116">
              <a:spcAft>
                <a:spcPts val="600"/>
              </a:spcAft>
              <a:defRPr/>
            </a:pPr>
            <a:r>
              <a:rPr lang="en-US" sz="1125" dirty="0">
                <a:solidFill>
                  <a:schemeClr val="tx2">
                    <a:alpha val="99000"/>
                  </a:schemeClr>
                </a:solidFill>
              </a:rPr>
              <a:t>Easy to manage and scale your sites</a:t>
            </a:r>
          </a:p>
          <a:p>
            <a:pPr indent="-107116">
              <a:spcAft>
                <a:spcPts val="600"/>
              </a:spcAft>
              <a:defRPr/>
            </a:pPr>
            <a:endParaRPr lang="en-US" sz="1125" dirty="0">
              <a:solidFill>
                <a:schemeClr val="tx2">
                  <a:alpha val="99000"/>
                </a:schemeClr>
              </a:solidFill>
            </a:endParaRPr>
          </a:p>
        </p:txBody>
      </p:sp>
      <p:sp>
        <p:nvSpPr>
          <p:cNvPr id="39" name="Rectangle 38"/>
          <p:cNvSpPr/>
          <p:nvPr/>
        </p:nvSpPr>
        <p:spPr bwMode="auto">
          <a:xfrm>
            <a:off x="3448992" y="2638982"/>
            <a:ext cx="2367374" cy="2371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t" anchorCtr="0" compatLnSpc="1">
            <a:prstTxWarp prst="textNoShape">
              <a:avLst/>
            </a:prstTxWarp>
          </a:bodyPr>
          <a:lstStyle/>
          <a:p>
            <a:pPr>
              <a:spcBef>
                <a:spcPct val="20000"/>
              </a:spcBef>
              <a:spcAft>
                <a:spcPts val="600"/>
              </a:spcAft>
              <a:buSzPct val="80000"/>
            </a:pPr>
            <a:r>
              <a:rPr lang="en-US" sz="1125" dirty="0">
                <a:solidFill>
                  <a:schemeClr val="tx2">
                    <a:alpha val="99000"/>
                  </a:schemeClr>
                </a:solidFill>
              </a:rPr>
              <a:t>Supports multiple frameworks </a:t>
            </a:r>
            <a:r>
              <a:rPr lang="en-US" sz="1050" dirty="0">
                <a:solidFill>
                  <a:schemeClr val="tx2">
                    <a:alpha val="99000"/>
                  </a:schemeClr>
                </a:solidFill>
              </a:rPr>
              <a:t>(ASP.NET, Classic ASP, PHP, Node.js)</a:t>
            </a:r>
          </a:p>
          <a:p>
            <a:pPr>
              <a:spcBef>
                <a:spcPct val="20000"/>
              </a:spcBef>
              <a:spcAft>
                <a:spcPts val="600"/>
              </a:spcAft>
              <a:buSzPct val="80000"/>
            </a:pPr>
            <a:r>
              <a:rPr lang="en-US" sz="1125" dirty="0">
                <a:solidFill>
                  <a:schemeClr val="tx2">
                    <a:alpha val="99000"/>
                  </a:schemeClr>
                </a:solidFill>
              </a:rPr>
              <a:t>Pick from popular Open Source apps </a:t>
            </a:r>
          </a:p>
          <a:p>
            <a:pPr>
              <a:spcBef>
                <a:spcPct val="20000"/>
              </a:spcBef>
              <a:spcAft>
                <a:spcPts val="600"/>
              </a:spcAft>
              <a:buSzPct val="80000"/>
            </a:pPr>
            <a:r>
              <a:rPr lang="en-US" sz="1125" dirty="0">
                <a:solidFill>
                  <a:schemeClr val="tx2">
                    <a:alpha val="99000"/>
                  </a:schemeClr>
                </a:solidFill>
              </a:rPr>
              <a:t>Pick your DB </a:t>
            </a:r>
            <a:r>
              <a:rPr lang="en-US" sz="1050" dirty="0">
                <a:solidFill>
                  <a:schemeClr val="tx2">
                    <a:alpha val="99000"/>
                  </a:schemeClr>
                </a:solidFill>
              </a:rPr>
              <a:t>(SQL Azure, MySQL)</a:t>
            </a:r>
          </a:p>
          <a:p>
            <a:pPr>
              <a:spcBef>
                <a:spcPct val="20000"/>
              </a:spcBef>
              <a:spcAft>
                <a:spcPts val="600"/>
              </a:spcAft>
              <a:buSzPct val="80000"/>
            </a:pPr>
            <a:r>
              <a:rPr lang="en-US" sz="1125" dirty="0">
                <a:solidFill>
                  <a:schemeClr val="tx2">
                    <a:alpha val="99000"/>
                  </a:schemeClr>
                </a:solidFill>
              </a:rPr>
              <a:t>Choose your tools </a:t>
            </a:r>
            <a:br>
              <a:rPr lang="en-US" sz="1125" dirty="0">
                <a:solidFill>
                  <a:schemeClr val="tx2">
                    <a:alpha val="99000"/>
                  </a:schemeClr>
                </a:solidFill>
              </a:rPr>
            </a:br>
            <a:r>
              <a:rPr lang="en-US" sz="1050" dirty="0">
                <a:solidFill>
                  <a:schemeClr val="tx2">
                    <a:alpha val="99000"/>
                  </a:schemeClr>
                </a:solidFill>
              </a:rPr>
              <a:t>(Visual Studio, Git, FTP, WebMatrix)</a:t>
            </a:r>
          </a:p>
          <a:p>
            <a:pPr>
              <a:spcBef>
                <a:spcPct val="20000"/>
              </a:spcBef>
              <a:spcAft>
                <a:spcPts val="600"/>
              </a:spcAft>
              <a:buSzPct val="80000"/>
            </a:pPr>
            <a:r>
              <a:rPr lang="en-US" sz="1125" dirty="0">
                <a:solidFill>
                  <a:schemeClr val="tx2">
                    <a:alpha val="99000"/>
                  </a:schemeClr>
                </a:solidFill>
              </a:rPr>
              <a:t>Build on any platform </a:t>
            </a:r>
            <a:br>
              <a:rPr lang="en-US" sz="1125" dirty="0">
                <a:solidFill>
                  <a:schemeClr val="tx2">
                    <a:alpha val="99000"/>
                  </a:schemeClr>
                </a:solidFill>
              </a:rPr>
            </a:br>
            <a:r>
              <a:rPr lang="en-US" sz="1050" dirty="0">
                <a:solidFill>
                  <a:schemeClr val="tx2">
                    <a:alpha val="99000"/>
                  </a:schemeClr>
                </a:solidFill>
              </a:rPr>
              <a:t>(Windows, Mac, Linux)</a:t>
            </a:r>
          </a:p>
        </p:txBody>
      </p:sp>
      <p:sp>
        <p:nvSpPr>
          <p:cNvPr id="40" name="Rectangle 39"/>
          <p:cNvSpPr/>
          <p:nvPr/>
        </p:nvSpPr>
        <p:spPr bwMode="auto">
          <a:xfrm>
            <a:off x="6168436" y="2638982"/>
            <a:ext cx="2057108" cy="2371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t" anchorCtr="0" compatLnSpc="1">
            <a:prstTxWarp prst="textNoShape">
              <a:avLst/>
            </a:prstTxWarp>
          </a:bodyPr>
          <a:lstStyle/>
          <a:p>
            <a:pPr>
              <a:spcBef>
                <a:spcPct val="20000"/>
              </a:spcBef>
              <a:spcAft>
                <a:spcPts val="600"/>
              </a:spcAft>
              <a:buSzPct val="80000"/>
              <a:defRPr/>
            </a:pPr>
            <a:r>
              <a:rPr lang="en-US" sz="1125" dirty="0">
                <a:solidFill>
                  <a:schemeClr val="tx2">
                    <a:alpha val="99000"/>
                  </a:schemeClr>
                </a:solidFill>
              </a:rPr>
              <a:t>Nearly instant deployment</a:t>
            </a:r>
          </a:p>
          <a:p>
            <a:pPr>
              <a:spcBef>
                <a:spcPct val="20000"/>
              </a:spcBef>
              <a:spcAft>
                <a:spcPts val="600"/>
              </a:spcAft>
              <a:buSzPct val="80000"/>
              <a:defRPr/>
            </a:pPr>
            <a:r>
              <a:rPr lang="en-US" sz="1125" dirty="0">
                <a:solidFill>
                  <a:schemeClr val="tx2">
                    <a:alpha val="99000"/>
                  </a:schemeClr>
                </a:solidFill>
              </a:rPr>
              <a:t>Scale out for greater availability or scale up for improved performance using our global cloud platform</a:t>
            </a:r>
          </a:p>
          <a:p>
            <a:pPr>
              <a:spcBef>
                <a:spcPct val="20000"/>
              </a:spcBef>
              <a:spcAft>
                <a:spcPts val="600"/>
              </a:spcAft>
              <a:buSzPct val="80000"/>
              <a:defRPr/>
            </a:pPr>
            <a:r>
              <a:rPr lang="en-US" sz="1125" dirty="0">
                <a:solidFill>
                  <a:schemeClr val="tx2">
                    <a:alpha val="99000"/>
                  </a:schemeClr>
                </a:solidFill>
              </a:rPr>
              <a:t>Integrated source control with Team Foundation Server (TFS) and Git</a:t>
            </a:r>
          </a:p>
        </p:txBody>
      </p:sp>
      <p:grpSp>
        <p:nvGrpSpPr>
          <p:cNvPr id="31" name="Group 30"/>
          <p:cNvGrpSpPr/>
          <p:nvPr/>
        </p:nvGrpSpPr>
        <p:grpSpPr>
          <a:xfrm>
            <a:off x="722137" y="1363679"/>
            <a:ext cx="1631236" cy="1186007"/>
            <a:chOff x="799278" y="1312638"/>
            <a:chExt cx="2797810" cy="2154616"/>
          </a:xfrm>
        </p:grpSpPr>
        <p:sp>
          <p:nvSpPr>
            <p:cNvPr id="32" name="Rectangle 31"/>
            <p:cNvSpPr/>
            <p:nvPr/>
          </p:nvSpPr>
          <p:spPr bwMode="auto">
            <a:xfrm>
              <a:off x="799278" y="1312638"/>
              <a:ext cx="2797810" cy="21546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33" name="Rectangle 32"/>
            <p:cNvSpPr/>
            <p:nvPr/>
          </p:nvSpPr>
          <p:spPr>
            <a:xfrm>
              <a:off x="799278" y="2800482"/>
              <a:ext cx="2797810" cy="666772"/>
            </a:xfrm>
            <a:prstGeom prst="rect">
              <a:avLst/>
            </a:prstGeom>
          </p:spPr>
          <p:txBody>
            <a:bodyPr wrap="square" lIns="68570" anchor="b" anchorCtr="0">
              <a:spAutoFit/>
            </a:bodyPr>
            <a:lstStyle/>
            <a:p>
              <a:pPr defTabSz="685709">
                <a:lnSpc>
                  <a:spcPct val="85000"/>
                </a:lnSpc>
                <a:defRPr/>
              </a:pPr>
              <a:r>
                <a:rPr lang="en-US" sz="2100" kern="0" spc="-52" dirty="0">
                  <a:solidFill>
                    <a:schemeClr val="bg1">
                      <a:alpha val="99000"/>
                    </a:schemeClr>
                  </a:solidFill>
                  <a:latin typeface="Segoe UI Light" pitchFamily="34" charset="0"/>
                  <a:ea typeface="Segoe UI" pitchFamily="34" charset="0"/>
                  <a:cs typeface="Segoe UI" pitchFamily="34" charset="0"/>
                </a:rPr>
                <a:t>Flexible</a:t>
              </a:r>
            </a:p>
          </p:txBody>
        </p:sp>
        <p:grpSp>
          <p:nvGrpSpPr>
            <p:cNvPr id="34" name="Group 33"/>
            <p:cNvGrpSpPr/>
            <p:nvPr/>
          </p:nvGrpSpPr>
          <p:grpSpPr>
            <a:xfrm>
              <a:off x="1300087" y="1461919"/>
              <a:ext cx="1917459" cy="1301359"/>
              <a:chOff x="-6467475" y="914401"/>
              <a:chExt cx="5765799" cy="3913187"/>
            </a:xfrm>
          </p:grpSpPr>
          <p:sp>
            <p:nvSpPr>
              <p:cNvPr id="35" name="Freeform 5"/>
              <p:cNvSpPr>
                <a:spLocks/>
              </p:cNvSpPr>
              <p:nvPr/>
            </p:nvSpPr>
            <p:spPr bwMode="auto">
              <a:xfrm>
                <a:off x="-6407150" y="2039938"/>
                <a:ext cx="2217737" cy="1112838"/>
              </a:xfrm>
              <a:custGeom>
                <a:avLst/>
                <a:gdLst>
                  <a:gd name="T0" fmla="*/ 0 w 590"/>
                  <a:gd name="T1" fmla="*/ 227 h 296"/>
                  <a:gd name="T2" fmla="*/ 392 w 590"/>
                  <a:gd name="T3" fmla="*/ 16 h 296"/>
                  <a:gd name="T4" fmla="*/ 520 w 590"/>
                  <a:gd name="T5" fmla="*/ 51 h 296"/>
                  <a:gd name="T6" fmla="*/ 590 w 590"/>
                  <a:gd name="T7" fmla="*/ 72 h 296"/>
                  <a:gd name="T8" fmla="*/ 64 w 590"/>
                  <a:gd name="T9" fmla="*/ 296 h 296"/>
                  <a:gd name="T10" fmla="*/ 0 w 590"/>
                  <a:gd name="T11" fmla="*/ 227 h 296"/>
                </a:gdLst>
                <a:ahLst/>
                <a:cxnLst>
                  <a:cxn ang="0">
                    <a:pos x="T0" y="T1"/>
                  </a:cxn>
                  <a:cxn ang="0">
                    <a:pos x="T2" y="T3"/>
                  </a:cxn>
                  <a:cxn ang="0">
                    <a:pos x="T4" y="T5"/>
                  </a:cxn>
                  <a:cxn ang="0">
                    <a:pos x="T6" y="T7"/>
                  </a:cxn>
                  <a:cxn ang="0">
                    <a:pos x="T8" y="T9"/>
                  </a:cxn>
                  <a:cxn ang="0">
                    <a:pos x="T10" y="T11"/>
                  </a:cxn>
                </a:cxnLst>
                <a:rect l="0" t="0" r="r" b="b"/>
                <a:pathLst>
                  <a:path w="590" h="296">
                    <a:moveTo>
                      <a:pt x="0" y="227"/>
                    </a:moveTo>
                    <a:cubicBezTo>
                      <a:pt x="0" y="227"/>
                      <a:pt x="166" y="21"/>
                      <a:pt x="392" y="16"/>
                    </a:cubicBezTo>
                    <a:cubicBezTo>
                      <a:pt x="392" y="16"/>
                      <a:pt x="462" y="0"/>
                      <a:pt x="520" y="51"/>
                    </a:cubicBezTo>
                    <a:cubicBezTo>
                      <a:pt x="520" y="51"/>
                      <a:pt x="571" y="59"/>
                      <a:pt x="590" y="72"/>
                    </a:cubicBezTo>
                    <a:cubicBezTo>
                      <a:pt x="590" y="72"/>
                      <a:pt x="310" y="29"/>
                      <a:pt x="64" y="296"/>
                    </a:cubicBezTo>
                    <a:cubicBezTo>
                      <a:pt x="64" y="296"/>
                      <a:pt x="16" y="275"/>
                      <a:pt x="0"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36" name="Freeform 6"/>
              <p:cNvSpPr>
                <a:spLocks/>
              </p:cNvSpPr>
              <p:nvPr/>
            </p:nvSpPr>
            <p:spPr bwMode="auto">
              <a:xfrm>
                <a:off x="-6467475" y="1279526"/>
                <a:ext cx="1849437" cy="1603375"/>
              </a:xfrm>
              <a:custGeom>
                <a:avLst/>
                <a:gdLst>
                  <a:gd name="T0" fmla="*/ 0 w 492"/>
                  <a:gd name="T1" fmla="*/ 426 h 426"/>
                  <a:gd name="T2" fmla="*/ 341 w 492"/>
                  <a:gd name="T3" fmla="*/ 70 h 426"/>
                  <a:gd name="T4" fmla="*/ 468 w 492"/>
                  <a:gd name="T5" fmla="*/ 13 h 426"/>
                  <a:gd name="T6" fmla="*/ 492 w 492"/>
                  <a:gd name="T7" fmla="*/ 47 h 426"/>
                  <a:gd name="T8" fmla="*/ 309 w 492"/>
                  <a:gd name="T9" fmla="*/ 222 h 426"/>
                  <a:gd name="T10" fmla="*/ 0 w 492"/>
                  <a:gd name="T11" fmla="*/ 426 h 426"/>
                </a:gdLst>
                <a:ahLst/>
                <a:cxnLst>
                  <a:cxn ang="0">
                    <a:pos x="T0" y="T1"/>
                  </a:cxn>
                  <a:cxn ang="0">
                    <a:pos x="T2" y="T3"/>
                  </a:cxn>
                  <a:cxn ang="0">
                    <a:pos x="T4" y="T5"/>
                  </a:cxn>
                  <a:cxn ang="0">
                    <a:pos x="T6" y="T7"/>
                  </a:cxn>
                  <a:cxn ang="0">
                    <a:pos x="T8" y="T9"/>
                  </a:cxn>
                  <a:cxn ang="0">
                    <a:pos x="T10" y="T11"/>
                  </a:cxn>
                </a:cxnLst>
                <a:rect l="0" t="0" r="r" b="b"/>
                <a:pathLst>
                  <a:path w="492" h="426">
                    <a:moveTo>
                      <a:pt x="0" y="426"/>
                    </a:moveTo>
                    <a:cubicBezTo>
                      <a:pt x="341" y="70"/>
                      <a:pt x="341" y="70"/>
                      <a:pt x="341" y="70"/>
                    </a:cubicBezTo>
                    <a:cubicBezTo>
                      <a:pt x="341" y="70"/>
                      <a:pt x="408" y="0"/>
                      <a:pt x="468" y="13"/>
                    </a:cubicBezTo>
                    <a:cubicBezTo>
                      <a:pt x="468" y="13"/>
                      <a:pt x="487" y="24"/>
                      <a:pt x="492" y="47"/>
                    </a:cubicBezTo>
                    <a:cubicBezTo>
                      <a:pt x="309" y="222"/>
                      <a:pt x="309" y="222"/>
                      <a:pt x="309" y="222"/>
                    </a:cubicBezTo>
                    <a:cubicBezTo>
                      <a:pt x="309" y="222"/>
                      <a:pt x="186" y="242"/>
                      <a:pt x="0" y="4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37" name="Freeform 7"/>
              <p:cNvSpPr>
                <a:spLocks/>
              </p:cNvSpPr>
              <p:nvPr/>
            </p:nvSpPr>
            <p:spPr bwMode="auto">
              <a:xfrm>
                <a:off x="-5113338" y="914401"/>
                <a:ext cx="852487" cy="1023938"/>
              </a:xfrm>
              <a:custGeom>
                <a:avLst/>
                <a:gdLst>
                  <a:gd name="T0" fmla="*/ 0 w 227"/>
                  <a:gd name="T1" fmla="*/ 139 h 272"/>
                  <a:gd name="T2" fmla="*/ 163 w 227"/>
                  <a:gd name="T3" fmla="*/ 120 h 272"/>
                  <a:gd name="T4" fmla="*/ 227 w 227"/>
                  <a:gd name="T5" fmla="*/ 272 h 272"/>
                  <a:gd name="T6" fmla="*/ 147 w 227"/>
                  <a:gd name="T7" fmla="*/ 136 h 272"/>
                  <a:gd name="T8" fmla="*/ 0 w 227"/>
                  <a:gd name="T9" fmla="*/ 139 h 272"/>
                </a:gdLst>
                <a:ahLst/>
                <a:cxnLst>
                  <a:cxn ang="0">
                    <a:pos x="T0" y="T1"/>
                  </a:cxn>
                  <a:cxn ang="0">
                    <a:pos x="T2" y="T3"/>
                  </a:cxn>
                  <a:cxn ang="0">
                    <a:pos x="T4" y="T5"/>
                  </a:cxn>
                  <a:cxn ang="0">
                    <a:pos x="T6" y="T7"/>
                  </a:cxn>
                  <a:cxn ang="0">
                    <a:pos x="T8" y="T9"/>
                  </a:cxn>
                </a:cxnLst>
                <a:rect l="0" t="0" r="r" b="b"/>
                <a:pathLst>
                  <a:path w="227" h="272">
                    <a:moveTo>
                      <a:pt x="0" y="139"/>
                    </a:moveTo>
                    <a:cubicBezTo>
                      <a:pt x="0" y="139"/>
                      <a:pt x="110" y="0"/>
                      <a:pt x="163" y="120"/>
                    </a:cubicBezTo>
                    <a:cubicBezTo>
                      <a:pt x="227" y="272"/>
                      <a:pt x="227" y="272"/>
                      <a:pt x="227" y="272"/>
                    </a:cubicBezTo>
                    <a:cubicBezTo>
                      <a:pt x="147" y="136"/>
                      <a:pt x="147" y="136"/>
                      <a:pt x="147" y="136"/>
                    </a:cubicBezTo>
                    <a:cubicBezTo>
                      <a:pt x="147" y="136"/>
                      <a:pt x="120" y="40"/>
                      <a:pt x="0" y="1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8" name="Freeform 8"/>
              <p:cNvSpPr>
                <a:spLocks/>
              </p:cNvSpPr>
              <p:nvPr/>
            </p:nvSpPr>
            <p:spPr bwMode="auto">
              <a:xfrm>
                <a:off x="-4692650" y="1208088"/>
                <a:ext cx="1563687" cy="2084388"/>
              </a:xfrm>
              <a:custGeom>
                <a:avLst/>
                <a:gdLst>
                  <a:gd name="T0" fmla="*/ 0 w 416"/>
                  <a:gd name="T1" fmla="*/ 0 h 554"/>
                  <a:gd name="T2" fmla="*/ 110 w 416"/>
                  <a:gd name="T3" fmla="*/ 21 h 554"/>
                  <a:gd name="T4" fmla="*/ 168 w 416"/>
                  <a:gd name="T5" fmla="*/ 74 h 554"/>
                  <a:gd name="T6" fmla="*/ 310 w 416"/>
                  <a:gd name="T7" fmla="*/ 394 h 554"/>
                  <a:gd name="T8" fmla="*/ 416 w 416"/>
                  <a:gd name="T9" fmla="*/ 554 h 554"/>
                  <a:gd name="T10" fmla="*/ 295 w 416"/>
                  <a:gd name="T11" fmla="*/ 477 h 554"/>
                  <a:gd name="T12" fmla="*/ 144 w 416"/>
                  <a:gd name="T13" fmla="*/ 280 h 554"/>
                  <a:gd name="T14" fmla="*/ 0 w 416"/>
                  <a:gd name="T15" fmla="*/ 0 h 5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554">
                    <a:moveTo>
                      <a:pt x="0" y="0"/>
                    </a:moveTo>
                    <a:cubicBezTo>
                      <a:pt x="110" y="21"/>
                      <a:pt x="110" y="21"/>
                      <a:pt x="110" y="21"/>
                    </a:cubicBezTo>
                    <a:cubicBezTo>
                      <a:pt x="110" y="21"/>
                      <a:pt x="147" y="34"/>
                      <a:pt x="168" y="74"/>
                    </a:cubicBezTo>
                    <a:cubicBezTo>
                      <a:pt x="168" y="74"/>
                      <a:pt x="288" y="338"/>
                      <a:pt x="310" y="394"/>
                    </a:cubicBezTo>
                    <a:cubicBezTo>
                      <a:pt x="310" y="394"/>
                      <a:pt x="360" y="496"/>
                      <a:pt x="416" y="554"/>
                    </a:cubicBezTo>
                    <a:cubicBezTo>
                      <a:pt x="416" y="554"/>
                      <a:pt x="346" y="544"/>
                      <a:pt x="295" y="477"/>
                    </a:cubicBezTo>
                    <a:cubicBezTo>
                      <a:pt x="295" y="477"/>
                      <a:pt x="218" y="304"/>
                      <a:pt x="144" y="280"/>
                    </a:cubicBezTo>
                    <a:cubicBezTo>
                      <a:pt x="144" y="280"/>
                      <a:pt x="94" y="104"/>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9" name="Freeform 9"/>
              <p:cNvSpPr>
                <a:spLocks/>
              </p:cNvSpPr>
              <p:nvPr/>
            </p:nvSpPr>
            <p:spPr bwMode="auto">
              <a:xfrm>
                <a:off x="-3914775" y="1858963"/>
                <a:ext cx="2254250" cy="1847850"/>
              </a:xfrm>
              <a:custGeom>
                <a:avLst/>
                <a:gdLst>
                  <a:gd name="T0" fmla="*/ 0 w 600"/>
                  <a:gd name="T1" fmla="*/ 0 h 491"/>
                  <a:gd name="T2" fmla="*/ 253 w 600"/>
                  <a:gd name="T3" fmla="*/ 376 h 491"/>
                  <a:gd name="T4" fmla="*/ 600 w 600"/>
                  <a:gd name="T5" fmla="*/ 411 h 491"/>
                  <a:gd name="T6" fmla="*/ 243 w 600"/>
                  <a:gd name="T7" fmla="*/ 403 h 491"/>
                  <a:gd name="T8" fmla="*/ 0 w 600"/>
                  <a:gd name="T9" fmla="*/ 0 h 491"/>
                </a:gdLst>
                <a:ahLst/>
                <a:cxnLst>
                  <a:cxn ang="0">
                    <a:pos x="T0" y="T1"/>
                  </a:cxn>
                  <a:cxn ang="0">
                    <a:pos x="T2" y="T3"/>
                  </a:cxn>
                  <a:cxn ang="0">
                    <a:pos x="T4" y="T5"/>
                  </a:cxn>
                  <a:cxn ang="0">
                    <a:pos x="T6" y="T7"/>
                  </a:cxn>
                  <a:cxn ang="0">
                    <a:pos x="T8" y="T9"/>
                  </a:cxn>
                </a:cxnLst>
                <a:rect l="0" t="0" r="r" b="b"/>
                <a:pathLst>
                  <a:path w="600" h="491">
                    <a:moveTo>
                      <a:pt x="0" y="0"/>
                    </a:moveTo>
                    <a:cubicBezTo>
                      <a:pt x="0" y="0"/>
                      <a:pt x="144" y="309"/>
                      <a:pt x="253" y="376"/>
                    </a:cubicBezTo>
                    <a:cubicBezTo>
                      <a:pt x="253" y="376"/>
                      <a:pt x="389" y="469"/>
                      <a:pt x="600" y="411"/>
                    </a:cubicBezTo>
                    <a:cubicBezTo>
                      <a:pt x="600" y="411"/>
                      <a:pt x="477" y="491"/>
                      <a:pt x="243" y="403"/>
                    </a:cubicBezTo>
                    <a:cubicBezTo>
                      <a:pt x="243" y="403"/>
                      <a:pt x="136" y="376"/>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60" name="Freeform 10"/>
              <p:cNvSpPr>
                <a:spLocks/>
              </p:cNvSpPr>
              <p:nvPr/>
            </p:nvSpPr>
            <p:spPr bwMode="auto">
              <a:xfrm>
                <a:off x="-3027363" y="2701926"/>
                <a:ext cx="1954212" cy="873125"/>
              </a:xfrm>
              <a:custGeom>
                <a:avLst/>
                <a:gdLst>
                  <a:gd name="T0" fmla="*/ 0 w 520"/>
                  <a:gd name="T1" fmla="*/ 123 h 232"/>
                  <a:gd name="T2" fmla="*/ 397 w 520"/>
                  <a:gd name="T3" fmla="*/ 69 h 232"/>
                  <a:gd name="T4" fmla="*/ 520 w 520"/>
                  <a:gd name="T5" fmla="*/ 53 h 232"/>
                  <a:gd name="T6" fmla="*/ 483 w 520"/>
                  <a:gd name="T7" fmla="*/ 141 h 232"/>
                  <a:gd name="T8" fmla="*/ 115 w 520"/>
                  <a:gd name="T9" fmla="*/ 179 h 232"/>
                  <a:gd name="T10" fmla="*/ 0 w 520"/>
                  <a:gd name="T11" fmla="*/ 123 h 232"/>
                </a:gdLst>
                <a:ahLst/>
                <a:cxnLst>
                  <a:cxn ang="0">
                    <a:pos x="T0" y="T1"/>
                  </a:cxn>
                  <a:cxn ang="0">
                    <a:pos x="T2" y="T3"/>
                  </a:cxn>
                  <a:cxn ang="0">
                    <a:pos x="T4" y="T5"/>
                  </a:cxn>
                  <a:cxn ang="0">
                    <a:pos x="T6" y="T7"/>
                  </a:cxn>
                  <a:cxn ang="0">
                    <a:pos x="T8" y="T9"/>
                  </a:cxn>
                  <a:cxn ang="0">
                    <a:pos x="T10" y="T11"/>
                  </a:cxn>
                </a:cxnLst>
                <a:rect l="0" t="0" r="r" b="b"/>
                <a:pathLst>
                  <a:path w="520" h="232">
                    <a:moveTo>
                      <a:pt x="0" y="123"/>
                    </a:moveTo>
                    <a:cubicBezTo>
                      <a:pt x="0" y="123"/>
                      <a:pt x="219" y="157"/>
                      <a:pt x="397" y="69"/>
                    </a:cubicBezTo>
                    <a:cubicBezTo>
                      <a:pt x="397" y="69"/>
                      <a:pt x="499" y="0"/>
                      <a:pt x="520" y="53"/>
                    </a:cubicBezTo>
                    <a:cubicBezTo>
                      <a:pt x="483" y="141"/>
                      <a:pt x="483" y="141"/>
                      <a:pt x="483" y="141"/>
                    </a:cubicBezTo>
                    <a:cubicBezTo>
                      <a:pt x="483" y="141"/>
                      <a:pt x="323" y="232"/>
                      <a:pt x="115" y="179"/>
                    </a:cubicBezTo>
                    <a:cubicBezTo>
                      <a:pt x="115" y="179"/>
                      <a:pt x="53" y="157"/>
                      <a:pt x="0" y="1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61" name="Freeform 11"/>
              <p:cNvSpPr>
                <a:spLocks/>
              </p:cNvSpPr>
              <p:nvPr/>
            </p:nvSpPr>
            <p:spPr bwMode="auto">
              <a:xfrm>
                <a:off x="-6184900" y="2122488"/>
                <a:ext cx="2566987" cy="1030288"/>
              </a:xfrm>
              <a:custGeom>
                <a:avLst/>
                <a:gdLst>
                  <a:gd name="T0" fmla="*/ 0 w 683"/>
                  <a:gd name="T1" fmla="*/ 274 h 274"/>
                  <a:gd name="T2" fmla="*/ 496 w 683"/>
                  <a:gd name="T3" fmla="*/ 71 h 274"/>
                  <a:gd name="T4" fmla="*/ 683 w 683"/>
                  <a:gd name="T5" fmla="*/ 245 h 274"/>
                  <a:gd name="T6" fmla="*/ 566 w 683"/>
                  <a:gd name="T7" fmla="*/ 67 h 274"/>
                  <a:gd name="T8" fmla="*/ 217 w 683"/>
                  <a:gd name="T9" fmla="*/ 105 h 274"/>
                  <a:gd name="T10" fmla="*/ 105 w 683"/>
                  <a:gd name="T11" fmla="*/ 172 h 274"/>
                  <a:gd name="T12" fmla="*/ 0 w 683"/>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683" h="274">
                    <a:moveTo>
                      <a:pt x="0" y="274"/>
                    </a:moveTo>
                    <a:cubicBezTo>
                      <a:pt x="0" y="274"/>
                      <a:pt x="323" y="13"/>
                      <a:pt x="496" y="71"/>
                    </a:cubicBezTo>
                    <a:cubicBezTo>
                      <a:pt x="496" y="71"/>
                      <a:pt x="595" y="77"/>
                      <a:pt x="683" y="245"/>
                    </a:cubicBezTo>
                    <a:cubicBezTo>
                      <a:pt x="651" y="184"/>
                      <a:pt x="625" y="108"/>
                      <a:pt x="566" y="67"/>
                    </a:cubicBezTo>
                    <a:cubicBezTo>
                      <a:pt x="469" y="0"/>
                      <a:pt x="312" y="62"/>
                      <a:pt x="217" y="105"/>
                    </a:cubicBezTo>
                    <a:cubicBezTo>
                      <a:pt x="177" y="123"/>
                      <a:pt x="139" y="145"/>
                      <a:pt x="105" y="172"/>
                    </a:cubicBezTo>
                    <a:cubicBezTo>
                      <a:pt x="65" y="201"/>
                      <a:pt x="37" y="244"/>
                      <a:pt x="0" y="2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62" name="Freeform 12"/>
              <p:cNvSpPr>
                <a:spLocks/>
              </p:cNvSpPr>
              <p:nvPr/>
            </p:nvSpPr>
            <p:spPr bwMode="auto">
              <a:xfrm>
                <a:off x="-4483100" y="2389188"/>
                <a:ext cx="1906587" cy="2078038"/>
              </a:xfrm>
              <a:custGeom>
                <a:avLst/>
                <a:gdLst>
                  <a:gd name="T0" fmla="*/ 0 w 507"/>
                  <a:gd name="T1" fmla="*/ 0 h 552"/>
                  <a:gd name="T2" fmla="*/ 81 w 507"/>
                  <a:gd name="T3" fmla="*/ 120 h 552"/>
                  <a:gd name="T4" fmla="*/ 354 w 507"/>
                  <a:gd name="T5" fmla="*/ 507 h 552"/>
                  <a:gd name="T6" fmla="*/ 478 w 507"/>
                  <a:gd name="T7" fmla="*/ 552 h 552"/>
                  <a:gd name="T8" fmla="*/ 507 w 507"/>
                  <a:gd name="T9" fmla="*/ 550 h 552"/>
                  <a:gd name="T10" fmla="*/ 434 w 507"/>
                  <a:gd name="T11" fmla="*/ 488 h 552"/>
                  <a:gd name="T12" fmla="*/ 262 w 507"/>
                  <a:gd name="T13" fmla="*/ 234 h 552"/>
                  <a:gd name="T14" fmla="*/ 126 w 507"/>
                  <a:gd name="T15" fmla="*/ 52 h 552"/>
                  <a:gd name="T16" fmla="*/ 66 w 507"/>
                  <a:gd name="T17" fmla="*/ 16 h 552"/>
                  <a:gd name="T18" fmla="*/ 0 w 507"/>
                  <a:gd name="T19" fmla="*/ 0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 h="552">
                    <a:moveTo>
                      <a:pt x="0" y="0"/>
                    </a:moveTo>
                    <a:cubicBezTo>
                      <a:pt x="29" y="39"/>
                      <a:pt x="55" y="79"/>
                      <a:pt x="81" y="120"/>
                    </a:cubicBezTo>
                    <a:cubicBezTo>
                      <a:pt x="165" y="255"/>
                      <a:pt x="178" y="406"/>
                      <a:pt x="354" y="507"/>
                    </a:cubicBezTo>
                    <a:cubicBezTo>
                      <a:pt x="395" y="531"/>
                      <a:pt x="430" y="550"/>
                      <a:pt x="478" y="552"/>
                    </a:cubicBezTo>
                    <a:cubicBezTo>
                      <a:pt x="478" y="552"/>
                      <a:pt x="507" y="550"/>
                      <a:pt x="507" y="550"/>
                    </a:cubicBezTo>
                    <a:cubicBezTo>
                      <a:pt x="488" y="551"/>
                      <a:pt x="445" y="499"/>
                      <a:pt x="434" y="488"/>
                    </a:cubicBezTo>
                    <a:cubicBezTo>
                      <a:pt x="361" y="411"/>
                      <a:pt x="308" y="330"/>
                      <a:pt x="262" y="234"/>
                    </a:cubicBezTo>
                    <a:cubicBezTo>
                      <a:pt x="230" y="166"/>
                      <a:pt x="185" y="100"/>
                      <a:pt x="126" y="52"/>
                    </a:cubicBezTo>
                    <a:cubicBezTo>
                      <a:pt x="107" y="37"/>
                      <a:pt x="88" y="24"/>
                      <a:pt x="66" y="16"/>
                    </a:cubicBezTo>
                    <a:cubicBezTo>
                      <a:pt x="55" y="11"/>
                      <a:pt x="5" y="7"/>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63" name="Freeform 13"/>
              <p:cNvSpPr>
                <a:spLocks/>
              </p:cNvSpPr>
              <p:nvPr/>
            </p:nvSpPr>
            <p:spPr bwMode="auto">
              <a:xfrm>
                <a:off x="-3592513" y="3857626"/>
                <a:ext cx="2008187" cy="815975"/>
              </a:xfrm>
              <a:custGeom>
                <a:avLst/>
                <a:gdLst>
                  <a:gd name="T0" fmla="*/ 1 w 534"/>
                  <a:gd name="T1" fmla="*/ 50 h 217"/>
                  <a:gd name="T2" fmla="*/ 0 w 534"/>
                  <a:gd name="T3" fmla="*/ 50 h 217"/>
                  <a:gd name="T4" fmla="*/ 251 w 534"/>
                  <a:gd name="T5" fmla="*/ 200 h 217"/>
                  <a:gd name="T6" fmla="*/ 404 w 534"/>
                  <a:gd name="T7" fmla="*/ 130 h 217"/>
                  <a:gd name="T8" fmla="*/ 534 w 534"/>
                  <a:gd name="T9" fmla="*/ 0 h 217"/>
                  <a:gd name="T10" fmla="*/ 287 w 534"/>
                  <a:gd name="T11" fmla="*/ 164 h 217"/>
                  <a:gd name="T12" fmla="*/ 1 w 534"/>
                  <a:gd name="T13" fmla="*/ 50 h 217"/>
                </a:gdLst>
                <a:ahLst/>
                <a:cxnLst>
                  <a:cxn ang="0">
                    <a:pos x="T0" y="T1"/>
                  </a:cxn>
                  <a:cxn ang="0">
                    <a:pos x="T2" y="T3"/>
                  </a:cxn>
                  <a:cxn ang="0">
                    <a:pos x="T4" y="T5"/>
                  </a:cxn>
                  <a:cxn ang="0">
                    <a:pos x="T6" y="T7"/>
                  </a:cxn>
                  <a:cxn ang="0">
                    <a:pos x="T8" y="T9"/>
                  </a:cxn>
                  <a:cxn ang="0">
                    <a:pos x="T10" y="T11"/>
                  </a:cxn>
                  <a:cxn ang="0">
                    <a:pos x="T12" y="T13"/>
                  </a:cxn>
                </a:cxnLst>
                <a:rect l="0" t="0" r="r" b="b"/>
                <a:pathLst>
                  <a:path w="534" h="217">
                    <a:moveTo>
                      <a:pt x="1" y="50"/>
                    </a:moveTo>
                    <a:cubicBezTo>
                      <a:pt x="1" y="50"/>
                      <a:pt x="0" y="50"/>
                      <a:pt x="0" y="50"/>
                    </a:cubicBezTo>
                    <a:cubicBezTo>
                      <a:pt x="61" y="136"/>
                      <a:pt x="135" y="217"/>
                      <a:pt x="251" y="200"/>
                    </a:cubicBezTo>
                    <a:cubicBezTo>
                      <a:pt x="307" y="192"/>
                      <a:pt x="359" y="162"/>
                      <a:pt x="404" y="130"/>
                    </a:cubicBezTo>
                    <a:cubicBezTo>
                      <a:pt x="455" y="93"/>
                      <a:pt x="488" y="41"/>
                      <a:pt x="534" y="0"/>
                    </a:cubicBezTo>
                    <a:cubicBezTo>
                      <a:pt x="463" y="64"/>
                      <a:pt x="384" y="142"/>
                      <a:pt x="287" y="164"/>
                    </a:cubicBezTo>
                    <a:cubicBezTo>
                      <a:pt x="178" y="190"/>
                      <a:pt x="83" y="111"/>
                      <a:pt x="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64" name="Freeform 14"/>
              <p:cNvSpPr>
                <a:spLocks/>
              </p:cNvSpPr>
              <p:nvPr/>
            </p:nvSpPr>
            <p:spPr bwMode="auto">
              <a:xfrm>
                <a:off x="-2551113" y="2932113"/>
                <a:ext cx="1849437" cy="1895475"/>
              </a:xfrm>
              <a:custGeom>
                <a:avLst/>
                <a:gdLst>
                  <a:gd name="T0" fmla="*/ 0 w 492"/>
                  <a:gd name="T1" fmla="*/ 448 h 504"/>
                  <a:gd name="T2" fmla="*/ 218 w 492"/>
                  <a:gd name="T3" fmla="*/ 419 h 504"/>
                  <a:gd name="T4" fmla="*/ 473 w 492"/>
                  <a:gd name="T5" fmla="*/ 91 h 504"/>
                  <a:gd name="T6" fmla="*/ 481 w 492"/>
                  <a:gd name="T7" fmla="*/ 59 h 504"/>
                  <a:gd name="T8" fmla="*/ 414 w 492"/>
                  <a:gd name="T9" fmla="*/ 0 h 504"/>
                  <a:gd name="T10" fmla="*/ 0 w 492"/>
                  <a:gd name="T11" fmla="*/ 448 h 504"/>
                </a:gdLst>
                <a:ahLst/>
                <a:cxnLst>
                  <a:cxn ang="0">
                    <a:pos x="T0" y="T1"/>
                  </a:cxn>
                  <a:cxn ang="0">
                    <a:pos x="T2" y="T3"/>
                  </a:cxn>
                  <a:cxn ang="0">
                    <a:pos x="T4" y="T5"/>
                  </a:cxn>
                  <a:cxn ang="0">
                    <a:pos x="T6" y="T7"/>
                  </a:cxn>
                  <a:cxn ang="0">
                    <a:pos x="T8" y="T9"/>
                  </a:cxn>
                  <a:cxn ang="0">
                    <a:pos x="T10" y="T11"/>
                  </a:cxn>
                </a:cxnLst>
                <a:rect l="0" t="0" r="r" b="b"/>
                <a:pathLst>
                  <a:path w="492" h="504">
                    <a:moveTo>
                      <a:pt x="0" y="448"/>
                    </a:moveTo>
                    <a:cubicBezTo>
                      <a:pt x="0" y="448"/>
                      <a:pt x="130" y="504"/>
                      <a:pt x="218" y="419"/>
                    </a:cubicBezTo>
                    <a:cubicBezTo>
                      <a:pt x="218" y="419"/>
                      <a:pt x="404" y="270"/>
                      <a:pt x="473" y="91"/>
                    </a:cubicBezTo>
                    <a:cubicBezTo>
                      <a:pt x="473" y="91"/>
                      <a:pt x="492" y="64"/>
                      <a:pt x="481" y="59"/>
                    </a:cubicBezTo>
                    <a:cubicBezTo>
                      <a:pt x="414" y="0"/>
                      <a:pt x="414" y="0"/>
                      <a:pt x="414" y="0"/>
                    </a:cubicBezTo>
                    <a:cubicBezTo>
                      <a:pt x="414" y="0"/>
                      <a:pt x="224" y="398"/>
                      <a:pt x="0" y="4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65" name="Freeform 15"/>
              <p:cNvSpPr>
                <a:spLocks/>
              </p:cNvSpPr>
              <p:nvPr/>
            </p:nvSpPr>
            <p:spPr bwMode="auto">
              <a:xfrm>
                <a:off x="-1754188" y="2682876"/>
                <a:ext cx="849312" cy="1181100"/>
              </a:xfrm>
              <a:custGeom>
                <a:avLst/>
                <a:gdLst>
                  <a:gd name="T0" fmla="*/ 0 w 226"/>
                  <a:gd name="T1" fmla="*/ 314 h 314"/>
                  <a:gd name="T2" fmla="*/ 122 w 226"/>
                  <a:gd name="T3" fmla="*/ 53 h 314"/>
                  <a:gd name="T4" fmla="*/ 189 w 226"/>
                  <a:gd name="T5" fmla="*/ 64 h 314"/>
                  <a:gd name="T6" fmla="*/ 0 w 226"/>
                  <a:gd name="T7" fmla="*/ 314 h 314"/>
                </a:gdLst>
                <a:ahLst/>
                <a:cxnLst>
                  <a:cxn ang="0">
                    <a:pos x="T0" y="T1"/>
                  </a:cxn>
                  <a:cxn ang="0">
                    <a:pos x="T2" y="T3"/>
                  </a:cxn>
                  <a:cxn ang="0">
                    <a:pos x="T4" y="T5"/>
                  </a:cxn>
                  <a:cxn ang="0">
                    <a:pos x="T6" y="T7"/>
                  </a:cxn>
                </a:cxnLst>
                <a:rect l="0" t="0" r="r" b="b"/>
                <a:pathLst>
                  <a:path w="226" h="314">
                    <a:moveTo>
                      <a:pt x="0" y="314"/>
                    </a:moveTo>
                    <a:cubicBezTo>
                      <a:pt x="0" y="314"/>
                      <a:pt x="226" y="56"/>
                      <a:pt x="122" y="53"/>
                    </a:cubicBezTo>
                    <a:cubicBezTo>
                      <a:pt x="122" y="53"/>
                      <a:pt x="181" y="0"/>
                      <a:pt x="189" y="64"/>
                    </a:cubicBezTo>
                    <a:cubicBezTo>
                      <a:pt x="189" y="64"/>
                      <a:pt x="80" y="277"/>
                      <a:pt x="0" y="3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66" name="Freeform 16"/>
              <p:cNvSpPr>
                <a:spLocks/>
              </p:cNvSpPr>
              <p:nvPr/>
            </p:nvSpPr>
            <p:spPr bwMode="auto">
              <a:xfrm>
                <a:off x="-5448300" y="1908176"/>
                <a:ext cx="1390650" cy="466725"/>
              </a:xfrm>
              <a:custGeom>
                <a:avLst/>
                <a:gdLst>
                  <a:gd name="T0" fmla="*/ 59 w 370"/>
                  <a:gd name="T1" fmla="*/ 62 h 124"/>
                  <a:gd name="T2" fmla="*/ 370 w 370"/>
                  <a:gd name="T3" fmla="*/ 124 h 124"/>
                  <a:gd name="T4" fmla="*/ 219 w 370"/>
                  <a:gd name="T5" fmla="*/ 110 h 124"/>
                  <a:gd name="T6" fmla="*/ 0 w 370"/>
                  <a:gd name="T7" fmla="*/ 123 h 124"/>
                  <a:gd name="T8" fmla="*/ 59 w 370"/>
                  <a:gd name="T9" fmla="*/ 62 h 124"/>
                </a:gdLst>
                <a:ahLst/>
                <a:cxnLst>
                  <a:cxn ang="0">
                    <a:pos x="T0" y="T1"/>
                  </a:cxn>
                  <a:cxn ang="0">
                    <a:pos x="T2" y="T3"/>
                  </a:cxn>
                  <a:cxn ang="0">
                    <a:pos x="T4" y="T5"/>
                  </a:cxn>
                  <a:cxn ang="0">
                    <a:pos x="T6" y="T7"/>
                  </a:cxn>
                  <a:cxn ang="0">
                    <a:pos x="T8" y="T9"/>
                  </a:cxn>
                </a:cxnLst>
                <a:rect l="0" t="0" r="r" b="b"/>
                <a:pathLst>
                  <a:path w="370" h="124">
                    <a:moveTo>
                      <a:pt x="59" y="62"/>
                    </a:moveTo>
                    <a:cubicBezTo>
                      <a:pt x="59" y="62"/>
                      <a:pt x="202" y="0"/>
                      <a:pt x="370" y="124"/>
                    </a:cubicBezTo>
                    <a:cubicBezTo>
                      <a:pt x="219" y="110"/>
                      <a:pt x="219" y="110"/>
                      <a:pt x="219" y="110"/>
                    </a:cubicBezTo>
                    <a:cubicBezTo>
                      <a:pt x="0" y="123"/>
                      <a:pt x="0" y="123"/>
                      <a:pt x="0" y="123"/>
                    </a:cubicBezTo>
                    <a:lnTo>
                      <a:pt x="59"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67" name="Freeform 17"/>
              <p:cNvSpPr>
                <a:spLocks/>
              </p:cNvSpPr>
              <p:nvPr/>
            </p:nvSpPr>
            <p:spPr bwMode="auto">
              <a:xfrm>
                <a:off x="-3527425" y="3051176"/>
                <a:ext cx="1866900" cy="722313"/>
              </a:xfrm>
              <a:custGeom>
                <a:avLst/>
                <a:gdLst>
                  <a:gd name="T0" fmla="*/ 0 w 497"/>
                  <a:gd name="T1" fmla="*/ 0 h 192"/>
                  <a:gd name="T2" fmla="*/ 497 w 497"/>
                  <a:gd name="T3" fmla="*/ 94 h 192"/>
                  <a:gd name="T4" fmla="*/ 385 w 497"/>
                  <a:gd name="T5" fmla="*/ 118 h 192"/>
                  <a:gd name="T6" fmla="*/ 268 w 497"/>
                  <a:gd name="T7" fmla="*/ 115 h 192"/>
                  <a:gd name="T8" fmla="*/ 68 w 497"/>
                  <a:gd name="T9" fmla="*/ 35 h 192"/>
                  <a:gd name="T10" fmla="*/ 0 w 497"/>
                  <a:gd name="T11" fmla="*/ 0 h 192"/>
                </a:gdLst>
                <a:ahLst/>
                <a:cxnLst>
                  <a:cxn ang="0">
                    <a:pos x="T0" y="T1"/>
                  </a:cxn>
                  <a:cxn ang="0">
                    <a:pos x="T2" y="T3"/>
                  </a:cxn>
                  <a:cxn ang="0">
                    <a:pos x="T4" y="T5"/>
                  </a:cxn>
                  <a:cxn ang="0">
                    <a:pos x="T6" y="T7"/>
                  </a:cxn>
                  <a:cxn ang="0">
                    <a:pos x="T8" y="T9"/>
                  </a:cxn>
                  <a:cxn ang="0">
                    <a:pos x="T10" y="T11"/>
                  </a:cxn>
                </a:cxnLst>
                <a:rect l="0" t="0" r="r" b="b"/>
                <a:pathLst>
                  <a:path w="497" h="192">
                    <a:moveTo>
                      <a:pt x="0" y="0"/>
                    </a:moveTo>
                    <a:cubicBezTo>
                      <a:pt x="0" y="0"/>
                      <a:pt x="166" y="192"/>
                      <a:pt x="497" y="94"/>
                    </a:cubicBezTo>
                    <a:cubicBezTo>
                      <a:pt x="385" y="118"/>
                      <a:pt x="385" y="118"/>
                      <a:pt x="385" y="118"/>
                    </a:cubicBezTo>
                    <a:cubicBezTo>
                      <a:pt x="268" y="115"/>
                      <a:pt x="268" y="115"/>
                      <a:pt x="268" y="115"/>
                    </a:cubicBezTo>
                    <a:cubicBezTo>
                      <a:pt x="68" y="35"/>
                      <a:pt x="68" y="35"/>
                      <a:pt x="68" y="35"/>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68" name="Freeform 18"/>
              <p:cNvSpPr>
                <a:spLocks/>
              </p:cNvSpPr>
              <p:nvPr/>
            </p:nvSpPr>
            <p:spPr bwMode="auto">
              <a:xfrm>
                <a:off x="-1690688" y="2671763"/>
                <a:ext cx="631825" cy="450850"/>
              </a:xfrm>
              <a:custGeom>
                <a:avLst/>
                <a:gdLst>
                  <a:gd name="T0" fmla="*/ 0 w 168"/>
                  <a:gd name="T1" fmla="*/ 96 h 120"/>
                  <a:gd name="T2" fmla="*/ 168 w 168"/>
                  <a:gd name="T3" fmla="*/ 48 h 120"/>
                  <a:gd name="T4" fmla="*/ 109 w 168"/>
                  <a:gd name="T5" fmla="*/ 109 h 120"/>
                  <a:gd name="T6" fmla="*/ 13 w 168"/>
                  <a:gd name="T7" fmla="*/ 120 h 120"/>
                  <a:gd name="T8" fmla="*/ 0 w 168"/>
                  <a:gd name="T9" fmla="*/ 96 h 120"/>
                </a:gdLst>
                <a:ahLst/>
                <a:cxnLst>
                  <a:cxn ang="0">
                    <a:pos x="T0" y="T1"/>
                  </a:cxn>
                  <a:cxn ang="0">
                    <a:pos x="T2" y="T3"/>
                  </a:cxn>
                  <a:cxn ang="0">
                    <a:pos x="T4" y="T5"/>
                  </a:cxn>
                  <a:cxn ang="0">
                    <a:pos x="T6" y="T7"/>
                  </a:cxn>
                  <a:cxn ang="0">
                    <a:pos x="T8" y="T9"/>
                  </a:cxn>
                </a:cxnLst>
                <a:rect l="0" t="0" r="r" b="b"/>
                <a:pathLst>
                  <a:path w="168" h="120">
                    <a:moveTo>
                      <a:pt x="0" y="96"/>
                    </a:moveTo>
                    <a:cubicBezTo>
                      <a:pt x="0" y="96"/>
                      <a:pt x="123" y="0"/>
                      <a:pt x="168" y="48"/>
                    </a:cubicBezTo>
                    <a:cubicBezTo>
                      <a:pt x="109" y="109"/>
                      <a:pt x="109" y="109"/>
                      <a:pt x="109" y="109"/>
                    </a:cubicBezTo>
                    <a:cubicBezTo>
                      <a:pt x="13" y="120"/>
                      <a:pt x="13" y="120"/>
                      <a:pt x="13" y="120"/>
                    </a:cubicBezTo>
                    <a:lnTo>
                      <a:pt x="0"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grpSp>
      </p:grpSp>
      <p:grpSp>
        <p:nvGrpSpPr>
          <p:cNvPr id="69" name="Group 68"/>
          <p:cNvGrpSpPr/>
          <p:nvPr/>
        </p:nvGrpSpPr>
        <p:grpSpPr>
          <a:xfrm>
            <a:off x="6302899" y="1345679"/>
            <a:ext cx="1563427" cy="1204008"/>
            <a:chOff x="8389501" y="1312638"/>
            <a:chExt cx="2797810" cy="2154616"/>
          </a:xfrm>
        </p:grpSpPr>
        <p:sp>
          <p:nvSpPr>
            <p:cNvPr id="70" name="Rectangle 69"/>
            <p:cNvSpPr/>
            <p:nvPr/>
          </p:nvSpPr>
          <p:spPr bwMode="auto">
            <a:xfrm>
              <a:off x="8389501" y="1312638"/>
              <a:ext cx="2797810" cy="21546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1" name="Rectangle 70"/>
            <p:cNvSpPr/>
            <p:nvPr/>
          </p:nvSpPr>
          <p:spPr>
            <a:xfrm>
              <a:off x="8389501" y="2810451"/>
              <a:ext cx="2797810" cy="656803"/>
            </a:xfrm>
            <a:prstGeom prst="rect">
              <a:avLst/>
            </a:prstGeom>
          </p:spPr>
          <p:txBody>
            <a:bodyPr wrap="square" lIns="68570" anchor="b" anchorCtr="0">
              <a:spAutoFit/>
            </a:bodyPr>
            <a:lstStyle/>
            <a:p>
              <a:pPr defTabSz="685709">
                <a:lnSpc>
                  <a:spcPct val="85000"/>
                </a:lnSpc>
                <a:defRPr/>
              </a:pPr>
              <a:r>
                <a:rPr lang="en-US" sz="2100" kern="0" spc="-52" dirty="0">
                  <a:solidFill>
                    <a:schemeClr val="bg1">
                      <a:alpha val="99000"/>
                    </a:schemeClr>
                  </a:solidFill>
                  <a:latin typeface="Segoe UI Light" pitchFamily="34" charset="0"/>
                  <a:ea typeface="Segoe UI" pitchFamily="34" charset="0"/>
                  <a:cs typeface="Segoe UI" pitchFamily="34" charset="0"/>
                </a:rPr>
                <a:t>Solid</a:t>
              </a:r>
            </a:p>
          </p:txBody>
        </p:sp>
        <p:pic>
          <p:nvPicPr>
            <p:cNvPr id="72" name="Picture 7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5410" y="1647449"/>
              <a:ext cx="1938150" cy="1161538"/>
            </a:xfrm>
            <a:prstGeom prst="rect">
              <a:avLst/>
            </a:prstGeom>
          </p:spPr>
        </p:pic>
      </p:grpSp>
      <p:grpSp>
        <p:nvGrpSpPr>
          <p:cNvPr id="73" name="Group 72"/>
          <p:cNvGrpSpPr/>
          <p:nvPr/>
        </p:nvGrpSpPr>
        <p:grpSpPr>
          <a:xfrm>
            <a:off x="3546422" y="1345679"/>
            <a:ext cx="1563427" cy="1204008"/>
            <a:chOff x="4690869" y="1312638"/>
            <a:chExt cx="2797810" cy="2154616"/>
          </a:xfrm>
        </p:grpSpPr>
        <p:sp>
          <p:nvSpPr>
            <p:cNvPr id="74" name="Rectangle 73"/>
            <p:cNvSpPr/>
            <p:nvPr/>
          </p:nvSpPr>
          <p:spPr bwMode="auto">
            <a:xfrm>
              <a:off x="4690869" y="1312638"/>
              <a:ext cx="2797810" cy="215461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75" name="Rectangle 74"/>
            <p:cNvSpPr/>
            <p:nvPr/>
          </p:nvSpPr>
          <p:spPr>
            <a:xfrm>
              <a:off x="4690869" y="2810451"/>
              <a:ext cx="2797810" cy="656803"/>
            </a:xfrm>
            <a:prstGeom prst="rect">
              <a:avLst/>
            </a:prstGeom>
          </p:spPr>
          <p:txBody>
            <a:bodyPr wrap="square" lIns="68570" anchor="b" anchorCtr="0">
              <a:spAutoFit/>
            </a:bodyPr>
            <a:lstStyle/>
            <a:p>
              <a:pPr defTabSz="685709">
                <a:lnSpc>
                  <a:spcPct val="85000"/>
                </a:lnSpc>
                <a:defRPr/>
              </a:pPr>
              <a:r>
                <a:rPr lang="en-US" sz="2100" kern="0" spc="-52" dirty="0">
                  <a:solidFill>
                    <a:schemeClr val="bg1">
                      <a:alpha val="99000"/>
                    </a:schemeClr>
                  </a:solidFill>
                  <a:latin typeface="Segoe UI Light" pitchFamily="34" charset="0"/>
                  <a:ea typeface="Segoe UI" pitchFamily="34" charset="0"/>
                  <a:cs typeface="Segoe UI" pitchFamily="34" charset="0"/>
                </a:rPr>
                <a:t>Open</a:t>
              </a:r>
            </a:p>
          </p:txBody>
        </p:sp>
        <p:pic>
          <p:nvPicPr>
            <p:cNvPr id="76" name="Picture 7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7968" y="1671867"/>
              <a:ext cx="1536588" cy="1112702"/>
            </a:xfrm>
            <a:prstGeom prst="rect">
              <a:avLst/>
            </a:prstGeom>
          </p:spPr>
        </p:pic>
      </p:grpSp>
    </p:spTree>
    <p:extLst>
      <p:ext uri="{BB962C8B-B14F-4D97-AF65-F5344CB8AC3E}">
        <p14:creationId xmlns:p14="http://schemas.microsoft.com/office/powerpoint/2010/main" val="21405436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solidFill>
                <a:schemeClr val="accent2"/>
              </a:solidFill>
              <a:latin typeface="+mj-lt"/>
            </a:endParaRPr>
          </a:p>
        </p:txBody>
      </p:sp>
      <p:sp>
        <p:nvSpPr>
          <p:cNvPr id="3" name="Text Placeholder 2"/>
          <p:cNvSpPr>
            <a:spLocks noGrp="1"/>
          </p:cNvSpPr>
          <p:nvPr>
            <p:ph type="body" sz="quarter" idx="15"/>
          </p:nvPr>
        </p:nvSpPr>
        <p:spPr/>
        <p:txBody>
          <a:bodyPr/>
          <a:lstStyle/>
          <a:p>
            <a:r>
              <a:rPr lang="en-US" sz="1765" spc="-75" dirty="0">
                <a:solidFill>
                  <a:schemeClr val="accent2"/>
                </a:solidFill>
                <a:latin typeface="Segoe UI Light" pitchFamily="34" charset="0"/>
              </a:rPr>
              <a:t>Infrastructure as a Service </a:t>
            </a:r>
            <a:r>
              <a:rPr lang="en-US" sz="1765" spc="-75" dirty="0">
                <a:gradFill>
                  <a:gsLst>
                    <a:gs pos="0">
                      <a:srgbClr val="595959"/>
                    </a:gs>
                    <a:gs pos="86000">
                      <a:srgbClr val="595959"/>
                    </a:gs>
                  </a:gsLst>
                  <a:lin ang="5400000" scaled="0"/>
                </a:gradFill>
                <a:latin typeface="Segoe UI Light" pitchFamily="34" charset="0"/>
              </a:rPr>
              <a:t>introduces new functionality that allows full control and management of both Windows and Linux virtual machines along with an extensive virtual networking offering.</a:t>
            </a:r>
          </a:p>
          <a:p>
            <a:endParaRPr lang="en-US" sz="1765" dirty="0"/>
          </a:p>
        </p:txBody>
      </p:sp>
      <p:sp>
        <p:nvSpPr>
          <p:cNvPr id="38" name="Rectangle 37"/>
          <p:cNvSpPr/>
          <p:nvPr/>
        </p:nvSpPr>
        <p:spPr bwMode="auto">
          <a:xfrm>
            <a:off x="587675" y="2549688"/>
            <a:ext cx="2111964" cy="14946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t" anchorCtr="0" compatLnSpc="1">
            <a:prstTxWarp prst="textNoShape">
              <a:avLst/>
            </a:prstTxWarp>
          </a:bodyPr>
          <a:lstStyle/>
          <a:p>
            <a:pPr indent="-80348">
              <a:spcBef>
                <a:spcPct val="20000"/>
              </a:spcBef>
              <a:spcAft>
                <a:spcPts val="600"/>
              </a:spcAft>
              <a:buSzPct val="80000"/>
            </a:pPr>
            <a:r>
              <a:rPr lang="en-US" sz="1125" dirty="0">
                <a:solidFill>
                  <a:schemeClr val="tx2">
                    <a:alpha val="99000"/>
                  </a:schemeClr>
                </a:solidFill>
              </a:rPr>
              <a:t>Easily migrate existing applications as-is to the cloud</a:t>
            </a:r>
          </a:p>
          <a:p>
            <a:pPr indent="-80348">
              <a:spcBef>
                <a:spcPct val="20000"/>
              </a:spcBef>
              <a:spcAft>
                <a:spcPts val="600"/>
              </a:spcAft>
              <a:buSzPct val="80000"/>
            </a:pPr>
            <a:r>
              <a:rPr lang="en-US" sz="1125" dirty="0">
                <a:solidFill>
                  <a:schemeClr val="tx2">
                    <a:alpha val="99000"/>
                  </a:schemeClr>
                </a:solidFill>
              </a:rPr>
              <a:t>Assist New Cloud App Development by Integrating IaaS and PaaS Functionality</a:t>
            </a:r>
          </a:p>
          <a:p>
            <a:pPr indent="-80348">
              <a:spcBef>
                <a:spcPct val="20000"/>
              </a:spcBef>
              <a:spcAft>
                <a:spcPts val="600"/>
              </a:spcAft>
              <a:buSzPct val="80000"/>
            </a:pPr>
            <a:r>
              <a:rPr lang="en-US" sz="1125" dirty="0">
                <a:solidFill>
                  <a:schemeClr val="tx2">
                    <a:alpha val="99000"/>
                  </a:schemeClr>
                </a:solidFill>
              </a:rPr>
              <a:t>Set up new virtual machines in Windows Azure with only a few clicks.</a:t>
            </a:r>
          </a:p>
          <a:p>
            <a:pPr indent="-80348">
              <a:spcBef>
                <a:spcPct val="20000"/>
              </a:spcBef>
              <a:spcAft>
                <a:spcPts val="600"/>
              </a:spcAft>
              <a:buSzPct val="80000"/>
            </a:pPr>
            <a:r>
              <a:rPr lang="en-US" sz="1125" dirty="0">
                <a:solidFill>
                  <a:schemeClr val="tx2">
                    <a:alpha val="99000"/>
                  </a:schemeClr>
                </a:solidFill>
              </a:rPr>
              <a:t>Agentless Deployment for Windows Servers</a:t>
            </a:r>
          </a:p>
          <a:p>
            <a:pPr indent="-107116">
              <a:spcAft>
                <a:spcPts val="600"/>
              </a:spcAft>
              <a:defRPr/>
            </a:pPr>
            <a:endParaRPr lang="en-US" sz="1125" dirty="0">
              <a:solidFill>
                <a:schemeClr val="tx2">
                  <a:alpha val="99000"/>
                </a:schemeClr>
              </a:solidFill>
            </a:endParaRPr>
          </a:p>
        </p:txBody>
      </p:sp>
      <p:sp>
        <p:nvSpPr>
          <p:cNvPr id="39" name="Rectangle 38"/>
          <p:cNvSpPr/>
          <p:nvPr/>
        </p:nvSpPr>
        <p:spPr bwMode="auto">
          <a:xfrm>
            <a:off x="3448992" y="2549688"/>
            <a:ext cx="2367374" cy="2371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t" anchorCtr="0" compatLnSpc="1">
            <a:prstTxWarp prst="textNoShape">
              <a:avLst/>
            </a:prstTxWarp>
          </a:bodyPr>
          <a:lstStyle/>
          <a:p>
            <a:pPr>
              <a:spcBef>
                <a:spcPct val="20000"/>
              </a:spcBef>
              <a:spcAft>
                <a:spcPts val="600"/>
              </a:spcAft>
              <a:buSzPct val="80000"/>
            </a:pPr>
            <a:r>
              <a:rPr lang="en-US" sz="1125" dirty="0">
                <a:solidFill>
                  <a:schemeClr val="tx2">
                    <a:alpha val="99000"/>
                  </a:schemeClr>
                </a:solidFill>
              </a:rPr>
              <a:t>Start from a pre-built image from our image library</a:t>
            </a:r>
          </a:p>
          <a:p>
            <a:pPr>
              <a:spcBef>
                <a:spcPct val="20000"/>
              </a:spcBef>
              <a:spcAft>
                <a:spcPts val="600"/>
              </a:spcAft>
              <a:buSzPct val="80000"/>
            </a:pPr>
            <a:r>
              <a:rPr lang="en-US" sz="1125" dirty="0">
                <a:solidFill>
                  <a:schemeClr val="tx2">
                    <a:alpha val="99000"/>
                  </a:schemeClr>
                </a:solidFill>
              </a:rPr>
              <a:t>Upload your own VHD from on-premises. </a:t>
            </a:r>
          </a:p>
          <a:p>
            <a:pPr>
              <a:spcBef>
                <a:spcPct val="20000"/>
              </a:spcBef>
              <a:spcAft>
                <a:spcPts val="600"/>
              </a:spcAft>
              <a:buSzPct val="80000"/>
            </a:pPr>
            <a:r>
              <a:rPr lang="en-US" sz="1125" dirty="0">
                <a:solidFill>
                  <a:schemeClr val="tx2">
                    <a:alpha val="99000"/>
                  </a:schemeClr>
                </a:solidFill>
              </a:rPr>
              <a:t>Create Your Own Customized Images</a:t>
            </a:r>
          </a:p>
          <a:p>
            <a:pPr>
              <a:spcBef>
                <a:spcPct val="20000"/>
              </a:spcBef>
              <a:spcAft>
                <a:spcPts val="600"/>
              </a:spcAft>
              <a:buSzPct val="80000"/>
            </a:pPr>
            <a:r>
              <a:rPr lang="en-US" sz="1125" dirty="0">
                <a:solidFill>
                  <a:schemeClr val="tx2">
                    <a:alpha val="99000"/>
                  </a:schemeClr>
                </a:solidFill>
              </a:rPr>
              <a:t>Support for community and commercial versions of Linux</a:t>
            </a:r>
          </a:p>
          <a:p>
            <a:pPr>
              <a:spcBef>
                <a:spcPct val="20000"/>
              </a:spcBef>
              <a:spcAft>
                <a:spcPts val="600"/>
              </a:spcAft>
              <a:buSzPct val="80000"/>
            </a:pPr>
            <a:r>
              <a:rPr lang="en-US" sz="1125" dirty="0">
                <a:solidFill>
                  <a:schemeClr val="tx2">
                    <a:alpha val="99000"/>
                  </a:schemeClr>
                </a:solidFill>
              </a:rPr>
              <a:t>Move images back on premise as necessary</a:t>
            </a:r>
          </a:p>
        </p:txBody>
      </p:sp>
      <p:sp>
        <p:nvSpPr>
          <p:cNvPr id="40" name="Rectangle 39"/>
          <p:cNvSpPr/>
          <p:nvPr/>
        </p:nvSpPr>
        <p:spPr bwMode="auto">
          <a:xfrm>
            <a:off x="6168436" y="2549688"/>
            <a:ext cx="2057108" cy="237104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t" anchorCtr="0" compatLnSpc="1">
            <a:prstTxWarp prst="textNoShape">
              <a:avLst/>
            </a:prstTxWarp>
          </a:bodyPr>
          <a:lstStyle/>
          <a:p>
            <a:pPr>
              <a:spcBef>
                <a:spcPct val="20000"/>
              </a:spcBef>
              <a:spcAft>
                <a:spcPts val="600"/>
              </a:spcAft>
              <a:buSzPct val="80000"/>
              <a:defRPr/>
            </a:pPr>
            <a:r>
              <a:rPr lang="en-US" sz="1125" dirty="0">
                <a:solidFill>
                  <a:schemeClr val="tx2">
                    <a:alpha val="99000"/>
                  </a:schemeClr>
                </a:solidFill>
              </a:rPr>
              <a:t>Run enterprise applications such as SQL Server, SharePoint or Active Directory in the cloud</a:t>
            </a:r>
          </a:p>
          <a:p>
            <a:pPr>
              <a:spcBef>
                <a:spcPct val="20000"/>
              </a:spcBef>
              <a:spcAft>
                <a:spcPts val="600"/>
              </a:spcAft>
              <a:buSzPct val="80000"/>
              <a:defRPr/>
            </a:pPr>
            <a:r>
              <a:rPr lang="en-US" sz="1125" dirty="0">
                <a:solidFill>
                  <a:schemeClr val="tx2">
                    <a:alpha val="99000"/>
                  </a:schemeClr>
                </a:solidFill>
              </a:rPr>
              <a:t>Easily create hybrid cloud and on-premises solutions with VPN connectivity between the Windows Azure Data Center and your own network.</a:t>
            </a:r>
          </a:p>
        </p:txBody>
      </p:sp>
      <p:grpSp>
        <p:nvGrpSpPr>
          <p:cNvPr id="4" name="Group 3"/>
          <p:cNvGrpSpPr/>
          <p:nvPr/>
        </p:nvGrpSpPr>
        <p:grpSpPr>
          <a:xfrm>
            <a:off x="722137" y="1363679"/>
            <a:ext cx="1631236" cy="1186007"/>
            <a:chOff x="799278" y="1312638"/>
            <a:chExt cx="2797810" cy="2154616"/>
          </a:xfrm>
        </p:grpSpPr>
        <p:sp>
          <p:nvSpPr>
            <p:cNvPr id="41" name="Rectangle 40"/>
            <p:cNvSpPr/>
            <p:nvPr/>
          </p:nvSpPr>
          <p:spPr bwMode="auto">
            <a:xfrm>
              <a:off x="799278" y="1312638"/>
              <a:ext cx="2797810" cy="215461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4" name="Rectangle 43"/>
            <p:cNvSpPr/>
            <p:nvPr/>
          </p:nvSpPr>
          <p:spPr>
            <a:xfrm>
              <a:off x="799278" y="2800482"/>
              <a:ext cx="2797810" cy="666772"/>
            </a:xfrm>
            <a:prstGeom prst="rect">
              <a:avLst/>
            </a:prstGeom>
          </p:spPr>
          <p:txBody>
            <a:bodyPr wrap="square" lIns="68570" anchor="b" anchorCtr="0">
              <a:spAutoFit/>
            </a:bodyPr>
            <a:lstStyle/>
            <a:p>
              <a:pPr defTabSz="685709">
                <a:lnSpc>
                  <a:spcPct val="85000"/>
                </a:lnSpc>
                <a:defRPr/>
              </a:pPr>
              <a:r>
                <a:rPr lang="en-US" sz="2100" kern="0" spc="-52" dirty="0">
                  <a:solidFill>
                    <a:schemeClr val="bg1">
                      <a:alpha val="99000"/>
                    </a:schemeClr>
                  </a:solidFill>
                  <a:latin typeface="Segoe UI Light" pitchFamily="34" charset="0"/>
                  <a:ea typeface="Segoe UI" pitchFamily="34" charset="0"/>
                  <a:cs typeface="Segoe UI" pitchFamily="34" charset="0"/>
                </a:rPr>
                <a:t>Flexible</a:t>
              </a:r>
            </a:p>
          </p:txBody>
        </p:sp>
        <p:grpSp>
          <p:nvGrpSpPr>
            <p:cNvPr id="47" name="Group 46"/>
            <p:cNvGrpSpPr/>
            <p:nvPr/>
          </p:nvGrpSpPr>
          <p:grpSpPr>
            <a:xfrm>
              <a:off x="1300087" y="1461919"/>
              <a:ext cx="1917459" cy="1301359"/>
              <a:chOff x="-6467475" y="914401"/>
              <a:chExt cx="5765799" cy="3913187"/>
            </a:xfrm>
          </p:grpSpPr>
          <p:sp>
            <p:nvSpPr>
              <p:cNvPr id="48" name="Freeform 5"/>
              <p:cNvSpPr>
                <a:spLocks/>
              </p:cNvSpPr>
              <p:nvPr/>
            </p:nvSpPr>
            <p:spPr bwMode="auto">
              <a:xfrm>
                <a:off x="-6407150" y="2039938"/>
                <a:ext cx="2217737" cy="1112838"/>
              </a:xfrm>
              <a:custGeom>
                <a:avLst/>
                <a:gdLst>
                  <a:gd name="T0" fmla="*/ 0 w 590"/>
                  <a:gd name="T1" fmla="*/ 227 h 296"/>
                  <a:gd name="T2" fmla="*/ 392 w 590"/>
                  <a:gd name="T3" fmla="*/ 16 h 296"/>
                  <a:gd name="T4" fmla="*/ 520 w 590"/>
                  <a:gd name="T5" fmla="*/ 51 h 296"/>
                  <a:gd name="T6" fmla="*/ 590 w 590"/>
                  <a:gd name="T7" fmla="*/ 72 h 296"/>
                  <a:gd name="T8" fmla="*/ 64 w 590"/>
                  <a:gd name="T9" fmla="*/ 296 h 296"/>
                  <a:gd name="T10" fmla="*/ 0 w 590"/>
                  <a:gd name="T11" fmla="*/ 227 h 296"/>
                </a:gdLst>
                <a:ahLst/>
                <a:cxnLst>
                  <a:cxn ang="0">
                    <a:pos x="T0" y="T1"/>
                  </a:cxn>
                  <a:cxn ang="0">
                    <a:pos x="T2" y="T3"/>
                  </a:cxn>
                  <a:cxn ang="0">
                    <a:pos x="T4" y="T5"/>
                  </a:cxn>
                  <a:cxn ang="0">
                    <a:pos x="T6" y="T7"/>
                  </a:cxn>
                  <a:cxn ang="0">
                    <a:pos x="T8" y="T9"/>
                  </a:cxn>
                  <a:cxn ang="0">
                    <a:pos x="T10" y="T11"/>
                  </a:cxn>
                </a:cxnLst>
                <a:rect l="0" t="0" r="r" b="b"/>
                <a:pathLst>
                  <a:path w="590" h="296">
                    <a:moveTo>
                      <a:pt x="0" y="227"/>
                    </a:moveTo>
                    <a:cubicBezTo>
                      <a:pt x="0" y="227"/>
                      <a:pt x="166" y="21"/>
                      <a:pt x="392" y="16"/>
                    </a:cubicBezTo>
                    <a:cubicBezTo>
                      <a:pt x="392" y="16"/>
                      <a:pt x="462" y="0"/>
                      <a:pt x="520" y="51"/>
                    </a:cubicBezTo>
                    <a:cubicBezTo>
                      <a:pt x="520" y="51"/>
                      <a:pt x="571" y="59"/>
                      <a:pt x="590" y="72"/>
                    </a:cubicBezTo>
                    <a:cubicBezTo>
                      <a:pt x="590" y="72"/>
                      <a:pt x="310" y="29"/>
                      <a:pt x="64" y="296"/>
                    </a:cubicBezTo>
                    <a:cubicBezTo>
                      <a:pt x="64" y="296"/>
                      <a:pt x="16" y="275"/>
                      <a:pt x="0" y="2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49" name="Freeform 6"/>
              <p:cNvSpPr>
                <a:spLocks/>
              </p:cNvSpPr>
              <p:nvPr/>
            </p:nvSpPr>
            <p:spPr bwMode="auto">
              <a:xfrm>
                <a:off x="-6467475" y="1279526"/>
                <a:ext cx="1849437" cy="1603375"/>
              </a:xfrm>
              <a:custGeom>
                <a:avLst/>
                <a:gdLst>
                  <a:gd name="T0" fmla="*/ 0 w 492"/>
                  <a:gd name="T1" fmla="*/ 426 h 426"/>
                  <a:gd name="T2" fmla="*/ 341 w 492"/>
                  <a:gd name="T3" fmla="*/ 70 h 426"/>
                  <a:gd name="T4" fmla="*/ 468 w 492"/>
                  <a:gd name="T5" fmla="*/ 13 h 426"/>
                  <a:gd name="T6" fmla="*/ 492 w 492"/>
                  <a:gd name="T7" fmla="*/ 47 h 426"/>
                  <a:gd name="T8" fmla="*/ 309 w 492"/>
                  <a:gd name="T9" fmla="*/ 222 h 426"/>
                  <a:gd name="T10" fmla="*/ 0 w 492"/>
                  <a:gd name="T11" fmla="*/ 426 h 426"/>
                </a:gdLst>
                <a:ahLst/>
                <a:cxnLst>
                  <a:cxn ang="0">
                    <a:pos x="T0" y="T1"/>
                  </a:cxn>
                  <a:cxn ang="0">
                    <a:pos x="T2" y="T3"/>
                  </a:cxn>
                  <a:cxn ang="0">
                    <a:pos x="T4" y="T5"/>
                  </a:cxn>
                  <a:cxn ang="0">
                    <a:pos x="T6" y="T7"/>
                  </a:cxn>
                  <a:cxn ang="0">
                    <a:pos x="T8" y="T9"/>
                  </a:cxn>
                  <a:cxn ang="0">
                    <a:pos x="T10" y="T11"/>
                  </a:cxn>
                </a:cxnLst>
                <a:rect l="0" t="0" r="r" b="b"/>
                <a:pathLst>
                  <a:path w="492" h="426">
                    <a:moveTo>
                      <a:pt x="0" y="426"/>
                    </a:moveTo>
                    <a:cubicBezTo>
                      <a:pt x="341" y="70"/>
                      <a:pt x="341" y="70"/>
                      <a:pt x="341" y="70"/>
                    </a:cubicBezTo>
                    <a:cubicBezTo>
                      <a:pt x="341" y="70"/>
                      <a:pt x="408" y="0"/>
                      <a:pt x="468" y="13"/>
                    </a:cubicBezTo>
                    <a:cubicBezTo>
                      <a:pt x="468" y="13"/>
                      <a:pt x="487" y="24"/>
                      <a:pt x="492" y="47"/>
                    </a:cubicBezTo>
                    <a:cubicBezTo>
                      <a:pt x="309" y="222"/>
                      <a:pt x="309" y="222"/>
                      <a:pt x="309" y="222"/>
                    </a:cubicBezTo>
                    <a:cubicBezTo>
                      <a:pt x="309" y="222"/>
                      <a:pt x="186" y="242"/>
                      <a:pt x="0" y="4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0" name="Freeform 7"/>
              <p:cNvSpPr>
                <a:spLocks/>
              </p:cNvSpPr>
              <p:nvPr/>
            </p:nvSpPr>
            <p:spPr bwMode="auto">
              <a:xfrm>
                <a:off x="-5113338" y="914401"/>
                <a:ext cx="852487" cy="1023938"/>
              </a:xfrm>
              <a:custGeom>
                <a:avLst/>
                <a:gdLst>
                  <a:gd name="T0" fmla="*/ 0 w 227"/>
                  <a:gd name="T1" fmla="*/ 139 h 272"/>
                  <a:gd name="T2" fmla="*/ 163 w 227"/>
                  <a:gd name="T3" fmla="*/ 120 h 272"/>
                  <a:gd name="T4" fmla="*/ 227 w 227"/>
                  <a:gd name="T5" fmla="*/ 272 h 272"/>
                  <a:gd name="T6" fmla="*/ 147 w 227"/>
                  <a:gd name="T7" fmla="*/ 136 h 272"/>
                  <a:gd name="T8" fmla="*/ 0 w 227"/>
                  <a:gd name="T9" fmla="*/ 139 h 272"/>
                </a:gdLst>
                <a:ahLst/>
                <a:cxnLst>
                  <a:cxn ang="0">
                    <a:pos x="T0" y="T1"/>
                  </a:cxn>
                  <a:cxn ang="0">
                    <a:pos x="T2" y="T3"/>
                  </a:cxn>
                  <a:cxn ang="0">
                    <a:pos x="T4" y="T5"/>
                  </a:cxn>
                  <a:cxn ang="0">
                    <a:pos x="T6" y="T7"/>
                  </a:cxn>
                  <a:cxn ang="0">
                    <a:pos x="T8" y="T9"/>
                  </a:cxn>
                </a:cxnLst>
                <a:rect l="0" t="0" r="r" b="b"/>
                <a:pathLst>
                  <a:path w="227" h="272">
                    <a:moveTo>
                      <a:pt x="0" y="139"/>
                    </a:moveTo>
                    <a:cubicBezTo>
                      <a:pt x="0" y="139"/>
                      <a:pt x="110" y="0"/>
                      <a:pt x="163" y="120"/>
                    </a:cubicBezTo>
                    <a:cubicBezTo>
                      <a:pt x="227" y="272"/>
                      <a:pt x="227" y="272"/>
                      <a:pt x="227" y="272"/>
                    </a:cubicBezTo>
                    <a:cubicBezTo>
                      <a:pt x="147" y="136"/>
                      <a:pt x="147" y="136"/>
                      <a:pt x="147" y="136"/>
                    </a:cubicBezTo>
                    <a:cubicBezTo>
                      <a:pt x="147" y="136"/>
                      <a:pt x="120" y="40"/>
                      <a:pt x="0" y="1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1" name="Freeform 8"/>
              <p:cNvSpPr>
                <a:spLocks/>
              </p:cNvSpPr>
              <p:nvPr/>
            </p:nvSpPr>
            <p:spPr bwMode="auto">
              <a:xfrm>
                <a:off x="-4692650" y="1208088"/>
                <a:ext cx="1563687" cy="2084388"/>
              </a:xfrm>
              <a:custGeom>
                <a:avLst/>
                <a:gdLst>
                  <a:gd name="T0" fmla="*/ 0 w 416"/>
                  <a:gd name="T1" fmla="*/ 0 h 554"/>
                  <a:gd name="T2" fmla="*/ 110 w 416"/>
                  <a:gd name="T3" fmla="*/ 21 h 554"/>
                  <a:gd name="T4" fmla="*/ 168 w 416"/>
                  <a:gd name="T5" fmla="*/ 74 h 554"/>
                  <a:gd name="T6" fmla="*/ 310 w 416"/>
                  <a:gd name="T7" fmla="*/ 394 h 554"/>
                  <a:gd name="T8" fmla="*/ 416 w 416"/>
                  <a:gd name="T9" fmla="*/ 554 h 554"/>
                  <a:gd name="T10" fmla="*/ 295 w 416"/>
                  <a:gd name="T11" fmla="*/ 477 h 554"/>
                  <a:gd name="T12" fmla="*/ 144 w 416"/>
                  <a:gd name="T13" fmla="*/ 280 h 554"/>
                  <a:gd name="T14" fmla="*/ 0 w 416"/>
                  <a:gd name="T15" fmla="*/ 0 h 5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6" h="554">
                    <a:moveTo>
                      <a:pt x="0" y="0"/>
                    </a:moveTo>
                    <a:cubicBezTo>
                      <a:pt x="110" y="21"/>
                      <a:pt x="110" y="21"/>
                      <a:pt x="110" y="21"/>
                    </a:cubicBezTo>
                    <a:cubicBezTo>
                      <a:pt x="110" y="21"/>
                      <a:pt x="147" y="34"/>
                      <a:pt x="168" y="74"/>
                    </a:cubicBezTo>
                    <a:cubicBezTo>
                      <a:pt x="168" y="74"/>
                      <a:pt x="288" y="338"/>
                      <a:pt x="310" y="394"/>
                    </a:cubicBezTo>
                    <a:cubicBezTo>
                      <a:pt x="310" y="394"/>
                      <a:pt x="360" y="496"/>
                      <a:pt x="416" y="554"/>
                    </a:cubicBezTo>
                    <a:cubicBezTo>
                      <a:pt x="416" y="554"/>
                      <a:pt x="346" y="544"/>
                      <a:pt x="295" y="477"/>
                    </a:cubicBezTo>
                    <a:cubicBezTo>
                      <a:pt x="295" y="477"/>
                      <a:pt x="218" y="304"/>
                      <a:pt x="144" y="280"/>
                    </a:cubicBezTo>
                    <a:cubicBezTo>
                      <a:pt x="144" y="280"/>
                      <a:pt x="94" y="104"/>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2" name="Freeform 9"/>
              <p:cNvSpPr>
                <a:spLocks/>
              </p:cNvSpPr>
              <p:nvPr/>
            </p:nvSpPr>
            <p:spPr bwMode="auto">
              <a:xfrm>
                <a:off x="-3914775" y="1858963"/>
                <a:ext cx="2254250" cy="1847850"/>
              </a:xfrm>
              <a:custGeom>
                <a:avLst/>
                <a:gdLst>
                  <a:gd name="T0" fmla="*/ 0 w 600"/>
                  <a:gd name="T1" fmla="*/ 0 h 491"/>
                  <a:gd name="T2" fmla="*/ 253 w 600"/>
                  <a:gd name="T3" fmla="*/ 376 h 491"/>
                  <a:gd name="T4" fmla="*/ 600 w 600"/>
                  <a:gd name="T5" fmla="*/ 411 h 491"/>
                  <a:gd name="T6" fmla="*/ 243 w 600"/>
                  <a:gd name="T7" fmla="*/ 403 h 491"/>
                  <a:gd name="T8" fmla="*/ 0 w 600"/>
                  <a:gd name="T9" fmla="*/ 0 h 491"/>
                </a:gdLst>
                <a:ahLst/>
                <a:cxnLst>
                  <a:cxn ang="0">
                    <a:pos x="T0" y="T1"/>
                  </a:cxn>
                  <a:cxn ang="0">
                    <a:pos x="T2" y="T3"/>
                  </a:cxn>
                  <a:cxn ang="0">
                    <a:pos x="T4" y="T5"/>
                  </a:cxn>
                  <a:cxn ang="0">
                    <a:pos x="T6" y="T7"/>
                  </a:cxn>
                  <a:cxn ang="0">
                    <a:pos x="T8" y="T9"/>
                  </a:cxn>
                </a:cxnLst>
                <a:rect l="0" t="0" r="r" b="b"/>
                <a:pathLst>
                  <a:path w="600" h="491">
                    <a:moveTo>
                      <a:pt x="0" y="0"/>
                    </a:moveTo>
                    <a:cubicBezTo>
                      <a:pt x="0" y="0"/>
                      <a:pt x="144" y="309"/>
                      <a:pt x="253" y="376"/>
                    </a:cubicBezTo>
                    <a:cubicBezTo>
                      <a:pt x="253" y="376"/>
                      <a:pt x="389" y="469"/>
                      <a:pt x="600" y="411"/>
                    </a:cubicBezTo>
                    <a:cubicBezTo>
                      <a:pt x="600" y="411"/>
                      <a:pt x="477" y="491"/>
                      <a:pt x="243" y="403"/>
                    </a:cubicBezTo>
                    <a:cubicBezTo>
                      <a:pt x="243" y="403"/>
                      <a:pt x="136" y="376"/>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3" name="Freeform 10"/>
              <p:cNvSpPr>
                <a:spLocks/>
              </p:cNvSpPr>
              <p:nvPr/>
            </p:nvSpPr>
            <p:spPr bwMode="auto">
              <a:xfrm>
                <a:off x="-3027363" y="2701926"/>
                <a:ext cx="1954212" cy="873125"/>
              </a:xfrm>
              <a:custGeom>
                <a:avLst/>
                <a:gdLst>
                  <a:gd name="T0" fmla="*/ 0 w 520"/>
                  <a:gd name="T1" fmla="*/ 123 h 232"/>
                  <a:gd name="T2" fmla="*/ 397 w 520"/>
                  <a:gd name="T3" fmla="*/ 69 h 232"/>
                  <a:gd name="T4" fmla="*/ 520 w 520"/>
                  <a:gd name="T5" fmla="*/ 53 h 232"/>
                  <a:gd name="T6" fmla="*/ 483 w 520"/>
                  <a:gd name="T7" fmla="*/ 141 h 232"/>
                  <a:gd name="T8" fmla="*/ 115 w 520"/>
                  <a:gd name="T9" fmla="*/ 179 h 232"/>
                  <a:gd name="T10" fmla="*/ 0 w 520"/>
                  <a:gd name="T11" fmla="*/ 123 h 232"/>
                </a:gdLst>
                <a:ahLst/>
                <a:cxnLst>
                  <a:cxn ang="0">
                    <a:pos x="T0" y="T1"/>
                  </a:cxn>
                  <a:cxn ang="0">
                    <a:pos x="T2" y="T3"/>
                  </a:cxn>
                  <a:cxn ang="0">
                    <a:pos x="T4" y="T5"/>
                  </a:cxn>
                  <a:cxn ang="0">
                    <a:pos x="T6" y="T7"/>
                  </a:cxn>
                  <a:cxn ang="0">
                    <a:pos x="T8" y="T9"/>
                  </a:cxn>
                  <a:cxn ang="0">
                    <a:pos x="T10" y="T11"/>
                  </a:cxn>
                </a:cxnLst>
                <a:rect l="0" t="0" r="r" b="b"/>
                <a:pathLst>
                  <a:path w="520" h="232">
                    <a:moveTo>
                      <a:pt x="0" y="123"/>
                    </a:moveTo>
                    <a:cubicBezTo>
                      <a:pt x="0" y="123"/>
                      <a:pt x="219" y="157"/>
                      <a:pt x="397" y="69"/>
                    </a:cubicBezTo>
                    <a:cubicBezTo>
                      <a:pt x="397" y="69"/>
                      <a:pt x="499" y="0"/>
                      <a:pt x="520" y="53"/>
                    </a:cubicBezTo>
                    <a:cubicBezTo>
                      <a:pt x="483" y="141"/>
                      <a:pt x="483" y="141"/>
                      <a:pt x="483" y="141"/>
                    </a:cubicBezTo>
                    <a:cubicBezTo>
                      <a:pt x="483" y="141"/>
                      <a:pt x="323" y="232"/>
                      <a:pt x="115" y="179"/>
                    </a:cubicBezTo>
                    <a:cubicBezTo>
                      <a:pt x="115" y="179"/>
                      <a:pt x="53" y="157"/>
                      <a:pt x="0" y="1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4" name="Freeform 11"/>
              <p:cNvSpPr>
                <a:spLocks/>
              </p:cNvSpPr>
              <p:nvPr/>
            </p:nvSpPr>
            <p:spPr bwMode="auto">
              <a:xfrm>
                <a:off x="-6184900" y="2122488"/>
                <a:ext cx="2566987" cy="1030288"/>
              </a:xfrm>
              <a:custGeom>
                <a:avLst/>
                <a:gdLst>
                  <a:gd name="T0" fmla="*/ 0 w 683"/>
                  <a:gd name="T1" fmla="*/ 274 h 274"/>
                  <a:gd name="T2" fmla="*/ 496 w 683"/>
                  <a:gd name="T3" fmla="*/ 71 h 274"/>
                  <a:gd name="T4" fmla="*/ 683 w 683"/>
                  <a:gd name="T5" fmla="*/ 245 h 274"/>
                  <a:gd name="T6" fmla="*/ 566 w 683"/>
                  <a:gd name="T7" fmla="*/ 67 h 274"/>
                  <a:gd name="T8" fmla="*/ 217 w 683"/>
                  <a:gd name="T9" fmla="*/ 105 h 274"/>
                  <a:gd name="T10" fmla="*/ 105 w 683"/>
                  <a:gd name="T11" fmla="*/ 172 h 274"/>
                  <a:gd name="T12" fmla="*/ 0 w 683"/>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683" h="274">
                    <a:moveTo>
                      <a:pt x="0" y="274"/>
                    </a:moveTo>
                    <a:cubicBezTo>
                      <a:pt x="0" y="274"/>
                      <a:pt x="323" y="13"/>
                      <a:pt x="496" y="71"/>
                    </a:cubicBezTo>
                    <a:cubicBezTo>
                      <a:pt x="496" y="71"/>
                      <a:pt x="595" y="77"/>
                      <a:pt x="683" y="245"/>
                    </a:cubicBezTo>
                    <a:cubicBezTo>
                      <a:pt x="651" y="184"/>
                      <a:pt x="625" y="108"/>
                      <a:pt x="566" y="67"/>
                    </a:cubicBezTo>
                    <a:cubicBezTo>
                      <a:pt x="469" y="0"/>
                      <a:pt x="312" y="62"/>
                      <a:pt x="217" y="105"/>
                    </a:cubicBezTo>
                    <a:cubicBezTo>
                      <a:pt x="177" y="123"/>
                      <a:pt x="139" y="145"/>
                      <a:pt x="105" y="172"/>
                    </a:cubicBezTo>
                    <a:cubicBezTo>
                      <a:pt x="65" y="201"/>
                      <a:pt x="37" y="244"/>
                      <a:pt x="0" y="2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5" name="Freeform 12"/>
              <p:cNvSpPr>
                <a:spLocks/>
              </p:cNvSpPr>
              <p:nvPr/>
            </p:nvSpPr>
            <p:spPr bwMode="auto">
              <a:xfrm>
                <a:off x="-4483100" y="2389188"/>
                <a:ext cx="1906587" cy="2078038"/>
              </a:xfrm>
              <a:custGeom>
                <a:avLst/>
                <a:gdLst>
                  <a:gd name="T0" fmla="*/ 0 w 507"/>
                  <a:gd name="T1" fmla="*/ 0 h 552"/>
                  <a:gd name="T2" fmla="*/ 81 w 507"/>
                  <a:gd name="T3" fmla="*/ 120 h 552"/>
                  <a:gd name="T4" fmla="*/ 354 w 507"/>
                  <a:gd name="T5" fmla="*/ 507 h 552"/>
                  <a:gd name="T6" fmla="*/ 478 w 507"/>
                  <a:gd name="T7" fmla="*/ 552 h 552"/>
                  <a:gd name="T8" fmla="*/ 507 w 507"/>
                  <a:gd name="T9" fmla="*/ 550 h 552"/>
                  <a:gd name="T10" fmla="*/ 434 w 507"/>
                  <a:gd name="T11" fmla="*/ 488 h 552"/>
                  <a:gd name="T12" fmla="*/ 262 w 507"/>
                  <a:gd name="T13" fmla="*/ 234 h 552"/>
                  <a:gd name="T14" fmla="*/ 126 w 507"/>
                  <a:gd name="T15" fmla="*/ 52 h 552"/>
                  <a:gd name="T16" fmla="*/ 66 w 507"/>
                  <a:gd name="T17" fmla="*/ 16 h 552"/>
                  <a:gd name="T18" fmla="*/ 0 w 507"/>
                  <a:gd name="T19" fmla="*/ 0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7" h="552">
                    <a:moveTo>
                      <a:pt x="0" y="0"/>
                    </a:moveTo>
                    <a:cubicBezTo>
                      <a:pt x="29" y="39"/>
                      <a:pt x="55" y="79"/>
                      <a:pt x="81" y="120"/>
                    </a:cubicBezTo>
                    <a:cubicBezTo>
                      <a:pt x="165" y="255"/>
                      <a:pt x="178" y="406"/>
                      <a:pt x="354" y="507"/>
                    </a:cubicBezTo>
                    <a:cubicBezTo>
                      <a:pt x="395" y="531"/>
                      <a:pt x="430" y="550"/>
                      <a:pt x="478" y="552"/>
                    </a:cubicBezTo>
                    <a:cubicBezTo>
                      <a:pt x="478" y="552"/>
                      <a:pt x="507" y="550"/>
                      <a:pt x="507" y="550"/>
                    </a:cubicBezTo>
                    <a:cubicBezTo>
                      <a:pt x="488" y="551"/>
                      <a:pt x="445" y="499"/>
                      <a:pt x="434" y="488"/>
                    </a:cubicBezTo>
                    <a:cubicBezTo>
                      <a:pt x="361" y="411"/>
                      <a:pt x="308" y="330"/>
                      <a:pt x="262" y="234"/>
                    </a:cubicBezTo>
                    <a:cubicBezTo>
                      <a:pt x="230" y="166"/>
                      <a:pt x="185" y="100"/>
                      <a:pt x="126" y="52"/>
                    </a:cubicBezTo>
                    <a:cubicBezTo>
                      <a:pt x="107" y="37"/>
                      <a:pt x="88" y="24"/>
                      <a:pt x="66" y="16"/>
                    </a:cubicBezTo>
                    <a:cubicBezTo>
                      <a:pt x="55" y="11"/>
                      <a:pt x="5" y="7"/>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6" name="Freeform 13"/>
              <p:cNvSpPr>
                <a:spLocks/>
              </p:cNvSpPr>
              <p:nvPr/>
            </p:nvSpPr>
            <p:spPr bwMode="auto">
              <a:xfrm>
                <a:off x="-3592513" y="3857626"/>
                <a:ext cx="2008187" cy="815975"/>
              </a:xfrm>
              <a:custGeom>
                <a:avLst/>
                <a:gdLst>
                  <a:gd name="T0" fmla="*/ 1 w 534"/>
                  <a:gd name="T1" fmla="*/ 50 h 217"/>
                  <a:gd name="T2" fmla="*/ 0 w 534"/>
                  <a:gd name="T3" fmla="*/ 50 h 217"/>
                  <a:gd name="T4" fmla="*/ 251 w 534"/>
                  <a:gd name="T5" fmla="*/ 200 h 217"/>
                  <a:gd name="T6" fmla="*/ 404 w 534"/>
                  <a:gd name="T7" fmla="*/ 130 h 217"/>
                  <a:gd name="T8" fmla="*/ 534 w 534"/>
                  <a:gd name="T9" fmla="*/ 0 h 217"/>
                  <a:gd name="T10" fmla="*/ 287 w 534"/>
                  <a:gd name="T11" fmla="*/ 164 h 217"/>
                  <a:gd name="T12" fmla="*/ 1 w 534"/>
                  <a:gd name="T13" fmla="*/ 50 h 217"/>
                </a:gdLst>
                <a:ahLst/>
                <a:cxnLst>
                  <a:cxn ang="0">
                    <a:pos x="T0" y="T1"/>
                  </a:cxn>
                  <a:cxn ang="0">
                    <a:pos x="T2" y="T3"/>
                  </a:cxn>
                  <a:cxn ang="0">
                    <a:pos x="T4" y="T5"/>
                  </a:cxn>
                  <a:cxn ang="0">
                    <a:pos x="T6" y="T7"/>
                  </a:cxn>
                  <a:cxn ang="0">
                    <a:pos x="T8" y="T9"/>
                  </a:cxn>
                  <a:cxn ang="0">
                    <a:pos x="T10" y="T11"/>
                  </a:cxn>
                  <a:cxn ang="0">
                    <a:pos x="T12" y="T13"/>
                  </a:cxn>
                </a:cxnLst>
                <a:rect l="0" t="0" r="r" b="b"/>
                <a:pathLst>
                  <a:path w="534" h="217">
                    <a:moveTo>
                      <a:pt x="1" y="50"/>
                    </a:moveTo>
                    <a:cubicBezTo>
                      <a:pt x="1" y="50"/>
                      <a:pt x="0" y="50"/>
                      <a:pt x="0" y="50"/>
                    </a:cubicBezTo>
                    <a:cubicBezTo>
                      <a:pt x="61" y="136"/>
                      <a:pt x="135" y="217"/>
                      <a:pt x="251" y="200"/>
                    </a:cubicBezTo>
                    <a:cubicBezTo>
                      <a:pt x="307" y="192"/>
                      <a:pt x="359" y="162"/>
                      <a:pt x="404" y="130"/>
                    </a:cubicBezTo>
                    <a:cubicBezTo>
                      <a:pt x="455" y="93"/>
                      <a:pt x="488" y="41"/>
                      <a:pt x="534" y="0"/>
                    </a:cubicBezTo>
                    <a:cubicBezTo>
                      <a:pt x="463" y="64"/>
                      <a:pt x="384" y="142"/>
                      <a:pt x="287" y="164"/>
                    </a:cubicBezTo>
                    <a:cubicBezTo>
                      <a:pt x="178" y="190"/>
                      <a:pt x="83" y="111"/>
                      <a:pt x="1"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7" name="Freeform 14"/>
              <p:cNvSpPr>
                <a:spLocks/>
              </p:cNvSpPr>
              <p:nvPr/>
            </p:nvSpPr>
            <p:spPr bwMode="auto">
              <a:xfrm>
                <a:off x="-2551113" y="2932113"/>
                <a:ext cx="1849437" cy="1895475"/>
              </a:xfrm>
              <a:custGeom>
                <a:avLst/>
                <a:gdLst>
                  <a:gd name="T0" fmla="*/ 0 w 492"/>
                  <a:gd name="T1" fmla="*/ 448 h 504"/>
                  <a:gd name="T2" fmla="*/ 218 w 492"/>
                  <a:gd name="T3" fmla="*/ 419 h 504"/>
                  <a:gd name="T4" fmla="*/ 473 w 492"/>
                  <a:gd name="T5" fmla="*/ 91 h 504"/>
                  <a:gd name="T6" fmla="*/ 481 w 492"/>
                  <a:gd name="T7" fmla="*/ 59 h 504"/>
                  <a:gd name="T8" fmla="*/ 414 w 492"/>
                  <a:gd name="T9" fmla="*/ 0 h 504"/>
                  <a:gd name="T10" fmla="*/ 0 w 492"/>
                  <a:gd name="T11" fmla="*/ 448 h 504"/>
                </a:gdLst>
                <a:ahLst/>
                <a:cxnLst>
                  <a:cxn ang="0">
                    <a:pos x="T0" y="T1"/>
                  </a:cxn>
                  <a:cxn ang="0">
                    <a:pos x="T2" y="T3"/>
                  </a:cxn>
                  <a:cxn ang="0">
                    <a:pos x="T4" y="T5"/>
                  </a:cxn>
                  <a:cxn ang="0">
                    <a:pos x="T6" y="T7"/>
                  </a:cxn>
                  <a:cxn ang="0">
                    <a:pos x="T8" y="T9"/>
                  </a:cxn>
                  <a:cxn ang="0">
                    <a:pos x="T10" y="T11"/>
                  </a:cxn>
                </a:cxnLst>
                <a:rect l="0" t="0" r="r" b="b"/>
                <a:pathLst>
                  <a:path w="492" h="504">
                    <a:moveTo>
                      <a:pt x="0" y="448"/>
                    </a:moveTo>
                    <a:cubicBezTo>
                      <a:pt x="0" y="448"/>
                      <a:pt x="130" y="504"/>
                      <a:pt x="218" y="419"/>
                    </a:cubicBezTo>
                    <a:cubicBezTo>
                      <a:pt x="218" y="419"/>
                      <a:pt x="404" y="270"/>
                      <a:pt x="473" y="91"/>
                    </a:cubicBezTo>
                    <a:cubicBezTo>
                      <a:pt x="473" y="91"/>
                      <a:pt x="492" y="64"/>
                      <a:pt x="481" y="59"/>
                    </a:cubicBezTo>
                    <a:cubicBezTo>
                      <a:pt x="414" y="0"/>
                      <a:pt x="414" y="0"/>
                      <a:pt x="414" y="0"/>
                    </a:cubicBezTo>
                    <a:cubicBezTo>
                      <a:pt x="414" y="0"/>
                      <a:pt x="224" y="398"/>
                      <a:pt x="0" y="4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8" name="Freeform 15"/>
              <p:cNvSpPr>
                <a:spLocks/>
              </p:cNvSpPr>
              <p:nvPr/>
            </p:nvSpPr>
            <p:spPr bwMode="auto">
              <a:xfrm>
                <a:off x="-1754188" y="2682876"/>
                <a:ext cx="849312" cy="1181100"/>
              </a:xfrm>
              <a:custGeom>
                <a:avLst/>
                <a:gdLst>
                  <a:gd name="T0" fmla="*/ 0 w 226"/>
                  <a:gd name="T1" fmla="*/ 314 h 314"/>
                  <a:gd name="T2" fmla="*/ 122 w 226"/>
                  <a:gd name="T3" fmla="*/ 53 h 314"/>
                  <a:gd name="T4" fmla="*/ 189 w 226"/>
                  <a:gd name="T5" fmla="*/ 64 h 314"/>
                  <a:gd name="T6" fmla="*/ 0 w 226"/>
                  <a:gd name="T7" fmla="*/ 314 h 314"/>
                </a:gdLst>
                <a:ahLst/>
                <a:cxnLst>
                  <a:cxn ang="0">
                    <a:pos x="T0" y="T1"/>
                  </a:cxn>
                  <a:cxn ang="0">
                    <a:pos x="T2" y="T3"/>
                  </a:cxn>
                  <a:cxn ang="0">
                    <a:pos x="T4" y="T5"/>
                  </a:cxn>
                  <a:cxn ang="0">
                    <a:pos x="T6" y="T7"/>
                  </a:cxn>
                </a:cxnLst>
                <a:rect l="0" t="0" r="r" b="b"/>
                <a:pathLst>
                  <a:path w="226" h="314">
                    <a:moveTo>
                      <a:pt x="0" y="314"/>
                    </a:moveTo>
                    <a:cubicBezTo>
                      <a:pt x="0" y="314"/>
                      <a:pt x="226" y="56"/>
                      <a:pt x="122" y="53"/>
                    </a:cubicBezTo>
                    <a:cubicBezTo>
                      <a:pt x="122" y="53"/>
                      <a:pt x="181" y="0"/>
                      <a:pt x="189" y="64"/>
                    </a:cubicBezTo>
                    <a:cubicBezTo>
                      <a:pt x="189" y="64"/>
                      <a:pt x="80" y="277"/>
                      <a:pt x="0" y="3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59" name="Freeform 16"/>
              <p:cNvSpPr>
                <a:spLocks/>
              </p:cNvSpPr>
              <p:nvPr/>
            </p:nvSpPr>
            <p:spPr bwMode="auto">
              <a:xfrm>
                <a:off x="-5448300" y="1908176"/>
                <a:ext cx="1390650" cy="466725"/>
              </a:xfrm>
              <a:custGeom>
                <a:avLst/>
                <a:gdLst>
                  <a:gd name="T0" fmla="*/ 59 w 370"/>
                  <a:gd name="T1" fmla="*/ 62 h 124"/>
                  <a:gd name="T2" fmla="*/ 370 w 370"/>
                  <a:gd name="T3" fmla="*/ 124 h 124"/>
                  <a:gd name="T4" fmla="*/ 219 w 370"/>
                  <a:gd name="T5" fmla="*/ 110 h 124"/>
                  <a:gd name="T6" fmla="*/ 0 w 370"/>
                  <a:gd name="T7" fmla="*/ 123 h 124"/>
                  <a:gd name="T8" fmla="*/ 59 w 370"/>
                  <a:gd name="T9" fmla="*/ 62 h 124"/>
                </a:gdLst>
                <a:ahLst/>
                <a:cxnLst>
                  <a:cxn ang="0">
                    <a:pos x="T0" y="T1"/>
                  </a:cxn>
                  <a:cxn ang="0">
                    <a:pos x="T2" y="T3"/>
                  </a:cxn>
                  <a:cxn ang="0">
                    <a:pos x="T4" y="T5"/>
                  </a:cxn>
                  <a:cxn ang="0">
                    <a:pos x="T6" y="T7"/>
                  </a:cxn>
                  <a:cxn ang="0">
                    <a:pos x="T8" y="T9"/>
                  </a:cxn>
                </a:cxnLst>
                <a:rect l="0" t="0" r="r" b="b"/>
                <a:pathLst>
                  <a:path w="370" h="124">
                    <a:moveTo>
                      <a:pt x="59" y="62"/>
                    </a:moveTo>
                    <a:cubicBezTo>
                      <a:pt x="59" y="62"/>
                      <a:pt x="202" y="0"/>
                      <a:pt x="370" y="124"/>
                    </a:cubicBezTo>
                    <a:cubicBezTo>
                      <a:pt x="219" y="110"/>
                      <a:pt x="219" y="110"/>
                      <a:pt x="219" y="110"/>
                    </a:cubicBezTo>
                    <a:cubicBezTo>
                      <a:pt x="0" y="123"/>
                      <a:pt x="0" y="123"/>
                      <a:pt x="0" y="123"/>
                    </a:cubicBezTo>
                    <a:lnTo>
                      <a:pt x="59"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60" name="Freeform 17"/>
              <p:cNvSpPr>
                <a:spLocks/>
              </p:cNvSpPr>
              <p:nvPr/>
            </p:nvSpPr>
            <p:spPr bwMode="auto">
              <a:xfrm>
                <a:off x="-3527425" y="3051176"/>
                <a:ext cx="1866900" cy="722313"/>
              </a:xfrm>
              <a:custGeom>
                <a:avLst/>
                <a:gdLst>
                  <a:gd name="T0" fmla="*/ 0 w 497"/>
                  <a:gd name="T1" fmla="*/ 0 h 192"/>
                  <a:gd name="T2" fmla="*/ 497 w 497"/>
                  <a:gd name="T3" fmla="*/ 94 h 192"/>
                  <a:gd name="T4" fmla="*/ 385 w 497"/>
                  <a:gd name="T5" fmla="*/ 118 h 192"/>
                  <a:gd name="T6" fmla="*/ 268 w 497"/>
                  <a:gd name="T7" fmla="*/ 115 h 192"/>
                  <a:gd name="T8" fmla="*/ 68 w 497"/>
                  <a:gd name="T9" fmla="*/ 35 h 192"/>
                  <a:gd name="T10" fmla="*/ 0 w 497"/>
                  <a:gd name="T11" fmla="*/ 0 h 192"/>
                </a:gdLst>
                <a:ahLst/>
                <a:cxnLst>
                  <a:cxn ang="0">
                    <a:pos x="T0" y="T1"/>
                  </a:cxn>
                  <a:cxn ang="0">
                    <a:pos x="T2" y="T3"/>
                  </a:cxn>
                  <a:cxn ang="0">
                    <a:pos x="T4" y="T5"/>
                  </a:cxn>
                  <a:cxn ang="0">
                    <a:pos x="T6" y="T7"/>
                  </a:cxn>
                  <a:cxn ang="0">
                    <a:pos x="T8" y="T9"/>
                  </a:cxn>
                  <a:cxn ang="0">
                    <a:pos x="T10" y="T11"/>
                  </a:cxn>
                </a:cxnLst>
                <a:rect l="0" t="0" r="r" b="b"/>
                <a:pathLst>
                  <a:path w="497" h="192">
                    <a:moveTo>
                      <a:pt x="0" y="0"/>
                    </a:moveTo>
                    <a:cubicBezTo>
                      <a:pt x="0" y="0"/>
                      <a:pt x="166" y="192"/>
                      <a:pt x="497" y="94"/>
                    </a:cubicBezTo>
                    <a:cubicBezTo>
                      <a:pt x="385" y="118"/>
                      <a:pt x="385" y="118"/>
                      <a:pt x="385" y="118"/>
                    </a:cubicBezTo>
                    <a:cubicBezTo>
                      <a:pt x="268" y="115"/>
                      <a:pt x="268" y="115"/>
                      <a:pt x="268" y="115"/>
                    </a:cubicBezTo>
                    <a:cubicBezTo>
                      <a:pt x="68" y="35"/>
                      <a:pt x="68" y="35"/>
                      <a:pt x="68" y="35"/>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sp>
            <p:nvSpPr>
              <p:cNvPr id="61" name="Freeform 18"/>
              <p:cNvSpPr>
                <a:spLocks/>
              </p:cNvSpPr>
              <p:nvPr/>
            </p:nvSpPr>
            <p:spPr bwMode="auto">
              <a:xfrm>
                <a:off x="-1690688" y="2671763"/>
                <a:ext cx="631825" cy="450850"/>
              </a:xfrm>
              <a:custGeom>
                <a:avLst/>
                <a:gdLst>
                  <a:gd name="T0" fmla="*/ 0 w 168"/>
                  <a:gd name="T1" fmla="*/ 96 h 120"/>
                  <a:gd name="T2" fmla="*/ 168 w 168"/>
                  <a:gd name="T3" fmla="*/ 48 h 120"/>
                  <a:gd name="T4" fmla="*/ 109 w 168"/>
                  <a:gd name="T5" fmla="*/ 109 h 120"/>
                  <a:gd name="T6" fmla="*/ 13 w 168"/>
                  <a:gd name="T7" fmla="*/ 120 h 120"/>
                  <a:gd name="T8" fmla="*/ 0 w 168"/>
                  <a:gd name="T9" fmla="*/ 96 h 120"/>
                </a:gdLst>
                <a:ahLst/>
                <a:cxnLst>
                  <a:cxn ang="0">
                    <a:pos x="T0" y="T1"/>
                  </a:cxn>
                  <a:cxn ang="0">
                    <a:pos x="T2" y="T3"/>
                  </a:cxn>
                  <a:cxn ang="0">
                    <a:pos x="T4" y="T5"/>
                  </a:cxn>
                  <a:cxn ang="0">
                    <a:pos x="T6" y="T7"/>
                  </a:cxn>
                  <a:cxn ang="0">
                    <a:pos x="T8" y="T9"/>
                  </a:cxn>
                </a:cxnLst>
                <a:rect l="0" t="0" r="r" b="b"/>
                <a:pathLst>
                  <a:path w="168" h="120">
                    <a:moveTo>
                      <a:pt x="0" y="96"/>
                    </a:moveTo>
                    <a:cubicBezTo>
                      <a:pt x="0" y="96"/>
                      <a:pt x="123" y="0"/>
                      <a:pt x="168" y="48"/>
                    </a:cubicBezTo>
                    <a:cubicBezTo>
                      <a:pt x="109" y="109"/>
                      <a:pt x="109" y="109"/>
                      <a:pt x="109" y="109"/>
                    </a:cubicBezTo>
                    <a:cubicBezTo>
                      <a:pt x="13" y="120"/>
                      <a:pt x="13" y="120"/>
                      <a:pt x="13" y="120"/>
                    </a:cubicBezTo>
                    <a:lnTo>
                      <a:pt x="0"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p>
                <a:endParaRPr lang="en-US" sz="1350" dirty="0"/>
              </a:p>
            </p:txBody>
          </p:sp>
        </p:grpSp>
      </p:grpSp>
      <p:grpSp>
        <p:nvGrpSpPr>
          <p:cNvPr id="6" name="Group 5"/>
          <p:cNvGrpSpPr/>
          <p:nvPr/>
        </p:nvGrpSpPr>
        <p:grpSpPr>
          <a:xfrm>
            <a:off x="6302899" y="1345679"/>
            <a:ext cx="1563427" cy="1204008"/>
            <a:chOff x="8389501" y="1312638"/>
            <a:chExt cx="2797810" cy="2154616"/>
          </a:xfrm>
        </p:grpSpPr>
        <p:sp>
          <p:nvSpPr>
            <p:cNvPr id="43" name="Rectangle 42"/>
            <p:cNvSpPr/>
            <p:nvPr/>
          </p:nvSpPr>
          <p:spPr bwMode="auto">
            <a:xfrm>
              <a:off x="8389501" y="1312638"/>
              <a:ext cx="2797810" cy="215461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6" name="Rectangle 45"/>
            <p:cNvSpPr/>
            <p:nvPr/>
          </p:nvSpPr>
          <p:spPr>
            <a:xfrm>
              <a:off x="8389501" y="2810451"/>
              <a:ext cx="2797810" cy="656803"/>
            </a:xfrm>
            <a:prstGeom prst="rect">
              <a:avLst/>
            </a:prstGeom>
          </p:spPr>
          <p:txBody>
            <a:bodyPr wrap="square" lIns="68570" anchor="b" anchorCtr="0">
              <a:spAutoFit/>
            </a:bodyPr>
            <a:lstStyle/>
            <a:p>
              <a:pPr defTabSz="685709">
                <a:lnSpc>
                  <a:spcPct val="85000"/>
                </a:lnSpc>
                <a:defRPr/>
              </a:pPr>
              <a:r>
                <a:rPr lang="en-US" sz="2100" kern="0" spc="-52" dirty="0">
                  <a:solidFill>
                    <a:schemeClr val="bg1">
                      <a:alpha val="99000"/>
                    </a:schemeClr>
                  </a:solidFill>
                  <a:latin typeface="Segoe UI Light" pitchFamily="34" charset="0"/>
                  <a:ea typeface="Segoe UI" pitchFamily="34" charset="0"/>
                  <a:cs typeface="Segoe UI" pitchFamily="34" charset="0"/>
                </a:rPr>
                <a:t>Solid</a:t>
              </a:r>
            </a:p>
          </p:txBody>
        </p:sp>
        <p:pic>
          <p:nvPicPr>
            <p:cNvPr id="62" name="Picture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5410" y="1647449"/>
              <a:ext cx="1938150" cy="1161538"/>
            </a:xfrm>
            <a:prstGeom prst="rect">
              <a:avLst/>
            </a:prstGeom>
          </p:spPr>
        </p:pic>
      </p:grpSp>
      <p:grpSp>
        <p:nvGrpSpPr>
          <p:cNvPr id="5" name="Group 4"/>
          <p:cNvGrpSpPr/>
          <p:nvPr/>
        </p:nvGrpSpPr>
        <p:grpSpPr>
          <a:xfrm>
            <a:off x="3546422" y="1345679"/>
            <a:ext cx="1563427" cy="1204008"/>
            <a:chOff x="4690869" y="1312638"/>
            <a:chExt cx="2797810" cy="2154616"/>
          </a:xfrm>
        </p:grpSpPr>
        <p:sp>
          <p:nvSpPr>
            <p:cNvPr id="42" name="Rectangle 41"/>
            <p:cNvSpPr/>
            <p:nvPr/>
          </p:nvSpPr>
          <p:spPr bwMode="auto">
            <a:xfrm>
              <a:off x="4690869" y="1312638"/>
              <a:ext cx="2797810" cy="215461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sp>
          <p:nvSpPr>
            <p:cNvPr id="45" name="Rectangle 44"/>
            <p:cNvSpPr/>
            <p:nvPr/>
          </p:nvSpPr>
          <p:spPr>
            <a:xfrm>
              <a:off x="4690869" y="2810451"/>
              <a:ext cx="2797810" cy="656803"/>
            </a:xfrm>
            <a:prstGeom prst="rect">
              <a:avLst/>
            </a:prstGeom>
          </p:spPr>
          <p:txBody>
            <a:bodyPr wrap="square" lIns="68570" anchor="b" anchorCtr="0">
              <a:spAutoFit/>
            </a:bodyPr>
            <a:lstStyle/>
            <a:p>
              <a:pPr defTabSz="685709">
                <a:lnSpc>
                  <a:spcPct val="85000"/>
                </a:lnSpc>
                <a:defRPr/>
              </a:pPr>
              <a:r>
                <a:rPr lang="en-US" sz="2100" kern="0" spc="-52" dirty="0">
                  <a:solidFill>
                    <a:schemeClr val="bg1">
                      <a:alpha val="99000"/>
                    </a:schemeClr>
                  </a:solidFill>
                  <a:latin typeface="Segoe UI Light" pitchFamily="34" charset="0"/>
                  <a:ea typeface="Segoe UI" pitchFamily="34" charset="0"/>
                  <a:cs typeface="Segoe UI" pitchFamily="34" charset="0"/>
                </a:rPr>
                <a:t>Open</a:t>
              </a:r>
            </a:p>
          </p:txBody>
        </p:sp>
        <p:pic>
          <p:nvPicPr>
            <p:cNvPr id="63" name="Picture 6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7968" y="1671867"/>
              <a:ext cx="1536588" cy="1112702"/>
            </a:xfrm>
            <a:prstGeom prst="rect">
              <a:avLst/>
            </a:prstGeom>
          </p:spPr>
        </p:pic>
      </p:grpSp>
    </p:spTree>
    <p:extLst>
      <p:ext uri="{BB962C8B-B14F-4D97-AF65-F5344CB8AC3E}">
        <p14:creationId xmlns:p14="http://schemas.microsoft.com/office/powerpoint/2010/main" val="39438098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oiding </a:t>
            </a:r>
            <a:r>
              <a:rPr lang="en-US" dirty="0" smtClean="0">
                <a:solidFill>
                  <a:schemeClr val="accent2"/>
                </a:solidFill>
              </a:rPr>
              <a:t>Lock-In</a:t>
            </a:r>
            <a:endParaRPr lang="en-US" dirty="0"/>
          </a:p>
        </p:txBody>
      </p:sp>
      <p:sp>
        <p:nvSpPr>
          <p:cNvPr id="3" name="Text Placeholder 2"/>
          <p:cNvSpPr>
            <a:spLocks noGrp="1"/>
          </p:cNvSpPr>
          <p:nvPr>
            <p:ph type="body" sz="quarter" idx="15"/>
          </p:nvPr>
        </p:nvSpPr>
        <p:spPr/>
        <p:txBody>
          <a:bodyPr/>
          <a:lstStyle/>
          <a:p>
            <a:r>
              <a:rPr lang="en-US" dirty="0"/>
              <a:t>Windows Virtual machines can move freely between all 3 clouds. </a:t>
            </a:r>
          </a:p>
          <a:p>
            <a:endParaRPr lang="en-US" dirty="0"/>
          </a:p>
        </p:txBody>
      </p:sp>
      <p:sp>
        <p:nvSpPr>
          <p:cNvPr id="45" name="Rounded Rectangle 44"/>
          <p:cNvSpPr/>
          <p:nvPr/>
        </p:nvSpPr>
        <p:spPr bwMode="auto">
          <a:xfrm>
            <a:off x="605364" y="1378889"/>
            <a:ext cx="2263681" cy="1437768"/>
          </a:xfrm>
          <a:prstGeom prst="roundRect">
            <a:avLst/>
          </a:prstGeom>
          <a:solidFill>
            <a:schemeClr val="accent2">
              <a:lumMod val="20000"/>
              <a:lumOff val="80000"/>
              <a:alpha val="94118"/>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350" dirty="0"/>
          </a:p>
        </p:txBody>
      </p:sp>
      <p:sp>
        <p:nvSpPr>
          <p:cNvPr id="46" name="TextBox 45"/>
          <p:cNvSpPr txBox="1"/>
          <p:nvPr/>
        </p:nvSpPr>
        <p:spPr>
          <a:xfrm>
            <a:off x="487442" y="1176661"/>
            <a:ext cx="2128432" cy="1661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solidFill>
              </a:rPr>
              <a:t>Windows Azure</a:t>
            </a:r>
          </a:p>
        </p:txBody>
      </p:sp>
      <p:grpSp>
        <p:nvGrpSpPr>
          <p:cNvPr id="47" name="Group 46"/>
          <p:cNvGrpSpPr/>
          <p:nvPr/>
        </p:nvGrpSpPr>
        <p:grpSpPr>
          <a:xfrm>
            <a:off x="1583564" y="2110435"/>
            <a:ext cx="542113" cy="467339"/>
            <a:chOff x="328301" y="3881331"/>
            <a:chExt cx="722921" cy="623207"/>
          </a:xfrm>
        </p:grpSpPr>
        <p:sp>
          <p:nvSpPr>
            <p:cNvPr id="50" name="Hexagon 49"/>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51" name="Picture 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52" name="Group 51"/>
          <p:cNvGrpSpPr/>
          <p:nvPr/>
        </p:nvGrpSpPr>
        <p:grpSpPr>
          <a:xfrm>
            <a:off x="1069286" y="2110435"/>
            <a:ext cx="542113" cy="467339"/>
            <a:chOff x="328301" y="3881331"/>
            <a:chExt cx="722921" cy="623207"/>
          </a:xfrm>
        </p:grpSpPr>
        <p:sp>
          <p:nvSpPr>
            <p:cNvPr id="57" name="Hexagon 56"/>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61" name="Picture 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5" name="Group 64"/>
          <p:cNvGrpSpPr/>
          <p:nvPr/>
        </p:nvGrpSpPr>
        <p:grpSpPr>
          <a:xfrm>
            <a:off x="1322418" y="1667860"/>
            <a:ext cx="542113" cy="467339"/>
            <a:chOff x="328301" y="3881331"/>
            <a:chExt cx="722921" cy="623207"/>
          </a:xfrm>
        </p:grpSpPr>
        <p:sp>
          <p:nvSpPr>
            <p:cNvPr id="88" name="Hexagon 87"/>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89" name="Pictur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90" name="Group 89"/>
          <p:cNvGrpSpPr/>
          <p:nvPr/>
        </p:nvGrpSpPr>
        <p:grpSpPr>
          <a:xfrm>
            <a:off x="809277" y="1670262"/>
            <a:ext cx="542113" cy="467339"/>
            <a:chOff x="328301" y="3881331"/>
            <a:chExt cx="722921" cy="623207"/>
          </a:xfrm>
        </p:grpSpPr>
        <p:sp>
          <p:nvSpPr>
            <p:cNvPr id="91" name="Hexagon 90"/>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92" name="Picture 9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93" name="Group 92"/>
          <p:cNvGrpSpPr/>
          <p:nvPr/>
        </p:nvGrpSpPr>
        <p:grpSpPr>
          <a:xfrm>
            <a:off x="1835703" y="1659078"/>
            <a:ext cx="542113" cy="467339"/>
            <a:chOff x="328301" y="3881331"/>
            <a:chExt cx="722921" cy="623207"/>
          </a:xfrm>
        </p:grpSpPr>
        <p:sp>
          <p:nvSpPr>
            <p:cNvPr id="94" name="Hexagon 93"/>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96" name="Rounded Rectangle 95"/>
          <p:cNvSpPr/>
          <p:nvPr/>
        </p:nvSpPr>
        <p:spPr bwMode="auto">
          <a:xfrm>
            <a:off x="3092915" y="3450145"/>
            <a:ext cx="2689245" cy="1474694"/>
          </a:xfrm>
          <a:prstGeom prst="roundRect">
            <a:avLst>
              <a:gd name="adj" fmla="val 6579"/>
            </a:avLst>
          </a:prstGeom>
          <a:solidFill>
            <a:schemeClr val="accent2">
              <a:lumMod val="20000"/>
              <a:lumOff val="80000"/>
            </a:schemeClr>
          </a:solidFill>
          <a:ln w="2857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grpSp>
        <p:nvGrpSpPr>
          <p:cNvPr id="97" name="Group 96"/>
          <p:cNvGrpSpPr/>
          <p:nvPr/>
        </p:nvGrpSpPr>
        <p:grpSpPr>
          <a:xfrm>
            <a:off x="3268973" y="3563719"/>
            <a:ext cx="542113" cy="467339"/>
            <a:chOff x="328301" y="3881331"/>
            <a:chExt cx="722921" cy="623207"/>
          </a:xfrm>
        </p:grpSpPr>
        <p:sp>
          <p:nvSpPr>
            <p:cNvPr id="98" name="Hexagon 97"/>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99"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00" name="TextBox 99"/>
          <p:cNvSpPr txBox="1"/>
          <p:nvPr/>
        </p:nvSpPr>
        <p:spPr>
          <a:xfrm>
            <a:off x="3377005" y="3194130"/>
            <a:ext cx="2128432" cy="1661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solidFill>
              </a:rPr>
              <a:t>Customer Data Center</a:t>
            </a:r>
          </a:p>
        </p:txBody>
      </p:sp>
      <p:grpSp>
        <p:nvGrpSpPr>
          <p:cNvPr id="101" name="Group 100"/>
          <p:cNvGrpSpPr/>
          <p:nvPr/>
        </p:nvGrpSpPr>
        <p:grpSpPr>
          <a:xfrm>
            <a:off x="4274387" y="3563719"/>
            <a:ext cx="542113" cy="467339"/>
            <a:chOff x="328301" y="3881331"/>
            <a:chExt cx="722921" cy="623207"/>
          </a:xfrm>
        </p:grpSpPr>
        <p:sp>
          <p:nvSpPr>
            <p:cNvPr id="102" name="Hexagon 101"/>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03" name="Picture 10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104" name="Group 103"/>
          <p:cNvGrpSpPr/>
          <p:nvPr/>
        </p:nvGrpSpPr>
        <p:grpSpPr>
          <a:xfrm>
            <a:off x="3772354" y="3563719"/>
            <a:ext cx="542113" cy="467339"/>
            <a:chOff x="328301" y="3881331"/>
            <a:chExt cx="722921" cy="623207"/>
          </a:xfrm>
        </p:grpSpPr>
        <p:sp>
          <p:nvSpPr>
            <p:cNvPr id="105" name="Hexagon 104"/>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06" name="Picture 10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107" name="Group 106"/>
          <p:cNvGrpSpPr/>
          <p:nvPr/>
        </p:nvGrpSpPr>
        <p:grpSpPr>
          <a:xfrm>
            <a:off x="3334788" y="4135848"/>
            <a:ext cx="2211025" cy="648651"/>
            <a:chOff x="3849232" y="5927272"/>
            <a:chExt cx="2948451" cy="864991"/>
          </a:xfrm>
        </p:grpSpPr>
        <p:grpSp>
          <p:nvGrpSpPr>
            <p:cNvPr id="108" name="Group 107"/>
            <p:cNvGrpSpPr/>
            <p:nvPr/>
          </p:nvGrpSpPr>
          <p:grpSpPr>
            <a:xfrm>
              <a:off x="3849232" y="6384280"/>
              <a:ext cx="2948451" cy="407983"/>
              <a:chOff x="-830593" y="6105876"/>
              <a:chExt cx="5019459" cy="694552"/>
            </a:xfrm>
          </p:grpSpPr>
          <p:pic>
            <p:nvPicPr>
              <p:cNvPr id="113" name="Picture 11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114" name="Picture 11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115" name="Picture 11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nvGrpSpPr>
            <p:cNvPr id="109" name="Group 108"/>
            <p:cNvGrpSpPr/>
            <p:nvPr/>
          </p:nvGrpSpPr>
          <p:grpSpPr>
            <a:xfrm>
              <a:off x="3849232" y="5927272"/>
              <a:ext cx="2948451" cy="407983"/>
              <a:chOff x="-830593" y="6105876"/>
              <a:chExt cx="5019459" cy="694552"/>
            </a:xfrm>
          </p:grpSpPr>
          <p:pic>
            <p:nvPicPr>
              <p:cNvPr id="110" name="Picture 10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111" name="Picture 11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112" name="Picture 11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sp>
        <p:nvSpPr>
          <p:cNvPr id="116" name="Rounded Rectangle 115"/>
          <p:cNvSpPr/>
          <p:nvPr/>
        </p:nvSpPr>
        <p:spPr bwMode="auto">
          <a:xfrm>
            <a:off x="6111302" y="1502873"/>
            <a:ext cx="1956717" cy="1443143"/>
          </a:xfrm>
          <a:prstGeom prst="roundRect">
            <a:avLst/>
          </a:prstGeom>
          <a:solidFill>
            <a:schemeClr val="accent2">
              <a:lumMod val="20000"/>
              <a:lumOff val="80000"/>
              <a:alpha val="94118"/>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350" dirty="0"/>
          </a:p>
        </p:txBody>
      </p:sp>
      <p:grpSp>
        <p:nvGrpSpPr>
          <p:cNvPr id="117" name="Group 116"/>
          <p:cNvGrpSpPr/>
          <p:nvPr/>
        </p:nvGrpSpPr>
        <p:grpSpPr>
          <a:xfrm>
            <a:off x="7140194" y="2122764"/>
            <a:ext cx="542113" cy="467339"/>
            <a:chOff x="328301" y="3881331"/>
            <a:chExt cx="722921" cy="623207"/>
          </a:xfrm>
        </p:grpSpPr>
        <p:sp>
          <p:nvSpPr>
            <p:cNvPr id="118" name="Hexagon 117"/>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19" name="Picture 1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120" name="Group 119"/>
          <p:cNvGrpSpPr/>
          <p:nvPr/>
        </p:nvGrpSpPr>
        <p:grpSpPr>
          <a:xfrm>
            <a:off x="6625917" y="2122764"/>
            <a:ext cx="542113" cy="467339"/>
            <a:chOff x="328301" y="3881331"/>
            <a:chExt cx="722921" cy="623207"/>
          </a:xfrm>
        </p:grpSpPr>
        <p:sp>
          <p:nvSpPr>
            <p:cNvPr id="121" name="Hexagon 120"/>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22" name="Picture 1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123" name="Group 122"/>
          <p:cNvGrpSpPr/>
          <p:nvPr/>
        </p:nvGrpSpPr>
        <p:grpSpPr>
          <a:xfrm>
            <a:off x="6884595" y="1672507"/>
            <a:ext cx="542113" cy="467339"/>
            <a:chOff x="328301" y="3881331"/>
            <a:chExt cx="722921" cy="623207"/>
          </a:xfrm>
        </p:grpSpPr>
        <p:sp>
          <p:nvSpPr>
            <p:cNvPr id="124" name="Hexagon 123"/>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25" name="Picture 1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26" name="TextBox 125"/>
          <p:cNvSpPr txBox="1"/>
          <p:nvPr/>
        </p:nvSpPr>
        <p:spPr>
          <a:xfrm>
            <a:off x="6184704" y="1326558"/>
            <a:ext cx="2128432" cy="16619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solidFill>
              </a:rPr>
              <a:t>Other Service Providers</a:t>
            </a:r>
          </a:p>
        </p:txBody>
      </p:sp>
      <p:grpSp>
        <p:nvGrpSpPr>
          <p:cNvPr id="127" name="Group 126"/>
          <p:cNvGrpSpPr/>
          <p:nvPr/>
        </p:nvGrpSpPr>
        <p:grpSpPr>
          <a:xfrm>
            <a:off x="4063759" y="1972393"/>
            <a:ext cx="542113" cy="467339"/>
            <a:chOff x="328301" y="3881331"/>
            <a:chExt cx="722921" cy="623207"/>
          </a:xfrm>
        </p:grpSpPr>
        <p:sp>
          <p:nvSpPr>
            <p:cNvPr id="128" name="Hexagon 127"/>
            <p:cNvSpPr/>
            <p:nvPr/>
          </p:nvSpPr>
          <p:spPr bwMode="auto">
            <a:xfrm rot="19780699">
              <a:off x="328301" y="3881331"/>
              <a:ext cx="722921" cy="623207"/>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rgbClr val="FFFFFF"/>
                    </a:gs>
                    <a:gs pos="100000">
                      <a:srgbClr val="FFFFFF"/>
                    </a:gs>
                  </a:gsLst>
                  <a:lin ang="5400000" scaled="0"/>
                </a:gradFill>
              </a:endParaRPr>
            </a:p>
          </p:txBody>
        </p:sp>
        <p:pic>
          <p:nvPicPr>
            <p:cNvPr id="129" name="Picture 1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130" name="TextBox 129"/>
          <p:cNvSpPr txBox="1"/>
          <p:nvPr/>
        </p:nvSpPr>
        <p:spPr>
          <a:xfrm>
            <a:off x="3315545" y="1534966"/>
            <a:ext cx="2128432" cy="373949"/>
          </a:xfrm>
          <a:prstGeom prst="rect">
            <a:avLst/>
          </a:prstGeom>
          <a:noFill/>
        </p:spPr>
        <p:txBody>
          <a:bodyPr wrap="square" lIns="0" tIns="0" rIns="0" bIns="0" rtlCol="0">
            <a:spAutoFit/>
          </a:bodyPr>
          <a:lstStyle/>
          <a:p>
            <a:pPr algn="ctr">
              <a:lnSpc>
                <a:spcPct val="80000"/>
              </a:lnSpc>
              <a:spcBef>
                <a:spcPct val="20000"/>
              </a:spcBef>
              <a:buSzPct val="80000"/>
            </a:pPr>
            <a:r>
              <a:rPr lang="en-US" sz="1350" dirty="0">
                <a:solidFill>
                  <a:schemeClr val="bg1"/>
                </a:solidFill>
              </a:rPr>
              <a:t>Windows</a:t>
            </a:r>
          </a:p>
          <a:p>
            <a:pPr algn="ctr">
              <a:lnSpc>
                <a:spcPct val="80000"/>
              </a:lnSpc>
              <a:spcBef>
                <a:spcPct val="20000"/>
              </a:spcBef>
              <a:buSzPct val="80000"/>
            </a:pPr>
            <a:r>
              <a:rPr lang="en-US" sz="1350" dirty="0">
                <a:solidFill>
                  <a:schemeClr val="bg1"/>
                </a:solidFill>
              </a:rPr>
              <a:t>Virtual Machine</a:t>
            </a:r>
          </a:p>
        </p:txBody>
      </p:sp>
      <p:cxnSp>
        <p:nvCxnSpPr>
          <p:cNvPr id="24" name="Straight Arrow Connector 23"/>
          <p:cNvCxnSpPr/>
          <p:nvPr/>
        </p:nvCxnSpPr>
        <p:spPr>
          <a:xfrm>
            <a:off x="4731185" y="2206061"/>
            <a:ext cx="921794" cy="0"/>
          </a:xfrm>
          <a:prstGeom prst="straightConnector1">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4" name="Straight Arrow Connector 133"/>
          <p:cNvCxnSpPr/>
          <p:nvPr/>
        </p:nvCxnSpPr>
        <p:spPr>
          <a:xfrm>
            <a:off x="3015210" y="2179020"/>
            <a:ext cx="921794" cy="0"/>
          </a:xfrm>
          <a:prstGeom prst="straightConnector1">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a:off x="4334815" y="2682652"/>
            <a:ext cx="0" cy="444246"/>
          </a:xfrm>
          <a:prstGeom prst="straightConnector1">
            <a:avLst/>
          </a:prstGeom>
          <a:ln w="381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660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exibility of Azure </a:t>
            </a:r>
            <a:r>
              <a:rPr lang="en-US" dirty="0" smtClean="0">
                <a:solidFill>
                  <a:schemeClr val="accent2"/>
                </a:solidFill>
              </a:rPr>
              <a:t>Virtual Machines</a:t>
            </a:r>
            <a:endParaRPr lang="en-US" dirty="0">
              <a:solidFill>
                <a:schemeClr val="accent2"/>
              </a:solidFill>
              <a:latin typeface="+mj-lt"/>
            </a:endParaRPr>
          </a:p>
        </p:txBody>
      </p:sp>
      <p:sp>
        <p:nvSpPr>
          <p:cNvPr id="3" name="Slide Number Placeholder 2"/>
          <p:cNvSpPr>
            <a:spLocks noGrp="1"/>
          </p:cNvSpPr>
          <p:nvPr>
            <p:ph type="sldNum" sz="quarter" idx="4294967295"/>
          </p:nvPr>
        </p:nvSpPr>
        <p:spPr>
          <a:xfrm>
            <a:off x="8844026" y="4844328"/>
            <a:ext cx="299975" cy="273129"/>
          </a:xfrm>
          <a:prstGeom prst="rect">
            <a:avLst/>
          </a:prstGeom>
        </p:spPr>
        <p:txBody>
          <a:bodyPr/>
          <a:lstStyle/>
          <a:p>
            <a:fld id="{B60359E2-F1E6-40F3-81C3-5A646FA87138}" type="slidenum">
              <a:rPr lang="en-US" smtClean="0"/>
              <a:pPr/>
              <a:t>23</a:t>
            </a:fld>
            <a:endParaRPr lang="en-US" dirty="0"/>
          </a:p>
        </p:txBody>
      </p:sp>
      <p:sp>
        <p:nvSpPr>
          <p:cNvPr id="18" name="Rectangle 17"/>
          <p:cNvSpPr/>
          <p:nvPr/>
        </p:nvSpPr>
        <p:spPr bwMode="auto">
          <a:xfrm>
            <a:off x="6074531" y="828924"/>
            <a:ext cx="2686785" cy="752367"/>
          </a:xfrm>
          <a:prstGeom prst="rect">
            <a:avLst/>
          </a:prstGeom>
          <a:solidFill>
            <a:schemeClr val="accent1"/>
          </a:solidFill>
          <a:ln w="9525" cap="flat" cmpd="sng" algn="ctr">
            <a:noFill/>
            <a:prstDash val="solid"/>
            <a:headEnd type="none" w="med" len="med"/>
            <a:tailEnd type="none" w="med" len="med"/>
          </a:ln>
          <a:effectLst/>
        </p:spPr>
        <p:txBody>
          <a:bodyPr vert="horz" wrap="square" lIns="137141" tIns="34285" rIns="68570" bIns="34285" numCol="1" rtlCol="0" anchor="ctr" anchorCtr="0" compatLnSpc="1">
            <a:prstTxWarp prst="textNoShape">
              <a:avLst/>
            </a:prstTxWarp>
          </a:bodyPr>
          <a:lstStyle/>
          <a:p>
            <a:pPr>
              <a:lnSpc>
                <a:spcPct val="90000"/>
              </a:lnSpc>
              <a:buSzPct val="90000"/>
              <a:defRPr/>
            </a:pPr>
            <a:r>
              <a:rPr lang="en-US" sz="2175"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ersisted </a:t>
            </a:r>
          </a:p>
          <a:p>
            <a:pPr>
              <a:lnSpc>
                <a:spcPct val="90000"/>
              </a:lnSpc>
              <a:buSzPct val="90000"/>
              <a:defRPr/>
            </a:pPr>
            <a:r>
              <a:rPr lang="en-US" sz="2175"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in Storage…</a:t>
            </a:r>
          </a:p>
        </p:txBody>
      </p:sp>
      <p:sp>
        <p:nvSpPr>
          <p:cNvPr id="19" name="Rectangle 18"/>
          <p:cNvSpPr/>
          <p:nvPr/>
        </p:nvSpPr>
        <p:spPr bwMode="auto">
          <a:xfrm>
            <a:off x="6078604" y="1581290"/>
            <a:ext cx="2682712" cy="3123757"/>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913857" fontAlgn="base">
              <a:spcBef>
                <a:spcPct val="0"/>
              </a:spcBef>
              <a:spcAft>
                <a:spcPct val="0"/>
              </a:spcAft>
            </a:pPr>
            <a:endParaRPr lang="en-US" sz="2175" dirty="0">
              <a:gradFill>
                <a:gsLst>
                  <a:gs pos="0">
                    <a:srgbClr val="FFFFFF"/>
                  </a:gs>
                  <a:gs pos="100000">
                    <a:srgbClr val="FFFFFF"/>
                  </a:gs>
                </a:gsLst>
                <a:lin ang="5400000" scaled="0"/>
              </a:gradFill>
            </a:endParaRPr>
          </a:p>
        </p:txBody>
      </p:sp>
      <p:sp>
        <p:nvSpPr>
          <p:cNvPr id="21" name="Freeform 128"/>
          <p:cNvSpPr>
            <a:spLocks noChangeAspect="1"/>
          </p:cNvSpPr>
          <p:nvPr/>
        </p:nvSpPr>
        <p:spPr bwMode="black">
          <a:xfrm>
            <a:off x="6171558" y="2469762"/>
            <a:ext cx="2437419" cy="13468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68570" tIns="34285" rIns="68570" bIns="34285" numCol="1" anchor="t" anchorCtr="0" compatLnSpc="1">
            <a:prstTxWarp prst="textNoShape">
              <a:avLst/>
            </a:prstTxWarp>
          </a:bodyPr>
          <a:lstStyle/>
          <a:p>
            <a:endParaRPr lang="en-US" sz="1350" dirty="0"/>
          </a:p>
        </p:txBody>
      </p:sp>
      <p:sp>
        <p:nvSpPr>
          <p:cNvPr id="22" name="Can 21"/>
          <p:cNvSpPr/>
          <p:nvPr>
            <p:custDataLst>
              <p:tags r:id="rId1"/>
            </p:custDataLst>
          </p:nvPr>
        </p:nvSpPr>
        <p:spPr>
          <a:xfrm>
            <a:off x="6317279" y="2876506"/>
            <a:ext cx="819428" cy="862246"/>
          </a:xfrm>
          <a:prstGeom prst="can">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1434" tIns="25718" rIns="51434" bIns="25718" rtlCol="0" anchor="ctr"/>
          <a:lstStyle/>
          <a:p>
            <a:pPr algn="ctr" fontAlgn="base">
              <a:lnSpc>
                <a:spcPct val="90000"/>
              </a:lnSpc>
              <a:spcBef>
                <a:spcPct val="0"/>
              </a:spcBef>
              <a:spcAft>
                <a:spcPct val="0"/>
              </a:spcAft>
              <a:buSzPct val="90000"/>
              <a:defRPr/>
            </a:pPr>
            <a:r>
              <a:rPr lang="en-US" sz="1425"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3" name="TextBox 22"/>
          <p:cNvSpPr txBox="1"/>
          <p:nvPr/>
        </p:nvSpPr>
        <p:spPr>
          <a:xfrm>
            <a:off x="6231719" y="3836073"/>
            <a:ext cx="2340828" cy="29312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575" dirty="0">
                <a:solidFill>
                  <a:schemeClr val="accent6">
                    <a:alpha val="99000"/>
                  </a:schemeClr>
                </a:solidFill>
                <a:latin typeface="+mn-lt"/>
              </a:rPr>
              <a:t>Cloud</a:t>
            </a:r>
          </a:p>
        </p:txBody>
      </p:sp>
      <p:sp>
        <p:nvSpPr>
          <p:cNvPr id="25" name="Rectangle 24"/>
          <p:cNvSpPr/>
          <p:nvPr/>
        </p:nvSpPr>
        <p:spPr bwMode="auto">
          <a:xfrm>
            <a:off x="3232962" y="828924"/>
            <a:ext cx="2686785" cy="752367"/>
          </a:xfrm>
          <a:prstGeom prst="rect">
            <a:avLst/>
          </a:prstGeom>
          <a:solidFill>
            <a:schemeClr val="accent2"/>
          </a:solidFill>
          <a:ln w="9525" cap="flat" cmpd="sng" algn="ctr">
            <a:noFill/>
            <a:prstDash val="solid"/>
            <a:headEnd type="none" w="med" len="med"/>
            <a:tailEnd type="none" w="med" len="med"/>
          </a:ln>
          <a:effectLst/>
        </p:spPr>
        <p:txBody>
          <a:bodyPr vert="horz" wrap="square" lIns="137141" tIns="34285" rIns="68570" bIns="34285" numCol="1" rtlCol="0" anchor="ctr" anchorCtr="0" compatLnSpc="1">
            <a:prstTxWarp prst="textNoShape">
              <a:avLst/>
            </a:prstTxWarp>
          </a:bodyPr>
          <a:lstStyle/>
          <a:p>
            <a:pPr lvl="0">
              <a:lnSpc>
                <a:spcPct val="90000"/>
              </a:lnSpc>
              <a:buSzPct val="90000"/>
              <a:defRPr/>
            </a:pPr>
            <a:r>
              <a:rPr lang="en-US" sz="2175"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ariety of images to select… </a:t>
            </a:r>
          </a:p>
        </p:txBody>
      </p:sp>
      <p:sp>
        <p:nvSpPr>
          <p:cNvPr id="48" name="Rectangle 47"/>
          <p:cNvSpPr/>
          <p:nvPr/>
        </p:nvSpPr>
        <p:spPr bwMode="auto">
          <a:xfrm>
            <a:off x="382687" y="828924"/>
            <a:ext cx="2686785" cy="752367"/>
          </a:xfrm>
          <a:prstGeom prst="rect">
            <a:avLst/>
          </a:prstGeom>
          <a:solidFill>
            <a:schemeClr val="accent4"/>
          </a:solidFill>
          <a:ln w="9525" cap="flat" cmpd="sng" algn="ctr">
            <a:noFill/>
            <a:prstDash val="solid"/>
            <a:headEnd type="none" w="med" len="med"/>
            <a:tailEnd type="none" w="med" len="med"/>
          </a:ln>
          <a:effectLst/>
        </p:spPr>
        <p:txBody>
          <a:bodyPr vert="horz" wrap="square" lIns="137141" tIns="34285" rIns="68570" bIns="34285" numCol="1" rtlCol="0" anchor="ctr" anchorCtr="0" compatLnSpc="1">
            <a:prstTxWarp prst="textNoShape">
              <a:avLst/>
            </a:prstTxWarp>
          </a:bodyPr>
          <a:lstStyle/>
          <a:p>
            <a:pPr lvl="0">
              <a:lnSpc>
                <a:spcPct val="90000"/>
              </a:lnSpc>
              <a:buSzPct val="90000"/>
              <a:defRPr/>
            </a:pPr>
            <a:r>
              <a:rPr lang="en-US" sz="2175"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ultiple ways to get started…</a:t>
            </a:r>
          </a:p>
        </p:txBody>
      </p:sp>
      <p:sp>
        <p:nvSpPr>
          <p:cNvPr id="49" name="Rectangle 48"/>
          <p:cNvSpPr/>
          <p:nvPr/>
        </p:nvSpPr>
        <p:spPr bwMode="auto">
          <a:xfrm>
            <a:off x="386760" y="1581290"/>
            <a:ext cx="2682712" cy="3123757"/>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913857" fontAlgn="base">
              <a:spcBef>
                <a:spcPct val="0"/>
              </a:spcBef>
              <a:spcAft>
                <a:spcPct val="0"/>
              </a:spcAft>
            </a:pPr>
            <a:endParaRPr lang="en-US" sz="2175" dirty="0">
              <a:gradFill>
                <a:gsLst>
                  <a:gs pos="0">
                    <a:srgbClr val="FFFFFF"/>
                  </a:gs>
                  <a:gs pos="100000">
                    <a:srgbClr val="FFFFFF"/>
                  </a:gs>
                </a:gsLst>
                <a:lin ang="5400000" scaled="0"/>
              </a:gradFill>
            </a:endParaRPr>
          </a:p>
        </p:txBody>
      </p:sp>
      <p:pic>
        <p:nvPicPr>
          <p:cNvPr id="59" name="Picture 3"/>
          <p:cNvPicPr>
            <a:picLocks noChangeAspect="1" noChangeArrowheads="1"/>
          </p:cNvPicPr>
          <p:nvPr/>
        </p:nvPicPr>
        <p:blipFill rotWithShape="1">
          <a:blip r:embed="rId5"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21752" y="1675185"/>
            <a:ext cx="612730" cy="515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Freeform 10"/>
          <p:cNvSpPr>
            <a:spLocks noEditPoints="1"/>
          </p:cNvSpPr>
          <p:nvPr/>
        </p:nvSpPr>
        <p:spPr bwMode="black">
          <a:xfrm>
            <a:off x="1540573" y="1777468"/>
            <a:ext cx="375085" cy="22459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68570" tIns="34285" rIns="68570" bIns="34285" numCol="1" anchor="t" anchorCtr="0" compatLnSpc="1">
            <a:prstTxWarp prst="textNoShape">
              <a:avLst/>
            </a:prstTxWarp>
          </a:bodyPr>
          <a:lstStyle/>
          <a:p>
            <a:endParaRPr lang="en-US" sz="1350" dirty="0"/>
          </a:p>
        </p:txBody>
      </p:sp>
      <p:sp>
        <p:nvSpPr>
          <p:cNvPr id="58" name="TextBox 57"/>
          <p:cNvSpPr txBox="1"/>
          <p:nvPr/>
        </p:nvSpPr>
        <p:spPr>
          <a:xfrm>
            <a:off x="471322" y="2200846"/>
            <a:ext cx="2513589" cy="29312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575" dirty="0">
                <a:solidFill>
                  <a:schemeClr val="tx2">
                    <a:alpha val="99000"/>
                  </a:schemeClr>
                </a:solidFill>
                <a:latin typeface="+mn-lt"/>
              </a:rPr>
              <a:t>Management Portal</a:t>
            </a:r>
          </a:p>
        </p:txBody>
      </p:sp>
      <p:sp>
        <p:nvSpPr>
          <p:cNvPr id="55" name="Rectangle 54"/>
          <p:cNvSpPr/>
          <p:nvPr/>
        </p:nvSpPr>
        <p:spPr bwMode="auto">
          <a:xfrm>
            <a:off x="1504805" y="2802799"/>
            <a:ext cx="446625" cy="44674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857" fontAlgn="base">
              <a:spcBef>
                <a:spcPct val="0"/>
              </a:spcBef>
              <a:spcAft>
                <a:spcPct val="0"/>
              </a:spcAft>
            </a:pPr>
            <a:r>
              <a:rPr lang="en-US" sz="2775" dirty="0">
                <a:solidFill>
                  <a:schemeClr val="accent4">
                    <a:lumMod val="20000"/>
                    <a:lumOff val="80000"/>
                  </a:schemeClr>
                </a:solidFill>
              </a:rPr>
              <a:t>&gt;_</a:t>
            </a:r>
          </a:p>
        </p:txBody>
      </p:sp>
      <p:sp>
        <p:nvSpPr>
          <p:cNvPr id="56" name="TextBox 55"/>
          <p:cNvSpPr txBox="1"/>
          <p:nvPr/>
        </p:nvSpPr>
        <p:spPr>
          <a:xfrm>
            <a:off x="488205" y="3331840"/>
            <a:ext cx="2513589" cy="29312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575"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sp>
        <p:nvSpPr>
          <p:cNvPr id="53" name="Freeform 87"/>
          <p:cNvSpPr>
            <a:spLocks noEditPoints="1"/>
          </p:cNvSpPr>
          <p:nvPr/>
        </p:nvSpPr>
        <p:spPr bwMode="black">
          <a:xfrm>
            <a:off x="1508607" y="3933794"/>
            <a:ext cx="480259" cy="390811"/>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68570" tIns="34285" rIns="68570" bIns="34285" numCol="1" anchor="t" anchorCtr="0" compatLnSpc="1">
            <a:prstTxWarp prst="textNoShape">
              <a:avLst/>
            </a:prstTxWarp>
          </a:bodyPr>
          <a:lstStyle/>
          <a:p>
            <a:endParaRPr lang="en-US" sz="1350" dirty="0"/>
          </a:p>
        </p:txBody>
      </p:sp>
      <p:sp>
        <p:nvSpPr>
          <p:cNvPr id="54" name="TextBox 53"/>
          <p:cNvSpPr txBox="1"/>
          <p:nvPr/>
        </p:nvSpPr>
        <p:spPr>
          <a:xfrm>
            <a:off x="491942" y="4364428"/>
            <a:ext cx="2513589" cy="29312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575" dirty="0">
                <a:solidFill>
                  <a:schemeClr val="tx2">
                    <a:alpha val="99000"/>
                  </a:schemeClr>
                </a:solidFill>
                <a:latin typeface="+mn-lt"/>
              </a:rPr>
              <a:t>REST API</a:t>
            </a:r>
          </a:p>
        </p:txBody>
      </p:sp>
      <p:sp>
        <p:nvSpPr>
          <p:cNvPr id="62" name="TextBox 61"/>
          <p:cNvSpPr txBox="1"/>
          <p:nvPr/>
        </p:nvSpPr>
        <p:spPr>
          <a:xfrm>
            <a:off x="6171557" y="2114616"/>
            <a:ext cx="2529597" cy="29312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575" dirty="0">
                <a:solidFill>
                  <a:schemeClr val="tx2">
                    <a:alpha val="99000"/>
                  </a:schemeClr>
                </a:solidFill>
                <a:latin typeface="+mn-lt"/>
              </a:rPr>
              <a:t>Boot VM from New Disk</a:t>
            </a:r>
          </a:p>
        </p:txBody>
      </p:sp>
      <p:sp>
        <p:nvSpPr>
          <p:cNvPr id="63" name="Freeform 24"/>
          <p:cNvSpPr>
            <a:spLocks noEditPoints="1"/>
          </p:cNvSpPr>
          <p:nvPr/>
        </p:nvSpPr>
        <p:spPr bwMode="black">
          <a:xfrm>
            <a:off x="7810853" y="3013387"/>
            <a:ext cx="761694" cy="588487"/>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1"/>
          </a:solidFill>
          <a:ln>
            <a:noFill/>
          </a:ln>
          <a:extLst/>
        </p:spPr>
        <p:txBody>
          <a:bodyPr vert="horz" wrap="square" lIns="68570" tIns="34285" rIns="68570" bIns="34285" numCol="1" anchor="t" anchorCtr="0" compatLnSpc="1">
            <a:prstTxWarp prst="textNoShape">
              <a:avLst/>
            </a:prstTxWarp>
          </a:bodyPr>
          <a:lstStyle/>
          <a:p>
            <a:endParaRPr lang="en-US" sz="1350" dirty="0"/>
          </a:p>
        </p:txBody>
      </p:sp>
      <p:sp>
        <p:nvSpPr>
          <p:cNvPr id="64" name="Right Arrow 63"/>
          <p:cNvSpPr/>
          <p:nvPr/>
        </p:nvSpPr>
        <p:spPr bwMode="auto">
          <a:xfrm>
            <a:off x="7282108" y="3093016"/>
            <a:ext cx="445668" cy="429230"/>
          </a:xfrm>
          <a:prstGeom prst="rightArrow">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1432" tIns="25716" rIns="51432" bIns="25716" numCol="1" rtlCol="0" anchor="ctr" anchorCtr="0" compatLnSpc="1">
            <a:prstTxWarp prst="textNoShape">
              <a:avLst/>
            </a:prstTxWarp>
          </a:bodyPr>
          <a:lstStyle/>
          <a:p>
            <a:pPr algn="ctr" defTabSz="685484" fontAlgn="base">
              <a:spcBef>
                <a:spcPts val="150"/>
              </a:spcBef>
              <a:spcAft>
                <a:spcPct val="0"/>
              </a:spcAft>
            </a:pPr>
            <a:endParaRPr lang="en-US" sz="2100" dirty="0">
              <a:ln>
                <a:solidFill>
                  <a:schemeClr val="bg1">
                    <a:alpha val="0"/>
                  </a:schemeClr>
                </a:solidFill>
              </a:ln>
              <a:solidFill>
                <a:schemeClr val="bg1"/>
              </a:solidFill>
            </a:endParaRPr>
          </a:p>
        </p:txBody>
      </p:sp>
      <p:sp>
        <p:nvSpPr>
          <p:cNvPr id="66" name="Rectangle 65"/>
          <p:cNvSpPr/>
          <p:nvPr/>
        </p:nvSpPr>
        <p:spPr bwMode="auto">
          <a:xfrm>
            <a:off x="3232682" y="1581290"/>
            <a:ext cx="2682712" cy="3123757"/>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913857" fontAlgn="base">
              <a:spcBef>
                <a:spcPct val="0"/>
              </a:spcBef>
              <a:spcAft>
                <a:spcPct val="0"/>
              </a:spcAft>
            </a:pPr>
            <a:endParaRPr lang="en-US" sz="2175" dirty="0">
              <a:gradFill>
                <a:gsLst>
                  <a:gs pos="0">
                    <a:srgbClr val="FFFFFF"/>
                  </a:gs>
                  <a:gs pos="100000">
                    <a:srgbClr val="FFFFFF"/>
                  </a:gs>
                </a:gsLst>
                <a:lin ang="5400000" scaled="0"/>
              </a:gradFill>
            </a:endParaRPr>
          </a:p>
        </p:txBody>
      </p:sp>
      <p:pic>
        <p:nvPicPr>
          <p:cNvPr id="67" name="Picture 3"/>
          <p:cNvPicPr>
            <a:picLocks noChangeAspect="1" noChangeArrowheads="1"/>
          </p:cNvPicPr>
          <p:nvPr>
            <p:custDataLst>
              <p:tags r:id="rId2"/>
            </p:custDataLst>
          </p:nvPr>
        </p:nvPicPr>
        <p:blipFill rotWithShape="1">
          <a:blip r:embed="rId6" cstate="print">
            <a:extLst>
              <a:ext uri="{28A0092B-C50C-407E-A947-70E740481C1C}">
                <a14:useLocalDpi xmlns:a14="http://schemas.microsoft.com/office/drawing/2010/main" val="0"/>
              </a:ext>
            </a:extLst>
          </a:blip>
          <a:srcRect l="-268" r="1352" b="14748"/>
          <a:stretch/>
        </p:blipFill>
        <p:spPr bwMode="auto">
          <a:xfrm>
            <a:off x="3873866" y="1701869"/>
            <a:ext cx="1872233" cy="3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5" descr="New Windows 8 logo"/>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866" y="2369388"/>
            <a:ext cx="1265446" cy="28480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9" descr="http://t3.gstatic.com/images?q=tbn:ANd9GcQtFqt1pk-YGmPWhTtB3AsZDmra-Et1fd8-nPSkBdNd8MPUBbvJulvWio_A4A"/>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866" y="2952696"/>
            <a:ext cx="1045293" cy="398311"/>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4" descr="https://wiki.ubuntu.com/Brand?action=AttachFile&amp;do=get&amp;target=blackeubuntulogo.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866" y="4266945"/>
            <a:ext cx="1162725" cy="306265"/>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5" descr="http://t0.gstatic.com/images?q=tbn:ANd9GcQrbLd7LkXlgv-V8XbX4YDBQjR-Ay7-uxppQtQx4M-BKRL8epwumHKvsj_Bjg"/>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865" y="3528347"/>
            <a:ext cx="763575" cy="490997"/>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p:cNvGrpSpPr/>
          <p:nvPr/>
        </p:nvGrpSpPr>
        <p:grpSpPr>
          <a:xfrm>
            <a:off x="3329715" y="1729184"/>
            <a:ext cx="366836" cy="353028"/>
            <a:chOff x="2488368" y="1695452"/>
            <a:chExt cx="980990" cy="980990"/>
          </a:xfrm>
        </p:grpSpPr>
        <p:sp>
          <p:nvSpPr>
            <p:cNvPr id="73" name="Oval 72"/>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84" fontAlgn="base">
                <a:spcBef>
                  <a:spcPts val="150"/>
                </a:spcBef>
                <a:spcAft>
                  <a:spcPct val="0"/>
                </a:spcAft>
              </a:pPr>
              <a:endParaRPr lang="en-US" sz="2100" dirty="0">
                <a:ln>
                  <a:solidFill>
                    <a:schemeClr val="bg1">
                      <a:alpha val="0"/>
                    </a:schemeClr>
                  </a:solidFill>
                </a:ln>
                <a:solidFill>
                  <a:schemeClr val="bg1"/>
                </a:solidFill>
              </a:endParaRPr>
            </a:p>
          </p:txBody>
        </p:sp>
        <p:sp>
          <p:nvSpPr>
            <p:cNvPr id="74" name="Oval 73"/>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84"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5" name="Group 74"/>
          <p:cNvGrpSpPr/>
          <p:nvPr/>
        </p:nvGrpSpPr>
        <p:grpSpPr>
          <a:xfrm>
            <a:off x="3329715" y="2354894"/>
            <a:ext cx="366836" cy="353028"/>
            <a:chOff x="2488368" y="1695452"/>
            <a:chExt cx="980990" cy="980990"/>
          </a:xfrm>
        </p:grpSpPr>
        <p:sp>
          <p:nvSpPr>
            <p:cNvPr id="76" name="Oval 75"/>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84" fontAlgn="base">
                <a:spcBef>
                  <a:spcPts val="150"/>
                </a:spcBef>
                <a:spcAft>
                  <a:spcPct val="0"/>
                </a:spcAft>
              </a:pPr>
              <a:endParaRPr lang="en-US" sz="2100" dirty="0">
                <a:ln>
                  <a:solidFill>
                    <a:schemeClr val="bg1">
                      <a:alpha val="0"/>
                    </a:schemeClr>
                  </a:solidFill>
                </a:ln>
                <a:solidFill>
                  <a:schemeClr val="bg1"/>
                </a:solidFill>
              </a:endParaRPr>
            </a:p>
          </p:txBody>
        </p:sp>
        <p:sp>
          <p:nvSpPr>
            <p:cNvPr id="77" name="Oval 76"/>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84"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8" name="Group 77"/>
          <p:cNvGrpSpPr/>
          <p:nvPr/>
        </p:nvGrpSpPr>
        <p:grpSpPr>
          <a:xfrm>
            <a:off x="3329715" y="2980602"/>
            <a:ext cx="366836" cy="353028"/>
            <a:chOff x="2488368" y="1695452"/>
            <a:chExt cx="980990" cy="980990"/>
          </a:xfrm>
        </p:grpSpPr>
        <p:sp>
          <p:nvSpPr>
            <p:cNvPr id="79" name="Oval 78"/>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84" fontAlgn="base">
                <a:spcBef>
                  <a:spcPts val="150"/>
                </a:spcBef>
                <a:spcAft>
                  <a:spcPct val="0"/>
                </a:spcAft>
              </a:pPr>
              <a:endParaRPr lang="en-US" sz="2100" dirty="0">
                <a:ln>
                  <a:solidFill>
                    <a:schemeClr val="bg1">
                      <a:alpha val="0"/>
                    </a:schemeClr>
                  </a:solidFill>
                </a:ln>
                <a:solidFill>
                  <a:schemeClr val="bg1"/>
                </a:solidFill>
              </a:endParaRPr>
            </a:p>
          </p:txBody>
        </p:sp>
        <p:sp>
          <p:nvSpPr>
            <p:cNvPr id="80" name="Oval 79"/>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84"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81" name="Group 80"/>
          <p:cNvGrpSpPr/>
          <p:nvPr/>
        </p:nvGrpSpPr>
        <p:grpSpPr>
          <a:xfrm>
            <a:off x="3329715" y="3606312"/>
            <a:ext cx="366836" cy="353028"/>
            <a:chOff x="2488368" y="1695452"/>
            <a:chExt cx="980990" cy="980990"/>
          </a:xfrm>
        </p:grpSpPr>
        <p:sp>
          <p:nvSpPr>
            <p:cNvPr id="82" name="Oval 81"/>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84" fontAlgn="base">
                <a:spcBef>
                  <a:spcPts val="150"/>
                </a:spcBef>
                <a:spcAft>
                  <a:spcPct val="0"/>
                </a:spcAft>
              </a:pPr>
              <a:endParaRPr lang="en-US" sz="2100" dirty="0">
                <a:ln>
                  <a:solidFill>
                    <a:schemeClr val="bg1">
                      <a:alpha val="0"/>
                    </a:schemeClr>
                  </a:solidFill>
                </a:ln>
                <a:solidFill>
                  <a:schemeClr val="bg1"/>
                </a:solidFill>
              </a:endParaRPr>
            </a:p>
          </p:txBody>
        </p:sp>
        <p:sp>
          <p:nvSpPr>
            <p:cNvPr id="83" name="Oval 82"/>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84"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84" name="Group 83"/>
          <p:cNvGrpSpPr/>
          <p:nvPr/>
        </p:nvGrpSpPr>
        <p:grpSpPr>
          <a:xfrm>
            <a:off x="3329715" y="4232021"/>
            <a:ext cx="366836" cy="353028"/>
            <a:chOff x="2488368" y="1695452"/>
            <a:chExt cx="980990" cy="980990"/>
          </a:xfrm>
        </p:grpSpPr>
        <p:sp>
          <p:nvSpPr>
            <p:cNvPr id="85" name="Oval 84"/>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84" fontAlgn="base">
                <a:spcBef>
                  <a:spcPts val="150"/>
                </a:spcBef>
                <a:spcAft>
                  <a:spcPct val="0"/>
                </a:spcAft>
              </a:pPr>
              <a:endParaRPr lang="en-US" sz="2100" dirty="0">
                <a:ln>
                  <a:solidFill>
                    <a:schemeClr val="bg1">
                      <a:alpha val="0"/>
                    </a:schemeClr>
                  </a:solidFill>
                </a:ln>
                <a:solidFill>
                  <a:schemeClr val="bg1"/>
                </a:solidFill>
              </a:endParaRPr>
            </a:p>
          </p:txBody>
        </p:sp>
        <p:sp>
          <p:nvSpPr>
            <p:cNvPr id="86" name="Oval 85"/>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484"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87" name="TextBox 86"/>
          <p:cNvSpPr txBox="1"/>
          <p:nvPr/>
        </p:nvSpPr>
        <p:spPr>
          <a:xfrm>
            <a:off x="5180477" y="2409282"/>
            <a:ext cx="739270" cy="218137"/>
          </a:xfrm>
          <a:prstGeom prst="rect">
            <a:avLst/>
          </a:prstGeom>
          <a:noFill/>
        </p:spPr>
        <p:txBody>
          <a:bodyPr wrap="square" lIns="0" tIns="0" rIns="0" bIns="0" rtlCol="0">
            <a:spAutoFit/>
          </a:bodyPr>
          <a:lstStyle/>
          <a:p>
            <a:pPr>
              <a:lnSpc>
                <a:spcPct val="90000"/>
              </a:lnSpc>
              <a:spcBef>
                <a:spcPct val="20000"/>
              </a:spcBef>
              <a:buSzPct val="80000"/>
            </a:pPr>
            <a:r>
              <a:rPr lang="en-US" sz="1575" i="1" u="sng" dirty="0">
                <a:solidFill>
                  <a:schemeClr val="accent2"/>
                </a:solidFill>
              </a:rPr>
              <a:t>Server</a:t>
            </a:r>
          </a:p>
        </p:txBody>
      </p:sp>
    </p:spTree>
    <p:extLst>
      <p:ext uri="{BB962C8B-B14F-4D97-AF65-F5344CB8AC3E}">
        <p14:creationId xmlns:p14="http://schemas.microsoft.com/office/powerpoint/2010/main" val="12753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Services</a:t>
            </a:r>
            <a:endParaRPr lang="en-US" dirty="0"/>
          </a:p>
        </p:txBody>
      </p:sp>
      <p:sp>
        <p:nvSpPr>
          <p:cNvPr id="4" name="Title 1"/>
          <p:cNvSpPr txBox="1">
            <a:spLocks/>
          </p:cNvSpPr>
          <p:nvPr>
            <p:custDataLst>
              <p:tags r:id="rId1"/>
            </p:custDataLst>
          </p:nvPr>
        </p:nvSpPr>
        <p:spPr>
          <a:xfrm>
            <a:off x="961993" y="1346799"/>
            <a:ext cx="9796475" cy="1099792"/>
          </a:xfrm>
          <a:prstGeom prst="rect">
            <a:avLst/>
          </a:prstGeom>
        </p:spPr>
        <p:txBody>
          <a:bodyPr vert="horz" wrap="square" lIns="107558" tIns="67224" rIns="107558" bIns="67224" rtlCol="0" anchor="t">
            <a:noAutofit/>
          </a:bodyPr>
          <a:lstStyle>
            <a:lvl1pPr algn="l" defTabSz="932623" rtl="0" eaLnBrk="1" latinLnBrk="0" hangingPunct="1">
              <a:lnSpc>
                <a:spcPct val="90000"/>
              </a:lnSpc>
              <a:spcBef>
                <a:spcPct val="0"/>
              </a:spcBef>
              <a:buNone/>
              <a:defRPr lang="en-US" sz="5400" b="0" kern="1200" cap="none" spc="-102" baseline="0">
                <a:ln w="3175">
                  <a:noFill/>
                </a:ln>
                <a:solidFill>
                  <a:schemeClr val="bg1">
                    <a:alpha val="99000"/>
                  </a:schemeClr>
                </a:solidFill>
                <a:effectLst/>
                <a:latin typeface="+mj-lt"/>
                <a:ea typeface="+mn-ea"/>
                <a:cs typeface="Segoe UI" pitchFamily="34" charset="0"/>
              </a:defRPr>
            </a:lvl1pPr>
          </a:lstStyle>
          <a:p>
            <a:endParaRPr lang="en-US" sz="3971" dirty="0"/>
          </a:p>
        </p:txBody>
      </p:sp>
      <p:sp>
        <p:nvSpPr>
          <p:cNvPr id="5" name="Rectangle 4"/>
          <p:cNvSpPr/>
          <p:nvPr/>
        </p:nvSpPr>
        <p:spPr bwMode="auto">
          <a:xfrm>
            <a:off x="508188" y="1875176"/>
            <a:ext cx="2038749" cy="261340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0688" tIns="40344" rIns="80688" bIns="40344" numCol="1" rtlCol="0" anchor="t" anchorCtr="0" compatLnSpc="1">
            <a:prstTxWarp prst="textNoShape">
              <a:avLst/>
            </a:prstTxWarp>
          </a:bodyPr>
          <a:lstStyle/>
          <a:p>
            <a:pPr algn="ctr" defTabSz="806699" fontAlgn="base">
              <a:spcBef>
                <a:spcPct val="0"/>
              </a:spcBef>
              <a:spcAft>
                <a:spcPct val="0"/>
              </a:spcAft>
            </a:pPr>
            <a:r>
              <a:rPr lang="en-US" sz="2647" dirty="0">
                <a:gradFill>
                  <a:gsLst>
                    <a:gs pos="0">
                      <a:srgbClr val="FFFFFF"/>
                    </a:gs>
                    <a:gs pos="100000">
                      <a:srgbClr val="FFFFFF"/>
                    </a:gs>
                  </a:gsLst>
                  <a:lin ang="5400000" scaled="0"/>
                </a:gradFill>
              </a:rPr>
              <a:t>Web Role</a:t>
            </a:r>
            <a:endParaRPr lang="en-US" sz="2647" dirty="0">
              <a:gradFill>
                <a:gsLst>
                  <a:gs pos="0">
                    <a:srgbClr val="FFFFFF"/>
                  </a:gs>
                  <a:gs pos="100000">
                    <a:srgbClr val="FFFFFF"/>
                  </a:gs>
                </a:gsLst>
                <a:lin ang="5400000" scaled="0"/>
              </a:gradFill>
            </a:endParaRPr>
          </a:p>
        </p:txBody>
      </p:sp>
      <p:sp>
        <p:nvSpPr>
          <p:cNvPr id="6" name="Rectangle 5"/>
          <p:cNvSpPr/>
          <p:nvPr/>
        </p:nvSpPr>
        <p:spPr bwMode="auto">
          <a:xfrm>
            <a:off x="2731707" y="1875176"/>
            <a:ext cx="2110301" cy="261340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0688" tIns="40344" rIns="80688" bIns="40344" numCol="1" rtlCol="0" anchor="t" anchorCtr="0" compatLnSpc="1">
            <a:prstTxWarp prst="textNoShape">
              <a:avLst/>
            </a:prstTxWarp>
          </a:bodyPr>
          <a:lstStyle/>
          <a:p>
            <a:pPr algn="ctr" defTabSz="806699" fontAlgn="base">
              <a:spcBef>
                <a:spcPct val="0"/>
              </a:spcBef>
              <a:spcAft>
                <a:spcPct val="0"/>
              </a:spcAft>
            </a:pPr>
            <a:r>
              <a:rPr lang="en-US" sz="2647" dirty="0">
                <a:gradFill>
                  <a:gsLst>
                    <a:gs pos="0">
                      <a:srgbClr val="FFFFFF"/>
                    </a:gs>
                    <a:gs pos="100000">
                      <a:srgbClr val="FFFFFF"/>
                    </a:gs>
                  </a:gsLst>
                  <a:lin ang="5400000" scaled="0"/>
                </a:gradFill>
              </a:rPr>
              <a:t>Worker Role</a:t>
            </a:r>
            <a:endParaRPr lang="en-US" sz="2647" dirty="0">
              <a:gradFill>
                <a:gsLst>
                  <a:gs pos="0">
                    <a:srgbClr val="FFFFFF"/>
                  </a:gs>
                  <a:gs pos="100000">
                    <a:srgbClr val="FFFFFF"/>
                  </a:gs>
                </a:gsLst>
                <a:lin ang="5400000" scaled="0"/>
              </a:gradFill>
            </a:endParaRPr>
          </a:p>
        </p:txBody>
      </p:sp>
      <p:sp>
        <p:nvSpPr>
          <p:cNvPr id="7" name="Content Placeholder 2"/>
          <p:cNvSpPr txBox="1">
            <a:spLocks/>
          </p:cNvSpPr>
          <p:nvPr>
            <p:custDataLst>
              <p:tags r:id="rId2"/>
            </p:custDataLst>
          </p:nvPr>
        </p:nvSpPr>
        <p:spPr>
          <a:xfrm>
            <a:off x="508189" y="890972"/>
            <a:ext cx="4338353" cy="814710"/>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647" b="1" dirty="0">
                <a:ln>
                  <a:solidFill>
                    <a:srgbClr val="000000">
                      <a:alpha val="0"/>
                    </a:srgbClr>
                  </a:solidFill>
                </a:ln>
                <a:solidFill>
                  <a:schemeClr val="bg1">
                    <a:lumMod val="85000"/>
                    <a:alpha val="99000"/>
                  </a:schemeClr>
                </a:solidFill>
                <a:latin typeface="Segoe UI Light" pitchFamily="34" charset="0"/>
              </a:rPr>
              <a:t>Unlimited Scale</a:t>
            </a:r>
            <a:r>
              <a:rPr lang="en-US" sz="2647" b="1" dirty="0">
                <a:ln>
                  <a:solidFill>
                    <a:srgbClr val="000000">
                      <a:alpha val="0"/>
                    </a:srgbClr>
                  </a:solidFill>
                </a:ln>
                <a:solidFill>
                  <a:schemeClr val="bg1">
                    <a:lumMod val="85000"/>
                    <a:alpha val="99000"/>
                  </a:schemeClr>
                </a:solidFill>
                <a:latin typeface="Segoe UI Light" pitchFamily="34" charset="0"/>
              </a:rPr>
              <a:t/>
            </a:r>
            <a:br>
              <a:rPr lang="en-US" sz="2647" b="1" dirty="0">
                <a:ln>
                  <a:solidFill>
                    <a:srgbClr val="000000">
                      <a:alpha val="0"/>
                    </a:srgbClr>
                  </a:solidFill>
                </a:ln>
                <a:solidFill>
                  <a:schemeClr val="bg1">
                    <a:lumMod val="85000"/>
                    <a:alpha val="99000"/>
                  </a:schemeClr>
                </a:solidFill>
                <a:latin typeface="Segoe UI Light" pitchFamily="34" charset="0"/>
              </a:rPr>
            </a:br>
            <a:r>
              <a:rPr lang="en-US" sz="2647" b="1" dirty="0">
                <a:ln>
                  <a:solidFill>
                    <a:srgbClr val="000000">
                      <a:alpha val="0"/>
                    </a:srgbClr>
                  </a:solidFill>
                </a:ln>
                <a:solidFill>
                  <a:schemeClr val="bg1">
                    <a:lumMod val="85000"/>
                    <a:alpha val="99000"/>
                  </a:schemeClr>
                </a:solidFill>
                <a:latin typeface="Segoe UI Light" pitchFamily="34" charset="0"/>
              </a:rPr>
              <a:t>Two Flavors:</a:t>
            </a:r>
          </a:p>
        </p:txBody>
      </p:sp>
      <p:sp>
        <p:nvSpPr>
          <p:cNvPr id="8" name="Freeform 62"/>
          <p:cNvSpPr>
            <a:spLocks noEditPoints="1"/>
          </p:cNvSpPr>
          <p:nvPr/>
        </p:nvSpPr>
        <p:spPr bwMode="black">
          <a:xfrm>
            <a:off x="891119" y="2936083"/>
            <a:ext cx="1272888" cy="127222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72630" tIns="36316" rIns="72630" bIns="36316" numCol="1" anchor="t" anchorCtr="0" compatLnSpc="1">
            <a:prstTxWarp prst="textNoShape">
              <a:avLst/>
            </a:prstTxWarp>
          </a:bodyPr>
          <a:lstStyle/>
          <a:p>
            <a:pPr defTabSz="806433"/>
            <a:endParaRPr lang="en-US" sz="1397" dirty="0">
              <a:solidFill>
                <a:srgbClr val="FFFFFF"/>
              </a:solidFill>
            </a:endParaRPr>
          </a:p>
        </p:txBody>
      </p:sp>
      <p:grpSp>
        <p:nvGrpSpPr>
          <p:cNvPr id="9" name="Group 8"/>
          <p:cNvGrpSpPr/>
          <p:nvPr/>
        </p:nvGrpSpPr>
        <p:grpSpPr bwMode="black">
          <a:xfrm>
            <a:off x="3004751" y="2936083"/>
            <a:ext cx="1564214" cy="1272225"/>
            <a:chOff x="5184775" y="225425"/>
            <a:chExt cx="1500188" cy="1220788"/>
          </a:xfrm>
          <a:solidFill>
            <a:srgbClr val="FFFFFF"/>
          </a:solidFill>
        </p:grpSpPr>
        <p:sp>
          <p:nvSpPr>
            <p:cNvPr id="1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806433"/>
              <a:endParaRPr lang="en-US" sz="1397" dirty="0">
                <a:solidFill>
                  <a:srgbClr val="FFFFFF"/>
                </a:solidFill>
              </a:endParaRPr>
            </a:p>
          </p:txBody>
        </p:sp>
        <p:sp>
          <p:nvSpPr>
            <p:cNvPr id="1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806433"/>
              <a:endParaRPr lang="en-US" sz="1397" dirty="0">
                <a:solidFill>
                  <a:srgbClr val="FFFFFF"/>
                </a:solidFill>
              </a:endParaRPr>
            </a:p>
          </p:txBody>
        </p:sp>
        <p:sp>
          <p:nvSpPr>
            <p:cNvPr id="1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32" tIns="33616" rIns="67232" bIns="33616" numCol="1" anchor="t" anchorCtr="0" compatLnSpc="1">
              <a:prstTxWarp prst="textNoShape">
                <a:avLst/>
              </a:prstTxWarp>
            </a:bodyPr>
            <a:lstStyle/>
            <a:p>
              <a:pPr defTabSz="806433"/>
              <a:endParaRPr lang="en-US" sz="1397" dirty="0">
                <a:solidFill>
                  <a:srgbClr val="FFFFFF"/>
                </a:solidFill>
              </a:endParaRPr>
            </a:p>
          </p:txBody>
        </p:sp>
      </p:grpSp>
      <p:sp>
        <p:nvSpPr>
          <p:cNvPr id="13" name="Rectangle 12"/>
          <p:cNvSpPr/>
          <p:nvPr/>
        </p:nvSpPr>
        <p:spPr>
          <a:xfrm>
            <a:off x="5294191" y="890972"/>
            <a:ext cx="3647881" cy="3431324"/>
          </a:xfrm>
          <a:prstGeom prst="rect">
            <a:avLst/>
          </a:prstGeom>
        </p:spPr>
        <p:txBody>
          <a:bodyPr wrap="square">
            <a:spAutoFit/>
          </a:bodyPr>
          <a:lstStyle/>
          <a:p>
            <a:pPr defTabSz="806433">
              <a:spcAft>
                <a:spcPts val="882"/>
              </a:spcAft>
            </a:pPr>
            <a:r>
              <a:rPr lang="en-US" sz="2353" dirty="0">
                <a:solidFill>
                  <a:schemeClr val="bg1">
                    <a:lumMod val="85000"/>
                    <a:alpha val="99000"/>
                  </a:schemeClr>
                </a:solidFill>
                <a:latin typeface="Segoe UI Light" pitchFamily="34" charset="0"/>
                <a:ea typeface="Segoe UI" pitchFamily="34" charset="0"/>
                <a:cs typeface="Segoe UI" pitchFamily="34" charset="0"/>
              </a:rPr>
              <a:t>A </a:t>
            </a:r>
            <a:r>
              <a:rPr lang="en-US" sz="2353" dirty="0">
                <a:solidFill>
                  <a:schemeClr val="bg1">
                    <a:lumMod val="85000"/>
                    <a:alpha val="99000"/>
                  </a:schemeClr>
                </a:solidFill>
                <a:latin typeface="Segoe UI Light" pitchFamily="34" charset="0"/>
                <a:ea typeface="Segoe UI" pitchFamily="34" charset="0"/>
                <a:cs typeface="Segoe UI" pitchFamily="34" charset="0"/>
              </a:rPr>
              <a:t>place for your application code to run…</a:t>
            </a:r>
          </a:p>
          <a:p>
            <a:pPr defTabSz="806433">
              <a:spcAft>
                <a:spcPts val="882"/>
              </a:spcAft>
            </a:pPr>
            <a:r>
              <a:rPr lang="en-US" sz="1324" dirty="0">
                <a:solidFill>
                  <a:srgbClr val="FFFFFF">
                    <a:alpha val="99000"/>
                  </a:srgbClr>
                </a:solidFill>
                <a:latin typeface="Segoe UI Light" pitchFamily="34" charset="0"/>
                <a:ea typeface="Segoe UI" pitchFamily="34" charset="0"/>
                <a:cs typeface="Segoe UI" pitchFamily="34" charset="0"/>
              </a:rPr>
              <a:t>Web role is simply a Virtual Machine </a:t>
            </a:r>
            <a:r>
              <a:rPr lang="en-US" sz="1324" dirty="0">
                <a:solidFill>
                  <a:srgbClr val="FFFFFF">
                    <a:alpha val="99000"/>
                  </a:srgbClr>
                </a:solidFill>
                <a:latin typeface="Segoe UI Light" pitchFamily="34" charset="0"/>
                <a:ea typeface="Segoe UI" pitchFamily="34" charset="0"/>
                <a:cs typeface="Segoe UI" pitchFamily="34" charset="0"/>
              </a:rPr>
              <a:t/>
            </a:r>
            <a:br>
              <a:rPr lang="en-US" sz="1324" dirty="0">
                <a:solidFill>
                  <a:srgbClr val="FFFFFF">
                    <a:alpha val="99000"/>
                  </a:srgbClr>
                </a:solidFill>
                <a:latin typeface="Segoe UI Light" pitchFamily="34" charset="0"/>
                <a:ea typeface="Segoe UI" pitchFamily="34" charset="0"/>
                <a:cs typeface="Segoe UI" pitchFamily="34" charset="0"/>
              </a:rPr>
            </a:br>
            <a:r>
              <a:rPr lang="en-US" sz="1324" dirty="0">
                <a:solidFill>
                  <a:srgbClr val="FFFFFF">
                    <a:alpha val="99000"/>
                  </a:srgbClr>
                </a:solidFill>
                <a:latin typeface="Segoe UI Light" pitchFamily="34" charset="0"/>
                <a:ea typeface="Segoe UI" pitchFamily="34" charset="0"/>
                <a:cs typeface="Segoe UI" pitchFamily="34" charset="0"/>
              </a:rPr>
              <a:t>with </a:t>
            </a:r>
            <a:r>
              <a:rPr lang="en-US" sz="1324" dirty="0">
                <a:solidFill>
                  <a:srgbClr val="FFFFFF">
                    <a:alpha val="99000"/>
                  </a:srgbClr>
                </a:solidFill>
                <a:latin typeface="Segoe UI Light" pitchFamily="34" charset="0"/>
                <a:ea typeface="Segoe UI" pitchFamily="34" charset="0"/>
                <a:cs typeface="Segoe UI" pitchFamily="34" charset="0"/>
              </a:rPr>
              <a:t>IIS </a:t>
            </a:r>
            <a:r>
              <a:rPr lang="en-US" sz="1324" dirty="0">
                <a:solidFill>
                  <a:srgbClr val="FFFFFF">
                    <a:alpha val="99000"/>
                  </a:srgbClr>
                </a:solidFill>
                <a:latin typeface="Segoe UI Light" pitchFamily="34" charset="0"/>
                <a:ea typeface="Segoe UI" pitchFamily="34" charset="0"/>
                <a:cs typeface="Segoe UI" pitchFamily="34" charset="0"/>
              </a:rPr>
              <a:t>pre-configured</a:t>
            </a:r>
          </a:p>
          <a:p>
            <a:pPr defTabSz="806433">
              <a:spcAft>
                <a:spcPts val="882"/>
              </a:spcAft>
            </a:pPr>
            <a:r>
              <a:rPr lang="en-US" sz="1324" dirty="0">
                <a:solidFill>
                  <a:srgbClr val="FFFFFF">
                    <a:alpha val="99000"/>
                  </a:srgbClr>
                </a:solidFill>
                <a:latin typeface="Segoe UI Light" pitchFamily="34" charset="0"/>
                <a:ea typeface="Segoe UI" pitchFamily="34" charset="0"/>
                <a:cs typeface="Segoe UI" pitchFamily="34" charset="0"/>
              </a:rPr>
              <a:t>Worker </a:t>
            </a:r>
            <a:r>
              <a:rPr lang="en-US" sz="1324" dirty="0">
                <a:solidFill>
                  <a:srgbClr val="FFFFFF">
                    <a:alpha val="99000"/>
                  </a:srgbClr>
                </a:solidFill>
                <a:latin typeface="Segoe UI Light" pitchFamily="34" charset="0"/>
                <a:ea typeface="Segoe UI" pitchFamily="34" charset="0"/>
                <a:cs typeface="Segoe UI" pitchFamily="34" charset="0"/>
              </a:rPr>
              <a:t>role is for non-web based processing code, back-end business </a:t>
            </a:r>
            <a:r>
              <a:rPr lang="en-US" sz="1324" dirty="0">
                <a:solidFill>
                  <a:srgbClr val="FFFFFF">
                    <a:alpha val="99000"/>
                  </a:srgbClr>
                </a:solidFill>
                <a:latin typeface="Segoe UI Light" pitchFamily="34" charset="0"/>
                <a:ea typeface="Segoe UI" pitchFamily="34" charset="0"/>
                <a:cs typeface="Segoe UI" pitchFamily="34" charset="0"/>
              </a:rPr>
              <a:t>processes</a:t>
            </a:r>
          </a:p>
          <a:p>
            <a:pPr defTabSz="806433">
              <a:spcAft>
                <a:spcPts val="882"/>
              </a:spcAft>
            </a:pPr>
            <a:r>
              <a:rPr lang="en-US" sz="1324" dirty="0">
                <a:solidFill>
                  <a:srgbClr val="FFFFFF">
                    <a:alpha val="99000"/>
                  </a:srgbClr>
                </a:solidFill>
                <a:latin typeface="Segoe UI Light" pitchFamily="34" charset="0"/>
                <a:ea typeface="Segoe UI" pitchFamily="34" charset="0"/>
                <a:cs typeface="Segoe UI" pitchFamily="34" charset="0"/>
              </a:rPr>
              <a:t>You </a:t>
            </a:r>
            <a:r>
              <a:rPr lang="en-US" sz="1324" dirty="0">
                <a:solidFill>
                  <a:srgbClr val="FFFFFF">
                    <a:alpha val="99000"/>
                  </a:srgbClr>
                </a:solidFill>
                <a:latin typeface="Segoe UI Light" pitchFamily="34" charset="0"/>
                <a:ea typeface="Segoe UI" pitchFamily="34" charset="0"/>
                <a:cs typeface="Segoe UI" pitchFamily="34" charset="0"/>
              </a:rPr>
              <a:t>package your </a:t>
            </a:r>
            <a:r>
              <a:rPr lang="en-US" sz="1324" dirty="0">
                <a:solidFill>
                  <a:srgbClr val="FFFFFF">
                    <a:alpha val="99000"/>
                  </a:srgbClr>
                </a:solidFill>
                <a:latin typeface="Segoe UI Light" pitchFamily="34" charset="0"/>
                <a:ea typeface="Segoe UI" pitchFamily="34" charset="0"/>
                <a:cs typeface="Segoe UI" pitchFamily="34" charset="0"/>
              </a:rPr>
              <a:t>code/artifacts and deploy</a:t>
            </a:r>
            <a:endParaRPr lang="en-US" sz="1324" dirty="0">
              <a:solidFill>
                <a:srgbClr val="FFFFFF">
                  <a:alpha val="99000"/>
                </a:srgbClr>
              </a:solidFill>
              <a:latin typeface="Segoe UI Light" pitchFamily="34" charset="0"/>
              <a:ea typeface="Segoe UI" pitchFamily="34" charset="0"/>
              <a:cs typeface="Segoe UI" pitchFamily="34" charset="0"/>
            </a:endParaRPr>
          </a:p>
          <a:p>
            <a:pPr defTabSz="806433">
              <a:spcAft>
                <a:spcPts val="882"/>
              </a:spcAft>
            </a:pPr>
            <a:r>
              <a:rPr lang="en-US" sz="1324" dirty="0">
                <a:solidFill>
                  <a:srgbClr val="FFFFFF">
                    <a:alpha val="99000"/>
                  </a:srgbClr>
                </a:solidFill>
                <a:latin typeface="Segoe UI Light" pitchFamily="34" charset="0"/>
                <a:ea typeface="Segoe UI" pitchFamily="34" charset="0"/>
                <a:cs typeface="Segoe UI" pitchFamily="34" charset="0"/>
              </a:rPr>
              <a:t>Azure </a:t>
            </a:r>
            <a:r>
              <a:rPr lang="en-US" sz="1324" dirty="0">
                <a:solidFill>
                  <a:srgbClr val="FFFFFF">
                    <a:alpha val="99000"/>
                  </a:srgbClr>
                </a:solidFill>
                <a:latin typeface="Segoe UI Light" pitchFamily="34" charset="0"/>
                <a:ea typeface="Segoe UI" pitchFamily="34" charset="0"/>
                <a:cs typeface="Segoe UI" pitchFamily="34" charset="0"/>
              </a:rPr>
              <a:t>bootstraps a VM, installs the </a:t>
            </a:r>
            <a:r>
              <a:rPr lang="en-US" sz="1324" dirty="0">
                <a:solidFill>
                  <a:srgbClr val="FFFFFF">
                    <a:alpha val="99000"/>
                  </a:srgbClr>
                </a:solidFill>
                <a:latin typeface="Segoe UI Light" pitchFamily="34" charset="0"/>
                <a:ea typeface="Segoe UI" pitchFamily="34" charset="0"/>
                <a:cs typeface="Segoe UI" pitchFamily="34" charset="0"/>
              </a:rPr>
              <a:t>code </a:t>
            </a:r>
            <a:br>
              <a:rPr lang="en-US" sz="1324" dirty="0">
                <a:solidFill>
                  <a:srgbClr val="FFFFFF">
                    <a:alpha val="99000"/>
                  </a:srgbClr>
                </a:solidFill>
                <a:latin typeface="Segoe UI Light" pitchFamily="34" charset="0"/>
                <a:ea typeface="Segoe UI" pitchFamily="34" charset="0"/>
                <a:cs typeface="Segoe UI" pitchFamily="34" charset="0"/>
              </a:rPr>
            </a:br>
            <a:r>
              <a:rPr lang="en-US" sz="1324" dirty="0">
                <a:solidFill>
                  <a:srgbClr val="FFFFFF">
                    <a:alpha val="99000"/>
                  </a:srgbClr>
                </a:solidFill>
                <a:latin typeface="Segoe UI Light" pitchFamily="34" charset="0"/>
                <a:ea typeface="Segoe UI" pitchFamily="34" charset="0"/>
                <a:cs typeface="Segoe UI" pitchFamily="34" charset="0"/>
              </a:rPr>
              <a:t>and starts </a:t>
            </a:r>
            <a:r>
              <a:rPr lang="en-US" sz="1324" dirty="0">
                <a:solidFill>
                  <a:srgbClr val="FFFFFF">
                    <a:alpha val="99000"/>
                  </a:srgbClr>
                </a:solidFill>
                <a:latin typeface="Segoe UI Light" pitchFamily="34" charset="0"/>
                <a:ea typeface="Segoe UI" pitchFamily="34" charset="0"/>
                <a:cs typeface="Segoe UI" pitchFamily="34" charset="0"/>
              </a:rPr>
              <a:t>up the VM for </a:t>
            </a:r>
            <a:r>
              <a:rPr lang="en-US" sz="1324" dirty="0">
                <a:solidFill>
                  <a:srgbClr val="FFFFFF">
                    <a:alpha val="99000"/>
                  </a:srgbClr>
                </a:solidFill>
                <a:latin typeface="Segoe UI Light" pitchFamily="34" charset="0"/>
                <a:ea typeface="Segoe UI" pitchFamily="34" charset="0"/>
                <a:cs typeface="Segoe UI" pitchFamily="34" charset="0"/>
              </a:rPr>
              <a:t>you. Load </a:t>
            </a:r>
            <a:r>
              <a:rPr lang="en-US" sz="1324" dirty="0">
                <a:solidFill>
                  <a:srgbClr val="FFFFFF">
                    <a:alpha val="99000"/>
                  </a:srgbClr>
                </a:solidFill>
                <a:latin typeface="Segoe UI Light" pitchFamily="34" charset="0"/>
                <a:ea typeface="Segoe UI" pitchFamily="34" charset="0"/>
                <a:cs typeface="Segoe UI" pitchFamily="34" charset="0"/>
              </a:rPr>
              <a:t>balances multiple </a:t>
            </a:r>
            <a:r>
              <a:rPr lang="en-US" sz="1324" dirty="0">
                <a:solidFill>
                  <a:srgbClr val="FFFFFF">
                    <a:alpha val="99000"/>
                  </a:srgbClr>
                </a:solidFill>
                <a:latin typeface="Segoe UI Light" pitchFamily="34" charset="0"/>
                <a:ea typeface="Segoe UI" pitchFamily="34" charset="0"/>
                <a:cs typeface="Segoe UI" pitchFamily="34" charset="0"/>
              </a:rPr>
              <a:t>instances and manages all OS patching and instance resilience and lifecycle</a:t>
            </a:r>
            <a:endParaRPr lang="en-US" sz="1324" dirty="0">
              <a:solidFill>
                <a:srgbClr val="FFFFFF">
                  <a:alpha val="99000"/>
                </a:srgbClr>
              </a:solidFill>
              <a:latin typeface="Segoe UI Light" pitchFamily="34" charset="0"/>
              <a:ea typeface="Segoe UI" pitchFamily="34" charset="0"/>
              <a:cs typeface="Segoe UI" pitchFamily="34" charset="0"/>
            </a:endParaRPr>
          </a:p>
          <a:p>
            <a:pPr defTabSz="806433">
              <a:spcAft>
                <a:spcPts val="882"/>
              </a:spcAft>
            </a:pPr>
            <a:endParaRPr lang="en-US" sz="1324" dirty="0">
              <a:solidFill>
                <a:srgbClr val="FFFFFF">
                  <a:alpha val="99000"/>
                </a:srgbClr>
              </a:solidFill>
              <a:latin typeface="Segoe UI Light" pitchFamily="34" charset="0"/>
              <a:ea typeface="Segoe UI" pitchFamily="34" charset="0"/>
              <a:cs typeface="Segoe UI" pitchFamily="34" charset="0"/>
            </a:endParaRPr>
          </a:p>
        </p:txBody>
      </p:sp>
    </p:spTree>
    <p:extLst>
      <p:ext uri="{BB962C8B-B14F-4D97-AF65-F5344CB8AC3E}">
        <p14:creationId xmlns:p14="http://schemas.microsoft.com/office/powerpoint/2010/main" val="45260162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custDataLst>
              <p:tags r:id="rId1"/>
            </p:custDataLst>
          </p:nvPr>
        </p:nvSpPr>
        <p:spPr bwMode="auto">
          <a:xfrm>
            <a:off x="457787" y="823742"/>
            <a:ext cx="8219759" cy="297838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49" tIns="34275" rIns="34275" bIns="68549" numCol="1" spcCol="0" rtlCol="0" fromWordArt="0" anchor="t" anchorCtr="0" forceAA="0" compatLnSpc="1">
            <a:prstTxWarp prst="textNoShape">
              <a:avLst/>
            </a:prstTxWarp>
            <a:noAutofit/>
          </a:bodyPr>
          <a:lstStyle/>
          <a:p>
            <a:pPr marL="171384" algn="ctr" defTabSz="685307" fontAlgn="base">
              <a:spcBef>
                <a:spcPct val="0"/>
              </a:spcBef>
              <a:spcAft>
                <a:spcPct val="0"/>
              </a:spcAft>
            </a:pPr>
            <a:r>
              <a:rPr lang="en-US" sz="2100" dirty="0">
                <a:solidFill>
                  <a:schemeClr val="tx1">
                    <a:alpha val="99000"/>
                  </a:schemeClr>
                </a:solidFill>
                <a:latin typeface="Segoe UI Light"/>
              </a:rPr>
              <a:t>Public Cloud</a:t>
            </a:r>
          </a:p>
        </p:txBody>
      </p:sp>
      <p:sp>
        <p:nvSpPr>
          <p:cNvPr id="31" name="Left-Right Arrow 30"/>
          <p:cNvSpPr/>
          <p:nvPr>
            <p:custDataLst>
              <p:tags r:id="rId2"/>
            </p:custDataLst>
          </p:nvPr>
        </p:nvSpPr>
        <p:spPr bwMode="auto">
          <a:xfrm>
            <a:off x="457788" y="3849142"/>
            <a:ext cx="8223970" cy="855922"/>
          </a:xfrm>
          <a:prstGeom prst="leftRightArrow">
            <a:avLst>
              <a:gd name="adj1" fmla="val 63344"/>
              <a:gd name="adj2" fmla="val 30188"/>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49" tIns="34275" rIns="34275" bIns="68549" numCol="1" spcCol="0" rtlCol="0" fromWordArt="0" anchor="b" anchorCtr="0" forceAA="0" compatLnSpc="1">
            <a:prstTxWarp prst="textNoShape">
              <a:avLst/>
            </a:prstTxWarp>
            <a:noAutofit/>
          </a:bodyPr>
          <a:lstStyle/>
          <a:p>
            <a:pPr algn="ctr" defTabSz="685307" fontAlgn="base">
              <a:spcBef>
                <a:spcPct val="0"/>
              </a:spcBef>
              <a:spcAft>
                <a:spcPct val="0"/>
              </a:spcAft>
            </a:pPr>
            <a:endParaRPr lang="en-US" sz="1350" spc="-38"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32" name="Group 31"/>
          <p:cNvGrpSpPr/>
          <p:nvPr>
            <p:custDataLst>
              <p:tags r:id="rId3"/>
            </p:custDataLst>
          </p:nvPr>
        </p:nvGrpSpPr>
        <p:grpSpPr>
          <a:xfrm>
            <a:off x="665784" y="4058703"/>
            <a:ext cx="8253714" cy="422354"/>
            <a:chOff x="885380" y="5575759"/>
            <a:chExt cx="11006513" cy="563219"/>
          </a:xfrm>
        </p:grpSpPr>
        <p:sp>
          <p:nvSpPr>
            <p:cNvPr id="33" name="Rectangle 32"/>
            <p:cNvSpPr/>
            <p:nvPr/>
          </p:nvSpPr>
          <p:spPr>
            <a:xfrm>
              <a:off x="1166122" y="5703480"/>
              <a:ext cx="10725771" cy="353993"/>
            </a:xfrm>
            <a:prstGeom prst="rect">
              <a:avLst/>
            </a:prstGeom>
          </p:spPr>
          <p:txBody>
            <a:bodyPr wrap="square">
              <a:spAutoFit/>
            </a:bodyPr>
            <a:lstStyle/>
            <a:p>
              <a:pPr algn="ctr"/>
              <a:r>
                <a:rPr lang="en-US" sz="1125" dirty="0">
                  <a:solidFill>
                    <a:schemeClr val="bg1">
                      <a:alpha val="99000"/>
                    </a:schemeClr>
                  </a:solidFill>
                  <a:cs typeface="Segoe UI" pitchFamily="34" charset="0"/>
                </a:rPr>
                <a:t>Use both </a:t>
              </a:r>
              <a:r>
                <a:rPr lang="en-US" sz="1125" b="1" dirty="0">
                  <a:solidFill>
                    <a:schemeClr val="bg1">
                      <a:alpha val="99000"/>
                    </a:schemeClr>
                  </a:solidFill>
                  <a:cs typeface="Segoe UI" pitchFamily="34" charset="0"/>
                </a:rPr>
                <a:t>SQL Server in Windows Azure VM </a:t>
              </a:r>
              <a:r>
                <a:rPr lang="en-US" sz="1125" dirty="0">
                  <a:solidFill>
                    <a:schemeClr val="bg1">
                      <a:alpha val="99000"/>
                    </a:schemeClr>
                  </a:solidFill>
                  <a:cs typeface="Segoe UI" pitchFamily="34" charset="0"/>
                </a:rPr>
                <a:t>and</a:t>
              </a:r>
              <a:r>
                <a:rPr lang="en-US" sz="1125" b="1" dirty="0">
                  <a:solidFill>
                    <a:schemeClr val="bg1">
                      <a:alpha val="99000"/>
                    </a:schemeClr>
                  </a:solidFill>
                  <a:cs typeface="Segoe UI" pitchFamily="34" charset="0"/>
                </a:rPr>
                <a:t> Windows Azure SQL Database </a:t>
              </a:r>
              <a:r>
                <a:rPr lang="en-US" sz="1125" dirty="0">
                  <a:solidFill>
                    <a:schemeClr val="bg1">
                      <a:alpha val="99000"/>
                    </a:schemeClr>
                  </a:solidFill>
                  <a:cs typeface="Segoe UI" pitchFamily="34" charset="0"/>
                </a:rPr>
                <a:t>in a single app.</a:t>
              </a:r>
            </a:p>
          </p:txBody>
        </p:sp>
        <p:pic>
          <p:nvPicPr>
            <p:cNvPr id="34" name="Picture 3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85380" y="5575759"/>
              <a:ext cx="858963" cy="563219"/>
            </a:xfrm>
            <a:prstGeom prst="rect">
              <a:avLst/>
            </a:prstGeom>
          </p:spPr>
        </p:pic>
      </p:grpSp>
      <p:sp>
        <p:nvSpPr>
          <p:cNvPr id="35" name="Rectangle 34"/>
          <p:cNvSpPr/>
          <p:nvPr>
            <p:custDataLst>
              <p:tags r:id="rId4"/>
            </p:custDataLst>
          </p:nvPr>
        </p:nvSpPr>
        <p:spPr bwMode="auto">
          <a:xfrm rot="16200000">
            <a:off x="-570866" y="2800608"/>
            <a:ext cx="1714257" cy="232665"/>
          </a:xfrm>
          <a:prstGeom prst="rect">
            <a:avLst/>
          </a:prstGeom>
          <a:solidFill>
            <a:schemeClr val="accent4"/>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54849" rIns="0" bIns="41136" numCol="1" rtlCol="0" anchor="ctr" anchorCtr="0" compatLnSpc="1">
            <a:prstTxWarp prst="textNoShape">
              <a:avLst/>
            </a:prstTxWarp>
            <a:spAutoFit/>
          </a:bodyPr>
          <a:lstStyle/>
          <a:p>
            <a:pPr algn="ctr" defTabSz="913757" fontAlgn="base">
              <a:spcBef>
                <a:spcPts val="630"/>
              </a:spcBef>
              <a:spcAft>
                <a:spcPct val="0"/>
              </a:spcAft>
              <a:buClr>
                <a:srgbClr val="FFFF99"/>
              </a:buClr>
              <a:buSzPct val="120000"/>
              <a:defRPr/>
            </a:pPr>
            <a:r>
              <a:rPr lang="en-US" sz="882" cap="all" spc="15" dirty="0">
                <a:solidFill>
                  <a:schemeClr val="bg1">
                    <a:alpha val="99000"/>
                  </a:schemeClr>
                </a:solidFill>
                <a:cs typeface="Segoe UI" pitchFamily="34" charset="0"/>
              </a:rPr>
              <a:t>KEY SCENARIOS</a:t>
            </a:r>
          </a:p>
        </p:txBody>
      </p:sp>
      <p:grpSp>
        <p:nvGrpSpPr>
          <p:cNvPr id="36" name="Group 35"/>
          <p:cNvGrpSpPr/>
          <p:nvPr>
            <p:custDataLst>
              <p:tags r:id="rId5"/>
            </p:custDataLst>
          </p:nvPr>
        </p:nvGrpSpPr>
        <p:grpSpPr>
          <a:xfrm>
            <a:off x="457789" y="2059810"/>
            <a:ext cx="980554" cy="1714257"/>
            <a:chOff x="608013" y="3020605"/>
            <a:chExt cx="1307592" cy="2286000"/>
          </a:xfrm>
          <a:solidFill>
            <a:schemeClr val="accent2"/>
          </a:solidFill>
        </p:grpSpPr>
        <p:sp>
          <p:nvSpPr>
            <p:cNvPr id="37" name="Rectangle 36"/>
            <p:cNvSpPr/>
            <p:nvPr>
              <p:custDataLst>
                <p:tags r:id="rId17"/>
              </p:custDataLst>
            </p:nvPr>
          </p:nvSpPr>
          <p:spPr bwMode="auto">
            <a:xfrm>
              <a:off x="608013" y="3020605"/>
              <a:ext cx="1307592" cy="2286000"/>
            </a:xfrm>
            <a:prstGeom prst="rect">
              <a:avLst/>
            </a:prstGeom>
            <a:grp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285" tIns="548562" rIns="34285" bIns="45704" numCol="1" rtlCol="0" anchor="t" anchorCtr="0" compatLnSpc="1">
              <a:prstTxWarp prst="textNoShape">
                <a:avLst/>
              </a:prstTxWarp>
              <a:noAutofit/>
            </a:bodyPr>
            <a:lstStyle/>
            <a:p>
              <a:pPr algn="ctr" defTabSz="913757" fontAlgn="base">
                <a:spcBef>
                  <a:spcPts val="630"/>
                </a:spcBef>
                <a:spcAft>
                  <a:spcPct val="0"/>
                </a:spcAft>
                <a:buClr>
                  <a:schemeClr val="bg2">
                    <a:lumMod val="75000"/>
                  </a:schemeClr>
                </a:buClr>
                <a:buSzPct val="100000"/>
              </a:pPr>
              <a:r>
                <a:rPr lang="en-US" sz="1200" dirty="0">
                  <a:solidFill>
                    <a:schemeClr val="bg1">
                      <a:alpha val="99000"/>
                    </a:schemeClr>
                  </a:solidFill>
                  <a:cs typeface="Segoe UI" pitchFamily="34" charset="0"/>
                </a:rPr>
                <a:t>Move Existing Tier 2 &amp; 3 Apps</a:t>
              </a:r>
            </a:p>
          </p:txBody>
        </p:sp>
        <p:pic>
          <p:nvPicPr>
            <p:cNvPr id="38" name="Picture 37"/>
            <p:cNvPicPr>
              <a:picLocks noChangeAspect="1"/>
            </p:cNvPicPr>
            <p:nvPr/>
          </p:nvPicPr>
          <p:blipFill rotWithShape="1">
            <a:blip r:embed="rId21" cstate="print">
              <a:extLst>
                <a:ext uri="{28A0092B-C50C-407E-A947-70E740481C1C}">
                  <a14:useLocalDpi xmlns:a14="http://schemas.microsoft.com/office/drawing/2010/main" val="0"/>
                </a:ext>
              </a:extLst>
            </a:blip>
            <a:srcRect l="27680"/>
            <a:stretch/>
          </p:blipFill>
          <p:spPr>
            <a:xfrm>
              <a:off x="1022176" y="3143323"/>
              <a:ext cx="752962" cy="428533"/>
            </a:xfrm>
            <a:prstGeom prst="rect">
              <a:avLst/>
            </a:prstGeom>
            <a:grpFill/>
          </p:spPr>
        </p:pic>
        <p:pic>
          <p:nvPicPr>
            <p:cNvPr id="39" name="Picture 38"/>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a:grpFill/>
          </p:spPr>
        </p:pic>
      </p:grpSp>
      <p:grpSp>
        <p:nvGrpSpPr>
          <p:cNvPr id="40" name="Group 39"/>
          <p:cNvGrpSpPr/>
          <p:nvPr>
            <p:custDataLst>
              <p:tags r:id="rId6"/>
            </p:custDataLst>
          </p:nvPr>
        </p:nvGrpSpPr>
        <p:grpSpPr>
          <a:xfrm>
            <a:off x="1490914" y="2059810"/>
            <a:ext cx="980554" cy="1714257"/>
            <a:chOff x="1985709" y="3020605"/>
            <a:chExt cx="1307592" cy="2286000"/>
          </a:xfrm>
          <a:solidFill>
            <a:schemeClr val="accent2"/>
          </a:solidFill>
        </p:grpSpPr>
        <p:sp>
          <p:nvSpPr>
            <p:cNvPr id="41" name="Rectangle 40"/>
            <p:cNvSpPr/>
            <p:nvPr>
              <p:custDataLst>
                <p:tags r:id="rId16"/>
              </p:custDataLst>
            </p:nvPr>
          </p:nvSpPr>
          <p:spPr bwMode="auto">
            <a:xfrm>
              <a:off x="1985709" y="3020605"/>
              <a:ext cx="1307592" cy="2286000"/>
            </a:xfrm>
            <a:prstGeom prst="rect">
              <a:avLst/>
            </a:prstGeom>
            <a:grp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285" tIns="548562" rIns="34285" bIns="45704" numCol="1" rtlCol="0" anchor="t" anchorCtr="0" compatLnSpc="1">
              <a:prstTxWarp prst="textNoShape">
                <a:avLst/>
              </a:prstTxWarp>
              <a:noAutofit/>
            </a:bodyPr>
            <a:lstStyle/>
            <a:p>
              <a:pPr algn="ctr" defTabSz="913757" fontAlgn="base">
                <a:spcBef>
                  <a:spcPts val="630"/>
                </a:spcBef>
                <a:spcAft>
                  <a:spcPct val="0"/>
                </a:spcAft>
                <a:buClr>
                  <a:schemeClr val="bg2">
                    <a:lumMod val="75000"/>
                  </a:schemeClr>
                </a:buClr>
                <a:buSzPct val="100000"/>
              </a:pPr>
              <a:r>
                <a:rPr lang="en-US" sz="1200" dirty="0">
                  <a:solidFill>
                    <a:schemeClr val="bg1">
                      <a:alpha val="99000"/>
                    </a:schemeClr>
                  </a:solidFill>
                  <a:cs typeface="Segoe UI" pitchFamily="34" charset="0"/>
                </a:rPr>
                <a:t>Develop </a:t>
              </a:r>
              <a:br>
                <a:rPr lang="en-US" sz="1200" dirty="0">
                  <a:solidFill>
                    <a:schemeClr val="bg1">
                      <a:alpha val="99000"/>
                    </a:schemeClr>
                  </a:solidFill>
                  <a:cs typeface="Segoe UI" pitchFamily="34" charset="0"/>
                </a:rPr>
              </a:br>
              <a:r>
                <a:rPr lang="en-US" sz="1200" dirty="0">
                  <a:solidFill>
                    <a:schemeClr val="bg1">
                      <a:alpha val="99000"/>
                    </a:schemeClr>
                  </a:solidFill>
                  <a:cs typeface="Segoe UI" pitchFamily="34" charset="0"/>
                </a:rPr>
                <a:t>&amp; Test </a:t>
              </a:r>
            </a:p>
          </p:txBody>
        </p:sp>
        <p:pic>
          <p:nvPicPr>
            <p:cNvPr id="42" name="Picture 41"/>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2197766" y="3204895"/>
              <a:ext cx="883478" cy="530087"/>
            </a:xfrm>
            <a:prstGeom prst="rect">
              <a:avLst/>
            </a:prstGeom>
            <a:grpFill/>
          </p:spPr>
        </p:pic>
      </p:grpSp>
      <p:grpSp>
        <p:nvGrpSpPr>
          <p:cNvPr id="43" name="Group 42"/>
          <p:cNvGrpSpPr/>
          <p:nvPr>
            <p:custDataLst>
              <p:tags r:id="rId7"/>
            </p:custDataLst>
          </p:nvPr>
        </p:nvGrpSpPr>
        <p:grpSpPr>
          <a:xfrm>
            <a:off x="2524039" y="2059810"/>
            <a:ext cx="980554" cy="1714257"/>
            <a:chOff x="3363405" y="3020605"/>
            <a:chExt cx="1307592" cy="2286000"/>
          </a:xfrm>
          <a:solidFill>
            <a:schemeClr val="accent2"/>
          </a:solidFill>
        </p:grpSpPr>
        <p:sp>
          <p:nvSpPr>
            <p:cNvPr id="44" name="Rectangle 43"/>
            <p:cNvSpPr/>
            <p:nvPr>
              <p:custDataLst>
                <p:tags r:id="rId15"/>
              </p:custDataLst>
            </p:nvPr>
          </p:nvSpPr>
          <p:spPr bwMode="auto">
            <a:xfrm>
              <a:off x="3363405" y="3020605"/>
              <a:ext cx="1307592" cy="2286000"/>
            </a:xfrm>
            <a:prstGeom prst="rect">
              <a:avLst/>
            </a:prstGeom>
            <a:grp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285" tIns="548562" rIns="34285" bIns="45704" numCol="1" rtlCol="0" anchor="t" anchorCtr="0" compatLnSpc="1">
              <a:prstTxWarp prst="textNoShape">
                <a:avLst/>
              </a:prstTxWarp>
              <a:noAutofit/>
            </a:bodyPr>
            <a:lstStyle/>
            <a:p>
              <a:pPr algn="ctr" defTabSz="913757" fontAlgn="base">
                <a:spcBef>
                  <a:spcPts val="630"/>
                </a:spcBef>
                <a:spcAft>
                  <a:spcPct val="0"/>
                </a:spcAft>
                <a:buClr>
                  <a:schemeClr val="bg2">
                    <a:lumMod val="75000"/>
                  </a:schemeClr>
                </a:buClr>
                <a:buSzPct val="100000"/>
              </a:pPr>
              <a:r>
                <a:rPr lang="en-US" sz="1200" dirty="0">
                  <a:solidFill>
                    <a:schemeClr val="bg1">
                      <a:alpha val="99000"/>
                    </a:schemeClr>
                  </a:solidFill>
                  <a:cs typeface="Segoe UI" pitchFamily="34" charset="0"/>
                </a:rPr>
                <a:t>Backup Database to the Cloud</a:t>
              </a:r>
            </a:p>
          </p:txBody>
        </p:sp>
        <p:pic>
          <p:nvPicPr>
            <p:cNvPr id="45" name="Picture 44"/>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496624" y="3255671"/>
              <a:ext cx="1041155" cy="428534"/>
            </a:xfrm>
            <a:prstGeom prst="rect">
              <a:avLst/>
            </a:prstGeom>
            <a:grpFill/>
          </p:spPr>
        </p:pic>
      </p:grpSp>
      <p:grpSp>
        <p:nvGrpSpPr>
          <p:cNvPr id="46" name="Group 45"/>
          <p:cNvGrpSpPr/>
          <p:nvPr>
            <p:custDataLst>
              <p:tags r:id="rId8"/>
            </p:custDataLst>
          </p:nvPr>
        </p:nvGrpSpPr>
        <p:grpSpPr>
          <a:xfrm>
            <a:off x="3557166" y="2059810"/>
            <a:ext cx="980554" cy="1714257"/>
            <a:chOff x="4741101" y="3020605"/>
            <a:chExt cx="1307592" cy="2286000"/>
          </a:xfrm>
          <a:solidFill>
            <a:schemeClr val="accent2"/>
          </a:solidFill>
        </p:grpSpPr>
        <p:sp>
          <p:nvSpPr>
            <p:cNvPr id="47" name="Rectangle 46"/>
            <p:cNvSpPr/>
            <p:nvPr>
              <p:custDataLst>
                <p:tags r:id="rId14"/>
              </p:custDataLst>
            </p:nvPr>
          </p:nvSpPr>
          <p:spPr bwMode="auto">
            <a:xfrm>
              <a:off x="4741101" y="3020605"/>
              <a:ext cx="1307592" cy="2286000"/>
            </a:xfrm>
            <a:prstGeom prst="rect">
              <a:avLst/>
            </a:prstGeom>
            <a:grp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34285" tIns="548562" rIns="34285" bIns="45704" numCol="1" rtlCol="0" anchor="t" anchorCtr="0" compatLnSpc="1">
              <a:prstTxWarp prst="textNoShape">
                <a:avLst/>
              </a:prstTxWarp>
              <a:noAutofit/>
            </a:bodyPr>
            <a:lstStyle/>
            <a:p>
              <a:pPr algn="ctr" defTabSz="913757" fontAlgn="base">
                <a:spcAft>
                  <a:spcPts val="675"/>
                </a:spcAft>
                <a:buClr>
                  <a:schemeClr val="bg2">
                    <a:lumMod val="75000"/>
                  </a:schemeClr>
                </a:buClr>
                <a:buSzPct val="100000"/>
              </a:pPr>
              <a:r>
                <a:rPr lang="en-US" sz="1200" dirty="0">
                  <a:ln>
                    <a:solidFill>
                      <a:srgbClr val="FFFFFF">
                        <a:alpha val="0"/>
                      </a:srgbClr>
                    </a:solidFill>
                  </a:ln>
                  <a:solidFill>
                    <a:schemeClr val="bg1">
                      <a:alpha val="99000"/>
                    </a:schemeClr>
                  </a:solidFill>
                  <a:cs typeface="Segoe UI" pitchFamily="34" charset="0"/>
                </a:rPr>
                <a:t>Extend </a:t>
              </a:r>
              <a:br>
                <a:rPr lang="en-US" sz="1200" dirty="0">
                  <a:ln>
                    <a:solidFill>
                      <a:srgbClr val="FFFFFF">
                        <a:alpha val="0"/>
                      </a:srgbClr>
                    </a:solidFill>
                  </a:ln>
                  <a:solidFill>
                    <a:schemeClr val="bg1">
                      <a:alpha val="99000"/>
                    </a:schemeClr>
                  </a:solidFill>
                  <a:cs typeface="Segoe UI" pitchFamily="34" charset="0"/>
                </a:rPr>
              </a:br>
              <a:r>
                <a:rPr lang="en-US" sz="1200" dirty="0">
                  <a:ln>
                    <a:solidFill>
                      <a:srgbClr val="FFFFFF">
                        <a:alpha val="0"/>
                      </a:srgbClr>
                    </a:solidFill>
                  </a:ln>
                  <a:solidFill>
                    <a:schemeClr val="bg1">
                      <a:alpha val="99000"/>
                    </a:schemeClr>
                  </a:solidFill>
                  <a:cs typeface="Segoe UI" pitchFamily="34" charset="0"/>
                </a:rPr>
                <a:t>On-Prem Apps to Windows Azure VM </a:t>
              </a:r>
            </a:p>
          </p:txBody>
        </p:sp>
        <p:pic>
          <p:nvPicPr>
            <p:cNvPr id="48" name="Picture 4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031121" y="3162306"/>
              <a:ext cx="727551" cy="571502"/>
            </a:xfrm>
            <a:prstGeom prst="rect">
              <a:avLst/>
            </a:prstGeom>
            <a:grpFill/>
          </p:spPr>
        </p:pic>
      </p:grpSp>
      <p:grpSp>
        <p:nvGrpSpPr>
          <p:cNvPr id="49" name="Group 48"/>
          <p:cNvGrpSpPr/>
          <p:nvPr>
            <p:custDataLst>
              <p:tags r:id="rId9"/>
            </p:custDataLst>
          </p:nvPr>
        </p:nvGrpSpPr>
        <p:grpSpPr>
          <a:xfrm>
            <a:off x="4597617" y="2059810"/>
            <a:ext cx="2009108" cy="1714257"/>
            <a:chOff x="6203706" y="3130296"/>
            <a:chExt cx="2697480" cy="2286000"/>
          </a:xfrm>
          <a:solidFill>
            <a:schemeClr val="accent2"/>
          </a:solidFill>
        </p:grpSpPr>
        <p:sp>
          <p:nvSpPr>
            <p:cNvPr id="50" name="Rectangle 49"/>
            <p:cNvSpPr/>
            <p:nvPr>
              <p:custDataLst>
                <p:tags r:id="rId13"/>
              </p:custDataLst>
            </p:nvPr>
          </p:nvSpPr>
          <p:spPr bwMode="auto">
            <a:xfrm>
              <a:off x="6203706" y="3130296"/>
              <a:ext cx="2697480" cy="2286000"/>
            </a:xfrm>
            <a:prstGeom prst="rect">
              <a:avLst/>
            </a:prstGeom>
            <a:grp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41" tIns="548562" rIns="137141" bIns="45704" numCol="1" rtlCol="0" anchor="t" anchorCtr="0" compatLnSpc="1">
              <a:prstTxWarp prst="textNoShape">
                <a:avLst/>
              </a:prstTxWarp>
              <a:noAutofit/>
            </a:bodyPr>
            <a:lstStyle/>
            <a:p>
              <a:pPr algn="ctr" defTabSz="913757" fontAlgn="base">
                <a:spcBef>
                  <a:spcPts val="630"/>
                </a:spcBef>
                <a:spcAft>
                  <a:spcPts val="675"/>
                </a:spcAft>
                <a:buClr>
                  <a:schemeClr val="bg2">
                    <a:lumMod val="75000"/>
                  </a:schemeClr>
                </a:buClr>
                <a:buSzPct val="100000"/>
              </a:pPr>
              <a:endParaRPr lang="en-US" sz="1200" dirty="0">
                <a:ln>
                  <a:solidFill>
                    <a:srgbClr val="FFFFFF">
                      <a:alpha val="0"/>
                    </a:srgbClr>
                  </a:solidFill>
                </a:ln>
                <a:solidFill>
                  <a:schemeClr val="bg1">
                    <a:alpha val="99000"/>
                  </a:schemeClr>
                </a:solidFill>
                <a:cs typeface="Segoe UI" pitchFamily="34" charset="0"/>
              </a:endParaRPr>
            </a:p>
            <a:p>
              <a:pPr algn="ctr" defTabSz="913757" fontAlgn="base">
                <a:spcBef>
                  <a:spcPts val="630"/>
                </a:spcBef>
                <a:spcAft>
                  <a:spcPts val="675"/>
                </a:spcAft>
                <a:buClr>
                  <a:schemeClr val="bg2">
                    <a:lumMod val="75000"/>
                  </a:schemeClr>
                </a:buClr>
                <a:buSzPct val="100000"/>
              </a:pPr>
              <a:r>
                <a:rPr lang="en-US" sz="1200" dirty="0">
                  <a:ln>
                    <a:solidFill>
                      <a:srgbClr val="FFFFFF">
                        <a:alpha val="0"/>
                      </a:srgbClr>
                    </a:solidFill>
                  </a:ln>
                  <a:solidFill>
                    <a:schemeClr val="bg1">
                      <a:alpha val="99000"/>
                    </a:schemeClr>
                  </a:solidFill>
                  <a:cs typeface="Segoe UI" pitchFamily="34" charset="0"/>
                </a:rPr>
                <a:t>Develop New </a:t>
              </a:r>
              <a:br>
                <a:rPr lang="en-US" sz="1200" dirty="0">
                  <a:ln>
                    <a:solidFill>
                      <a:srgbClr val="FFFFFF">
                        <a:alpha val="0"/>
                      </a:srgbClr>
                    </a:solidFill>
                  </a:ln>
                  <a:solidFill>
                    <a:schemeClr val="bg1">
                      <a:alpha val="99000"/>
                    </a:schemeClr>
                  </a:solidFill>
                  <a:cs typeface="Segoe UI" pitchFamily="34" charset="0"/>
                </a:rPr>
              </a:br>
              <a:r>
                <a:rPr lang="en-US" sz="1200" dirty="0">
                  <a:ln>
                    <a:solidFill>
                      <a:srgbClr val="FFFFFF">
                        <a:alpha val="0"/>
                      </a:srgbClr>
                    </a:solidFill>
                  </a:ln>
                  <a:solidFill>
                    <a:schemeClr val="bg1">
                      <a:alpha val="99000"/>
                    </a:schemeClr>
                  </a:solidFill>
                  <a:cs typeface="Segoe UI" pitchFamily="34" charset="0"/>
                </a:rPr>
                <a:t>Cloud-Designed Apps</a:t>
              </a:r>
            </a:p>
          </p:txBody>
        </p:sp>
        <p:pic>
          <p:nvPicPr>
            <p:cNvPr id="51" name="Picture 50"/>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946352" y="3461143"/>
              <a:ext cx="868680" cy="603839"/>
            </a:xfrm>
            <a:prstGeom prst="rect">
              <a:avLst/>
            </a:prstGeom>
            <a:grpFill/>
          </p:spPr>
        </p:pic>
      </p:grpSp>
      <p:grpSp>
        <p:nvGrpSpPr>
          <p:cNvPr id="52" name="Group 51"/>
          <p:cNvGrpSpPr/>
          <p:nvPr>
            <p:custDataLst>
              <p:tags r:id="rId10"/>
            </p:custDataLst>
          </p:nvPr>
        </p:nvGrpSpPr>
        <p:grpSpPr>
          <a:xfrm>
            <a:off x="6668441" y="2059810"/>
            <a:ext cx="2009108" cy="1714257"/>
            <a:chOff x="8890055" y="3020605"/>
            <a:chExt cx="2679192" cy="2286000"/>
          </a:xfrm>
          <a:solidFill>
            <a:schemeClr val="accent2"/>
          </a:solidFill>
        </p:grpSpPr>
        <p:sp>
          <p:nvSpPr>
            <p:cNvPr id="53" name="Rectangle 52"/>
            <p:cNvSpPr/>
            <p:nvPr>
              <p:custDataLst>
                <p:tags r:id="rId12"/>
              </p:custDataLst>
            </p:nvPr>
          </p:nvSpPr>
          <p:spPr bwMode="auto">
            <a:xfrm>
              <a:off x="8890055" y="3020605"/>
              <a:ext cx="2679192" cy="2286000"/>
            </a:xfrm>
            <a:prstGeom prst="rect">
              <a:avLst/>
            </a:prstGeom>
            <a:grp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41" tIns="548562" rIns="137141" bIns="45704" numCol="1" rtlCol="0" anchor="t" anchorCtr="0" compatLnSpc="1">
              <a:prstTxWarp prst="textNoShape">
                <a:avLst/>
              </a:prstTxWarp>
              <a:noAutofit/>
            </a:bodyPr>
            <a:lstStyle/>
            <a:p>
              <a:pPr algn="ctr" defTabSz="913757" fontAlgn="base">
                <a:spcAft>
                  <a:spcPts val="675"/>
                </a:spcAft>
                <a:buClr>
                  <a:schemeClr val="bg2">
                    <a:lumMod val="75000"/>
                  </a:schemeClr>
                </a:buClr>
                <a:buSzPct val="100000"/>
              </a:pPr>
              <a:endParaRPr lang="en-US" sz="1200" dirty="0">
                <a:ln>
                  <a:solidFill>
                    <a:srgbClr val="FFFFFF">
                      <a:alpha val="0"/>
                    </a:srgbClr>
                  </a:solidFill>
                </a:ln>
                <a:solidFill>
                  <a:schemeClr val="bg1"/>
                </a:solidFill>
                <a:cs typeface="Segoe UI" pitchFamily="34" charset="0"/>
              </a:endParaRPr>
            </a:p>
            <a:p>
              <a:pPr algn="ctr" defTabSz="913757" fontAlgn="base">
                <a:spcAft>
                  <a:spcPts val="675"/>
                </a:spcAft>
                <a:buClr>
                  <a:schemeClr val="bg2">
                    <a:lumMod val="75000"/>
                  </a:schemeClr>
                </a:buClr>
                <a:buSzPct val="100000"/>
              </a:pPr>
              <a:r>
                <a:rPr lang="en-US" sz="1200" dirty="0">
                  <a:ln>
                    <a:solidFill>
                      <a:srgbClr val="FFFFFF">
                        <a:alpha val="0"/>
                      </a:srgbClr>
                    </a:solidFill>
                  </a:ln>
                  <a:solidFill>
                    <a:schemeClr val="bg1"/>
                  </a:solidFill>
                  <a:cs typeface="Segoe UI" pitchFamily="34" charset="0"/>
                </a:rPr>
                <a:t>Extend On-Prem Apps </a:t>
              </a:r>
              <a:br>
                <a:rPr lang="en-US" sz="1200" dirty="0">
                  <a:ln>
                    <a:solidFill>
                      <a:srgbClr val="FFFFFF">
                        <a:alpha val="0"/>
                      </a:srgbClr>
                    </a:solidFill>
                  </a:ln>
                  <a:solidFill>
                    <a:schemeClr val="bg1"/>
                  </a:solidFill>
                  <a:cs typeface="Segoe UI" pitchFamily="34" charset="0"/>
                </a:rPr>
              </a:br>
              <a:r>
                <a:rPr lang="en-US" sz="1200" dirty="0">
                  <a:ln>
                    <a:solidFill>
                      <a:srgbClr val="FFFFFF">
                        <a:alpha val="0"/>
                      </a:srgbClr>
                    </a:solidFill>
                  </a:ln>
                  <a:solidFill>
                    <a:schemeClr val="bg1"/>
                  </a:solidFill>
                  <a:cs typeface="Segoe UI" pitchFamily="34" charset="0"/>
                </a:rPr>
                <a:t>to Windows Azure </a:t>
              </a:r>
              <a:br>
                <a:rPr lang="en-US" sz="1200" dirty="0">
                  <a:ln>
                    <a:solidFill>
                      <a:srgbClr val="FFFFFF">
                        <a:alpha val="0"/>
                      </a:srgbClr>
                    </a:solidFill>
                  </a:ln>
                  <a:solidFill>
                    <a:schemeClr val="bg1"/>
                  </a:solidFill>
                  <a:cs typeface="Segoe UI" pitchFamily="34" charset="0"/>
                </a:rPr>
              </a:br>
              <a:r>
                <a:rPr lang="en-US" sz="1200" dirty="0">
                  <a:ln>
                    <a:solidFill>
                      <a:srgbClr val="FFFFFF">
                        <a:alpha val="0"/>
                      </a:srgbClr>
                    </a:solidFill>
                  </a:ln>
                  <a:solidFill>
                    <a:schemeClr val="bg1"/>
                  </a:solidFill>
                  <a:cs typeface="Segoe UI" pitchFamily="34" charset="0"/>
                </a:rPr>
                <a:t>SQL Database</a:t>
              </a:r>
            </a:p>
          </p:txBody>
        </p:sp>
        <p:pic>
          <p:nvPicPr>
            <p:cNvPr id="54" name="Picture 53"/>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751490" y="3231687"/>
              <a:ext cx="956317" cy="756329"/>
            </a:xfrm>
            <a:prstGeom prst="rect">
              <a:avLst/>
            </a:prstGeom>
            <a:grpFill/>
          </p:spPr>
        </p:pic>
      </p:grpSp>
      <p:sp>
        <p:nvSpPr>
          <p:cNvPr id="55" name="Rectangle 54"/>
          <p:cNvSpPr/>
          <p:nvPr/>
        </p:nvSpPr>
        <p:spPr bwMode="auto">
          <a:xfrm>
            <a:off x="457786" y="1310150"/>
            <a:ext cx="4079932" cy="678777"/>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61" tIns="67232" rIns="68561" bIns="0" numCol="1" rtlCol="0" anchor="ctr" anchorCtr="0" compatLnSpc="1">
            <a:prstTxWarp prst="textNoShape">
              <a:avLst/>
            </a:prstTxWarp>
            <a:noAutofit/>
          </a:bodyPr>
          <a:lstStyle/>
          <a:p>
            <a:pPr algn="ctr" defTabSz="913757" fontAlgn="base">
              <a:lnSpc>
                <a:spcPct val="90000"/>
              </a:lnSpc>
              <a:spcBef>
                <a:spcPts val="630"/>
              </a:spcBef>
              <a:spcAft>
                <a:spcPct val="0"/>
              </a:spcAft>
              <a:buClr>
                <a:srgbClr val="FFFF99"/>
              </a:buClr>
              <a:buSzPct val="120000"/>
            </a:pPr>
            <a:r>
              <a:rPr lang="en-US" sz="1425" dirty="0">
                <a:ln>
                  <a:solidFill>
                    <a:srgbClr val="FFFFFF">
                      <a:alpha val="0"/>
                    </a:srgbClr>
                  </a:solidFill>
                </a:ln>
                <a:solidFill>
                  <a:schemeClr val="bg1">
                    <a:alpha val="99000"/>
                  </a:schemeClr>
                </a:solidFill>
                <a:cs typeface="Segoe UI" pitchFamily="34" charset="0"/>
              </a:rPr>
              <a:t>SQL Server in a Windows Azure Virtual Machine</a:t>
            </a:r>
          </a:p>
        </p:txBody>
      </p:sp>
      <p:sp>
        <p:nvSpPr>
          <p:cNvPr id="56" name="Rectangle 55"/>
          <p:cNvSpPr/>
          <p:nvPr/>
        </p:nvSpPr>
        <p:spPr bwMode="auto">
          <a:xfrm>
            <a:off x="4597615" y="1310150"/>
            <a:ext cx="4079931" cy="678777"/>
          </a:xfrm>
          <a:prstGeom prst="rect">
            <a:avLst/>
          </a:prstGeom>
          <a:solidFill>
            <a:schemeClr val="accent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8561" tIns="67232" rIns="68561" bIns="0" numCol="1" rtlCol="0" anchor="ctr" anchorCtr="0" compatLnSpc="1">
            <a:prstTxWarp prst="textNoShape">
              <a:avLst/>
            </a:prstTxWarp>
            <a:noAutofit/>
          </a:bodyPr>
          <a:lstStyle/>
          <a:p>
            <a:pPr algn="ctr" defTabSz="913757" fontAlgn="base">
              <a:lnSpc>
                <a:spcPct val="90000"/>
              </a:lnSpc>
              <a:spcBef>
                <a:spcPts val="630"/>
              </a:spcBef>
              <a:spcAft>
                <a:spcPct val="0"/>
              </a:spcAft>
              <a:buClr>
                <a:srgbClr val="FFFF99"/>
              </a:buClr>
              <a:buSzPct val="120000"/>
            </a:pPr>
            <a:r>
              <a:rPr lang="en-US" sz="1425" dirty="0">
                <a:ln>
                  <a:solidFill>
                    <a:srgbClr val="FFFFFF">
                      <a:alpha val="0"/>
                    </a:srgbClr>
                  </a:solidFill>
                </a:ln>
                <a:solidFill>
                  <a:schemeClr val="bg1">
                    <a:alpha val="99000"/>
                  </a:schemeClr>
                </a:solidFill>
                <a:cs typeface="Segoe UI" pitchFamily="34" charset="0"/>
              </a:rPr>
              <a:t>Windows Azure SQL Database</a:t>
            </a:r>
          </a:p>
          <a:p>
            <a:pPr algn="ctr" defTabSz="913757" fontAlgn="base">
              <a:lnSpc>
                <a:spcPct val="90000"/>
              </a:lnSpc>
              <a:spcAft>
                <a:spcPct val="0"/>
              </a:spcAft>
              <a:buClr>
                <a:srgbClr val="FFFF99"/>
              </a:buClr>
              <a:buSzPct val="120000"/>
            </a:pPr>
            <a:r>
              <a:rPr lang="en-US" sz="750" dirty="0">
                <a:ln>
                  <a:solidFill>
                    <a:srgbClr val="FFFFFF">
                      <a:alpha val="0"/>
                    </a:srgbClr>
                  </a:solidFill>
                </a:ln>
                <a:solidFill>
                  <a:schemeClr val="bg1">
                    <a:alpha val="99000"/>
                  </a:schemeClr>
                </a:solidFill>
                <a:cs typeface="Segoe UI" pitchFamily="34" charset="0"/>
              </a:rPr>
              <a:t>(Formerly SQL Azure Database) </a:t>
            </a:r>
            <a:endParaRPr lang="fi-FI" sz="750" dirty="0">
              <a:ln>
                <a:solidFill>
                  <a:srgbClr val="FFFFFF">
                    <a:alpha val="0"/>
                  </a:srgbClr>
                </a:solidFill>
              </a:ln>
              <a:solidFill>
                <a:schemeClr val="bg1">
                  <a:alpha val="99000"/>
                </a:schemeClr>
              </a:solidFill>
              <a:cs typeface="Segoe UI" pitchFamily="34" charset="0"/>
            </a:endParaRPr>
          </a:p>
        </p:txBody>
      </p:sp>
      <p:sp>
        <p:nvSpPr>
          <p:cNvPr id="60" name="Rectangle 59"/>
          <p:cNvSpPr/>
          <p:nvPr>
            <p:custDataLst>
              <p:tags r:id="rId11"/>
            </p:custDataLst>
          </p:nvPr>
        </p:nvSpPr>
        <p:spPr bwMode="auto">
          <a:xfrm rot="16200000">
            <a:off x="-287946" y="1290002"/>
            <a:ext cx="1165187" cy="232665"/>
          </a:xfrm>
          <a:prstGeom prst="rect">
            <a:avLst/>
          </a:prstGeom>
          <a:solidFill>
            <a:schemeClr val="accent4"/>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54849" rIns="0" bIns="41136" numCol="1" rtlCol="0" anchor="ctr" anchorCtr="0" compatLnSpc="1">
            <a:prstTxWarp prst="textNoShape">
              <a:avLst/>
            </a:prstTxWarp>
            <a:spAutoFit/>
          </a:bodyPr>
          <a:lstStyle/>
          <a:p>
            <a:pPr algn="ctr" defTabSz="913757" fontAlgn="base">
              <a:spcBef>
                <a:spcPts val="630"/>
              </a:spcBef>
              <a:spcAft>
                <a:spcPct val="0"/>
              </a:spcAft>
              <a:buClr>
                <a:srgbClr val="FFFF99"/>
              </a:buClr>
              <a:buSzPct val="120000"/>
              <a:defRPr/>
            </a:pPr>
            <a:r>
              <a:rPr lang="en-US" sz="882" cap="all" spc="15" dirty="0">
                <a:solidFill>
                  <a:schemeClr val="bg1">
                    <a:alpha val="99000"/>
                  </a:schemeClr>
                </a:solidFill>
                <a:cs typeface="Segoe UI" pitchFamily="34" charset="0"/>
              </a:rPr>
              <a:t>Delivery Options</a:t>
            </a:r>
          </a:p>
        </p:txBody>
      </p:sp>
      <p:sp>
        <p:nvSpPr>
          <p:cNvPr id="61" name="Title 1"/>
          <p:cNvSpPr>
            <a:spLocks noGrp="1"/>
          </p:cNvSpPr>
          <p:nvPr>
            <p:ph type="title"/>
          </p:nvPr>
        </p:nvSpPr>
        <p:spPr>
          <a:xfrm>
            <a:off x="176458" y="117135"/>
            <a:ext cx="8741880" cy="606955"/>
          </a:xfrm>
        </p:spPr>
        <p:txBody>
          <a:bodyPr/>
          <a:lstStyle/>
          <a:p>
            <a:r>
              <a:rPr lang="en-US" dirty="0" smtClean="0"/>
              <a:t>SQL Server and Azure SQL Database</a:t>
            </a:r>
            <a:endParaRPr lang="en-US" dirty="0">
              <a:solidFill>
                <a:schemeClr val="accent2"/>
              </a:solidFill>
              <a:latin typeface="+mj-lt"/>
            </a:endParaRPr>
          </a:p>
        </p:txBody>
      </p:sp>
    </p:spTree>
    <p:extLst>
      <p:ext uri="{BB962C8B-B14F-4D97-AF65-F5344CB8AC3E}">
        <p14:creationId xmlns:p14="http://schemas.microsoft.com/office/powerpoint/2010/main" val="2651654872"/>
      </p:ext>
    </p:extLst>
  </p:cSld>
  <p:clrMapOvr>
    <a:masterClrMapping/>
  </p:clrMapOvr>
  <mc:AlternateContent xmlns:mc="http://schemas.openxmlformats.org/markup-compatibility/2006">
    <mc:Choice xmlns:p14="http://schemas.microsoft.com/office/powerpoint/2010/main" Requires="p14">
      <p:transition p14:dur="10" advTm="364165"/>
    </mc:Choice>
    <mc:Fallback>
      <p:transition advTm="364165"/>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Azure SQL DB - How </a:t>
            </a:r>
            <a:r>
              <a:rPr lang="en-US" dirty="0"/>
              <a:t>It Works</a:t>
            </a:r>
          </a:p>
        </p:txBody>
      </p:sp>
      <p:sp>
        <p:nvSpPr>
          <p:cNvPr id="4" name="Text Placeholder 3"/>
          <p:cNvSpPr>
            <a:spLocks noGrp="1"/>
          </p:cNvSpPr>
          <p:nvPr>
            <p:ph type="body" sz="quarter" idx="15"/>
          </p:nvPr>
        </p:nvSpPr>
        <p:spPr/>
        <p:txBody>
          <a:bodyPr/>
          <a:lstStyle/>
          <a:p>
            <a:r>
              <a:rPr lang="en-US" dirty="0" smtClean="0"/>
              <a:t>Architecture</a:t>
            </a:r>
            <a:endParaRPr lang="en-US" dirty="0"/>
          </a:p>
        </p:txBody>
      </p:sp>
      <p:sp>
        <p:nvSpPr>
          <p:cNvPr id="30" name="Content Placeholder 2"/>
          <p:cNvSpPr txBox="1">
            <a:spLocks/>
          </p:cNvSpPr>
          <p:nvPr/>
        </p:nvSpPr>
        <p:spPr>
          <a:xfrm>
            <a:off x="385298" y="1244672"/>
            <a:ext cx="5146261" cy="1479983"/>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4515" lvl="1" indent="-252134" defTabSz="685682">
              <a:spcBef>
                <a:spcPts val="450"/>
              </a:spcBef>
            </a:pPr>
            <a:r>
              <a:rPr lang="en-US" sz="1350" spc="-38" dirty="0"/>
              <a:t>Client </a:t>
            </a:r>
            <a:r>
              <a:rPr lang="en-US" sz="1350" spc="-38" dirty="0"/>
              <a:t>Layer -  Used by application to communicate directly with SQL Database.</a:t>
            </a:r>
          </a:p>
          <a:p>
            <a:pPr marL="254515" lvl="1" indent="-252134" defTabSz="685682">
              <a:spcBef>
                <a:spcPts val="450"/>
              </a:spcBef>
            </a:pPr>
            <a:r>
              <a:rPr lang="en-US" sz="1350" spc="-38" dirty="0"/>
              <a:t>Services Layer – Gateway between Client layer and Platform layer.</a:t>
            </a:r>
          </a:p>
          <a:p>
            <a:pPr marL="254515" lvl="1" indent="-252134" defTabSz="685682">
              <a:spcBef>
                <a:spcPts val="450"/>
              </a:spcBef>
            </a:pPr>
            <a:r>
              <a:rPr lang="en-US" sz="1350" spc="-38" dirty="0"/>
              <a:t>Platform Layer – Includes physical servicers and services that support the Services layer.</a:t>
            </a:r>
          </a:p>
          <a:p>
            <a:pPr marL="254515" lvl="1" indent="-252134" defTabSz="685682">
              <a:spcBef>
                <a:spcPts val="450"/>
              </a:spcBef>
            </a:pPr>
            <a:r>
              <a:rPr lang="en-US" sz="1350" spc="-38" dirty="0"/>
              <a:t>Infrastructure Layer – IT administration of the physical HW and OS.</a:t>
            </a:r>
            <a:br>
              <a:rPr lang="en-US" sz="1350" spc="-38" dirty="0"/>
            </a:br>
            <a:endParaRPr lang="en-US" sz="1800" dirty="0"/>
          </a:p>
        </p:txBody>
      </p:sp>
      <p:grpSp>
        <p:nvGrpSpPr>
          <p:cNvPr id="10" name="Group 9"/>
          <p:cNvGrpSpPr/>
          <p:nvPr/>
        </p:nvGrpSpPr>
        <p:grpSpPr>
          <a:xfrm>
            <a:off x="5849391" y="760250"/>
            <a:ext cx="3017964" cy="4299052"/>
            <a:chOff x="7955578" y="1033496"/>
            <a:chExt cx="4104640" cy="5847009"/>
          </a:xfrm>
        </p:grpSpPr>
        <p:sp>
          <p:nvSpPr>
            <p:cNvPr id="79" name="Rectangle 78"/>
            <p:cNvSpPr/>
            <p:nvPr/>
          </p:nvSpPr>
          <p:spPr bwMode="auto">
            <a:xfrm>
              <a:off x="7955579" y="6639915"/>
              <a:ext cx="4055223" cy="240590"/>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900" dirty="0">
                  <a:gradFill>
                    <a:gsLst>
                      <a:gs pos="0">
                        <a:schemeClr val="bg1"/>
                      </a:gs>
                      <a:gs pos="100000">
                        <a:schemeClr val="bg1"/>
                      </a:gs>
                    </a:gsLst>
                    <a:lin ang="5400000" scaled="0"/>
                  </a:gradFill>
                </a:rPr>
                <a:t>Infrastructure Layer</a:t>
              </a:r>
            </a:p>
          </p:txBody>
        </p:sp>
        <p:grpSp>
          <p:nvGrpSpPr>
            <p:cNvPr id="80" name="Group 79"/>
            <p:cNvGrpSpPr/>
            <p:nvPr/>
          </p:nvGrpSpPr>
          <p:grpSpPr>
            <a:xfrm>
              <a:off x="8004995" y="1033496"/>
              <a:ext cx="4055223" cy="1474739"/>
              <a:chOff x="7517245" y="738821"/>
              <a:chExt cx="3976070" cy="1445954"/>
            </a:xfrm>
          </p:grpSpPr>
          <p:sp>
            <p:nvSpPr>
              <p:cNvPr id="3" name="Rectangle 2"/>
              <p:cNvSpPr/>
              <p:nvPr/>
            </p:nvSpPr>
            <p:spPr bwMode="auto">
              <a:xfrm>
                <a:off x="7517245" y="979961"/>
                <a:ext cx="932688" cy="619876"/>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900" dirty="0">
                    <a:gradFill>
                      <a:gsLst>
                        <a:gs pos="0">
                          <a:schemeClr val="tx1"/>
                        </a:gs>
                        <a:gs pos="100000">
                          <a:schemeClr val="tx1"/>
                        </a:gs>
                      </a:gsLst>
                      <a:lin ang="5400000" scaled="0"/>
                    </a:gradFill>
                  </a:rPr>
                  <a:t>PHP</a:t>
                </a:r>
              </a:p>
            </p:txBody>
          </p:sp>
          <p:sp>
            <p:nvSpPr>
              <p:cNvPr id="39" name="Rectangle 38"/>
              <p:cNvSpPr/>
              <p:nvPr/>
            </p:nvSpPr>
            <p:spPr bwMode="auto">
              <a:xfrm>
                <a:off x="10270836" y="971493"/>
                <a:ext cx="1222479" cy="628343"/>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900" dirty="0">
                    <a:gradFill>
                      <a:gsLst>
                        <a:gs pos="0">
                          <a:schemeClr val="tx1"/>
                        </a:gs>
                        <a:gs pos="100000">
                          <a:schemeClr val="tx1"/>
                        </a:gs>
                      </a:gsLst>
                      <a:lin ang="5400000" scaled="0"/>
                    </a:gradFill>
                  </a:rPr>
                  <a:t>WCF Data Services</a:t>
                </a:r>
              </a:p>
            </p:txBody>
          </p:sp>
          <p:sp>
            <p:nvSpPr>
              <p:cNvPr id="40" name="Rectangle 39"/>
              <p:cNvSpPr/>
              <p:nvPr/>
            </p:nvSpPr>
            <p:spPr bwMode="auto">
              <a:xfrm>
                <a:off x="8556153" y="983386"/>
                <a:ext cx="1631556" cy="616450"/>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900" dirty="0">
                    <a:gradFill>
                      <a:gsLst>
                        <a:gs pos="0">
                          <a:schemeClr val="tx1"/>
                        </a:gs>
                        <a:gs pos="100000">
                          <a:schemeClr val="tx1"/>
                        </a:gs>
                      </a:gsLst>
                      <a:lin ang="5400000" scaled="0"/>
                    </a:gradFill>
                  </a:rPr>
                  <a:t>SQL Server</a:t>
                </a:r>
              </a:p>
              <a:p>
                <a:pPr algn="ctr" defTabSz="685513" fontAlgn="base">
                  <a:spcBef>
                    <a:spcPct val="0"/>
                  </a:spcBef>
                  <a:spcAft>
                    <a:spcPct val="0"/>
                  </a:spcAft>
                </a:pPr>
                <a:r>
                  <a:rPr lang="en-US" sz="900" dirty="0">
                    <a:gradFill>
                      <a:gsLst>
                        <a:gs pos="0">
                          <a:schemeClr val="tx1"/>
                        </a:gs>
                        <a:gs pos="100000">
                          <a:schemeClr val="tx1"/>
                        </a:gs>
                      </a:gsLst>
                      <a:lin ang="5400000" scaled="0"/>
                    </a:gradFill>
                  </a:rPr>
                  <a:t>Applications</a:t>
                </a:r>
              </a:p>
              <a:p>
                <a:pPr algn="ctr" defTabSz="685513" fontAlgn="base">
                  <a:spcBef>
                    <a:spcPct val="0"/>
                  </a:spcBef>
                  <a:spcAft>
                    <a:spcPct val="0"/>
                  </a:spcAft>
                </a:pPr>
                <a:r>
                  <a:rPr lang="en-US" sz="900" dirty="0">
                    <a:gradFill>
                      <a:gsLst>
                        <a:gs pos="0">
                          <a:schemeClr val="tx1"/>
                        </a:gs>
                        <a:gs pos="100000">
                          <a:schemeClr val="tx1"/>
                        </a:gs>
                      </a:gsLst>
                      <a:lin ang="5400000" scaled="0"/>
                    </a:gradFill>
                  </a:rPr>
                  <a:t>and Tools</a:t>
                </a:r>
              </a:p>
            </p:txBody>
          </p:sp>
          <p:sp>
            <p:nvSpPr>
              <p:cNvPr id="41" name="Rectangle 40"/>
              <p:cNvSpPr/>
              <p:nvPr/>
            </p:nvSpPr>
            <p:spPr bwMode="auto">
              <a:xfrm>
                <a:off x="7517245" y="1657566"/>
                <a:ext cx="2005446" cy="235894"/>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900" dirty="0">
                    <a:gradFill>
                      <a:gsLst>
                        <a:gs pos="0">
                          <a:schemeClr val="tx1"/>
                        </a:gs>
                        <a:gs pos="100000">
                          <a:schemeClr val="tx1"/>
                        </a:gs>
                      </a:gsLst>
                      <a:lin ang="5400000" scaled="0"/>
                    </a:gradFill>
                  </a:rPr>
                  <a:t>ODBC</a:t>
                </a:r>
              </a:p>
            </p:txBody>
          </p:sp>
          <p:sp>
            <p:nvSpPr>
              <p:cNvPr id="42" name="Rectangle 41"/>
              <p:cNvSpPr/>
              <p:nvPr/>
            </p:nvSpPr>
            <p:spPr bwMode="auto">
              <a:xfrm>
                <a:off x="9642764" y="1657566"/>
                <a:ext cx="1850551" cy="235894"/>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900" dirty="0">
                    <a:gradFill>
                      <a:gsLst>
                        <a:gs pos="0">
                          <a:schemeClr val="tx1"/>
                        </a:gs>
                        <a:gs pos="100000">
                          <a:schemeClr val="tx1"/>
                        </a:gs>
                      </a:gsLst>
                      <a:lin ang="5400000" scaled="0"/>
                    </a:gradFill>
                  </a:rPr>
                  <a:t>ADO.NET</a:t>
                </a:r>
              </a:p>
            </p:txBody>
          </p:sp>
          <p:sp>
            <p:nvSpPr>
              <p:cNvPr id="43" name="Rectangle 42"/>
              <p:cNvSpPr/>
              <p:nvPr/>
            </p:nvSpPr>
            <p:spPr bwMode="auto">
              <a:xfrm>
                <a:off x="7517245" y="1948881"/>
                <a:ext cx="3976070" cy="235894"/>
              </a:xfrm>
              <a:prstGeom prst="rect">
                <a:avLst/>
              </a:prstGeom>
              <a:solidFill>
                <a:schemeClr val="accent2">
                  <a:lumMod val="60000"/>
                  <a:lumOff val="40000"/>
                </a:schemeClr>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900" dirty="0">
                    <a:gradFill>
                      <a:gsLst>
                        <a:gs pos="0">
                          <a:schemeClr val="tx1"/>
                        </a:gs>
                        <a:gs pos="100000">
                          <a:schemeClr val="tx1"/>
                        </a:gs>
                      </a:gsLst>
                      <a:lin ang="5400000" scaled="0"/>
                    </a:gradFill>
                  </a:rPr>
                  <a:t>Tabular Data Stream (TDS)</a:t>
                </a:r>
              </a:p>
            </p:txBody>
          </p:sp>
          <p:sp>
            <p:nvSpPr>
              <p:cNvPr id="83" name="TextBox 82"/>
              <p:cNvSpPr txBox="1"/>
              <p:nvPr/>
            </p:nvSpPr>
            <p:spPr>
              <a:xfrm>
                <a:off x="9144049" y="738821"/>
                <a:ext cx="705421" cy="138520"/>
              </a:xfrm>
              <a:prstGeom prst="rect">
                <a:avLst/>
              </a:prstGeom>
              <a:noFill/>
            </p:spPr>
            <p:txBody>
              <a:bodyPr wrap="none" lIns="0" tIns="0" rIns="0" bIns="0" rtlCol="0">
                <a:spAutoFit/>
              </a:bodyPr>
              <a:lstStyle/>
              <a:p>
                <a:pPr>
                  <a:lnSpc>
                    <a:spcPct val="90000"/>
                  </a:lnSpc>
                  <a:spcBef>
                    <a:spcPct val="20000"/>
                  </a:spcBef>
                  <a:buSzPct val="80000"/>
                </a:pPr>
                <a:r>
                  <a:rPr lang="en-US" sz="750" b="1" dirty="0">
                    <a:gradFill>
                      <a:gsLst>
                        <a:gs pos="0">
                          <a:schemeClr val="tx1"/>
                        </a:gs>
                        <a:gs pos="100000">
                          <a:schemeClr val="tx1"/>
                        </a:gs>
                      </a:gsLst>
                      <a:lin ang="5400000" scaled="0"/>
                    </a:gradFill>
                  </a:rPr>
                  <a:t>Client Layer</a:t>
                </a:r>
                <a:endParaRPr lang="en-US" sz="900" b="1" dirty="0">
                  <a:gradFill>
                    <a:gsLst>
                      <a:gs pos="0">
                        <a:schemeClr val="tx1"/>
                      </a:gs>
                      <a:gs pos="100000">
                        <a:schemeClr val="tx1"/>
                      </a:gs>
                    </a:gsLst>
                    <a:lin ang="5400000" scaled="0"/>
                  </a:gradFill>
                </a:endParaRPr>
              </a:p>
            </p:txBody>
          </p:sp>
        </p:grpSp>
        <p:grpSp>
          <p:nvGrpSpPr>
            <p:cNvPr id="91" name="Group 90"/>
            <p:cNvGrpSpPr/>
            <p:nvPr/>
          </p:nvGrpSpPr>
          <p:grpSpPr>
            <a:xfrm>
              <a:off x="7955579" y="2555107"/>
              <a:ext cx="4055223" cy="2125679"/>
              <a:chOff x="7517245" y="2203204"/>
              <a:chExt cx="3976070" cy="2084188"/>
            </a:xfrm>
          </p:grpSpPr>
          <p:cxnSp>
            <p:nvCxnSpPr>
              <p:cNvPr id="13" name="Straight Connector 12"/>
              <p:cNvCxnSpPr/>
              <p:nvPr/>
            </p:nvCxnSpPr>
            <p:spPr>
              <a:xfrm>
                <a:off x="7517245" y="2382991"/>
                <a:ext cx="397607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7517245" y="2486300"/>
                <a:ext cx="3976070" cy="1801092"/>
              </a:xfrm>
              <a:prstGeom prst="rect">
                <a:avLst/>
              </a:prstGeom>
              <a:solidFill>
                <a:schemeClr val="accent2"/>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t" anchorCtr="0" compatLnSpc="1">
                <a:prstTxWarp prst="textNoShape">
                  <a:avLst/>
                </a:prstTxWarp>
              </a:bodyPr>
              <a:lstStyle/>
              <a:p>
                <a:pPr algn="ctr" defTabSz="685513" fontAlgn="base">
                  <a:spcBef>
                    <a:spcPct val="0"/>
                  </a:spcBef>
                  <a:spcAft>
                    <a:spcPct val="0"/>
                  </a:spcAft>
                </a:pPr>
                <a:r>
                  <a:rPr lang="en-US" sz="1050" dirty="0">
                    <a:gradFill>
                      <a:gsLst>
                        <a:gs pos="0">
                          <a:schemeClr val="bg1"/>
                        </a:gs>
                        <a:gs pos="100000">
                          <a:schemeClr val="bg1"/>
                        </a:gs>
                      </a:gsLst>
                      <a:lin ang="5400000" scaled="0"/>
                    </a:gradFill>
                  </a:rPr>
                  <a:t>Services Layer</a:t>
                </a:r>
              </a:p>
            </p:txBody>
          </p:sp>
          <p:sp>
            <p:nvSpPr>
              <p:cNvPr id="46" name="Rectangle 45"/>
              <p:cNvSpPr/>
              <p:nvPr/>
            </p:nvSpPr>
            <p:spPr bwMode="auto">
              <a:xfrm>
                <a:off x="8959585" y="2802550"/>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chemeClr val="tx1"/>
                      </a:gs>
                      <a:gs pos="100000">
                        <a:schemeClr val="tx1"/>
                      </a:gs>
                    </a:gsLst>
                    <a:lin ang="5400000" scaled="0"/>
                  </a:gradFill>
                </a:endParaRPr>
              </a:p>
            </p:txBody>
          </p:sp>
          <p:sp>
            <p:nvSpPr>
              <p:cNvPr id="50" name="Rectangle 49"/>
              <p:cNvSpPr/>
              <p:nvPr/>
            </p:nvSpPr>
            <p:spPr bwMode="auto">
              <a:xfrm>
                <a:off x="9048079" y="289832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Provisioning</a:t>
                </a:r>
              </a:p>
            </p:txBody>
          </p:sp>
          <p:sp>
            <p:nvSpPr>
              <p:cNvPr id="51" name="Rectangle 50"/>
              <p:cNvSpPr/>
              <p:nvPr/>
            </p:nvSpPr>
            <p:spPr bwMode="auto">
              <a:xfrm>
                <a:off x="9048079" y="333087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Billing and Metering</a:t>
                </a:r>
              </a:p>
            </p:txBody>
          </p:sp>
          <p:sp>
            <p:nvSpPr>
              <p:cNvPr id="52" name="Rectangle 51"/>
              <p:cNvSpPr/>
              <p:nvPr/>
            </p:nvSpPr>
            <p:spPr bwMode="auto">
              <a:xfrm>
                <a:off x="9048079" y="3760362"/>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Connection Routing</a:t>
                </a:r>
              </a:p>
            </p:txBody>
          </p:sp>
          <p:sp>
            <p:nvSpPr>
              <p:cNvPr id="53" name="Rectangle 52"/>
              <p:cNvSpPr/>
              <p:nvPr/>
            </p:nvSpPr>
            <p:spPr bwMode="auto">
              <a:xfrm>
                <a:off x="10150997" y="2802550"/>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chemeClr val="tx1"/>
                      </a:gs>
                      <a:gs pos="100000">
                        <a:schemeClr val="tx1"/>
                      </a:gs>
                    </a:gsLst>
                    <a:lin ang="5400000" scaled="0"/>
                  </a:gradFill>
                </a:endParaRPr>
              </a:p>
            </p:txBody>
          </p:sp>
          <p:sp>
            <p:nvSpPr>
              <p:cNvPr id="54" name="Rectangle 53"/>
              <p:cNvSpPr/>
              <p:nvPr/>
            </p:nvSpPr>
            <p:spPr bwMode="auto">
              <a:xfrm>
                <a:off x="10239491" y="289832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Provisioning</a:t>
                </a:r>
              </a:p>
            </p:txBody>
          </p:sp>
          <p:sp>
            <p:nvSpPr>
              <p:cNvPr id="55" name="Rectangle 54"/>
              <p:cNvSpPr/>
              <p:nvPr/>
            </p:nvSpPr>
            <p:spPr bwMode="auto">
              <a:xfrm>
                <a:off x="10239491" y="333087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Billing and Metering</a:t>
                </a:r>
              </a:p>
            </p:txBody>
          </p:sp>
          <p:sp>
            <p:nvSpPr>
              <p:cNvPr id="56" name="Rectangle 55"/>
              <p:cNvSpPr/>
              <p:nvPr/>
            </p:nvSpPr>
            <p:spPr bwMode="auto">
              <a:xfrm>
                <a:off x="10239491" y="3760362"/>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Connection Routing</a:t>
                </a:r>
              </a:p>
            </p:txBody>
          </p:sp>
          <p:sp>
            <p:nvSpPr>
              <p:cNvPr id="57" name="Rectangle 56"/>
              <p:cNvSpPr/>
              <p:nvPr/>
            </p:nvSpPr>
            <p:spPr bwMode="auto">
              <a:xfrm>
                <a:off x="7754240" y="2802550"/>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chemeClr val="tx1"/>
                      </a:gs>
                      <a:gs pos="100000">
                        <a:schemeClr val="tx1"/>
                      </a:gs>
                    </a:gsLst>
                    <a:lin ang="5400000" scaled="0"/>
                  </a:gradFill>
                </a:endParaRPr>
              </a:p>
            </p:txBody>
          </p:sp>
          <p:sp>
            <p:nvSpPr>
              <p:cNvPr id="58" name="Rectangle 57"/>
              <p:cNvSpPr/>
              <p:nvPr/>
            </p:nvSpPr>
            <p:spPr bwMode="auto">
              <a:xfrm>
                <a:off x="7842734" y="289832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Provisioning</a:t>
                </a:r>
              </a:p>
            </p:txBody>
          </p:sp>
          <p:sp>
            <p:nvSpPr>
              <p:cNvPr id="59" name="Rectangle 58"/>
              <p:cNvSpPr/>
              <p:nvPr/>
            </p:nvSpPr>
            <p:spPr bwMode="auto">
              <a:xfrm>
                <a:off x="7842734" y="333087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Billing and Metering</a:t>
                </a:r>
              </a:p>
            </p:txBody>
          </p:sp>
          <p:sp>
            <p:nvSpPr>
              <p:cNvPr id="60" name="Rectangle 59"/>
              <p:cNvSpPr/>
              <p:nvPr/>
            </p:nvSpPr>
            <p:spPr bwMode="auto">
              <a:xfrm>
                <a:off x="7842734" y="3760362"/>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Connection Routing</a:t>
                </a:r>
              </a:p>
            </p:txBody>
          </p:sp>
          <p:sp>
            <p:nvSpPr>
              <p:cNvPr id="17" name="TextBox 16"/>
              <p:cNvSpPr txBox="1"/>
              <p:nvPr/>
            </p:nvSpPr>
            <p:spPr>
              <a:xfrm>
                <a:off x="11286836" y="2992518"/>
                <a:ext cx="141084" cy="166224"/>
              </a:xfrm>
              <a:prstGeom prst="rect">
                <a:avLst/>
              </a:prstGeom>
              <a:noFill/>
            </p:spPr>
            <p:txBody>
              <a:bodyPr wrap="none" lIns="0" tIns="0" rIns="0" bIns="0" rtlCol="0">
                <a:spAutoFit/>
              </a:bodyPr>
              <a:lstStyle/>
              <a:p>
                <a:pPr>
                  <a:lnSpc>
                    <a:spcPct val="90000"/>
                  </a:lnSpc>
                  <a:spcBef>
                    <a:spcPct val="20000"/>
                  </a:spcBef>
                  <a:buSzPct val="80000"/>
                </a:pPr>
                <a:r>
                  <a:rPr lang="en-US" sz="900" b="1" dirty="0">
                    <a:gradFill>
                      <a:gsLst>
                        <a:gs pos="0">
                          <a:schemeClr val="bg1"/>
                        </a:gs>
                        <a:gs pos="100000">
                          <a:schemeClr val="bg1"/>
                        </a:gs>
                      </a:gsLst>
                      <a:lin ang="5400000" scaled="0"/>
                    </a:gradFill>
                  </a:rPr>
                  <a:t>…</a:t>
                </a:r>
              </a:p>
            </p:txBody>
          </p:sp>
          <p:sp>
            <p:nvSpPr>
              <p:cNvPr id="61" name="TextBox 60"/>
              <p:cNvSpPr txBox="1"/>
              <p:nvPr/>
            </p:nvSpPr>
            <p:spPr>
              <a:xfrm>
                <a:off x="11286836" y="3425067"/>
                <a:ext cx="141084" cy="166224"/>
              </a:xfrm>
              <a:prstGeom prst="rect">
                <a:avLst/>
              </a:prstGeom>
              <a:noFill/>
            </p:spPr>
            <p:txBody>
              <a:bodyPr wrap="none" lIns="0" tIns="0" rIns="0" bIns="0" rtlCol="0">
                <a:spAutoFit/>
              </a:bodyPr>
              <a:lstStyle/>
              <a:p>
                <a:pPr>
                  <a:lnSpc>
                    <a:spcPct val="90000"/>
                  </a:lnSpc>
                  <a:spcBef>
                    <a:spcPct val="20000"/>
                  </a:spcBef>
                  <a:buSzPct val="80000"/>
                </a:pPr>
                <a:r>
                  <a:rPr lang="en-US" sz="900" b="1" dirty="0">
                    <a:gradFill>
                      <a:gsLst>
                        <a:gs pos="0">
                          <a:schemeClr val="bg1"/>
                        </a:gs>
                        <a:gs pos="100000">
                          <a:schemeClr val="bg1"/>
                        </a:gs>
                      </a:gsLst>
                      <a:lin ang="5400000" scaled="0"/>
                    </a:gradFill>
                  </a:rPr>
                  <a:t>…</a:t>
                </a:r>
              </a:p>
            </p:txBody>
          </p:sp>
          <p:sp>
            <p:nvSpPr>
              <p:cNvPr id="62" name="TextBox 61"/>
              <p:cNvSpPr txBox="1"/>
              <p:nvPr/>
            </p:nvSpPr>
            <p:spPr>
              <a:xfrm>
                <a:off x="11286836" y="3854559"/>
                <a:ext cx="141084" cy="166224"/>
              </a:xfrm>
              <a:prstGeom prst="rect">
                <a:avLst/>
              </a:prstGeom>
              <a:noFill/>
            </p:spPr>
            <p:txBody>
              <a:bodyPr wrap="none" lIns="0" tIns="0" rIns="0" bIns="0" rtlCol="0">
                <a:spAutoFit/>
              </a:bodyPr>
              <a:lstStyle/>
              <a:p>
                <a:pPr>
                  <a:lnSpc>
                    <a:spcPct val="90000"/>
                  </a:lnSpc>
                  <a:spcBef>
                    <a:spcPct val="20000"/>
                  </a:spcBef>
                  <a:buSzPct val="80000"/>
                </a:pPr>
                <a:r>
                  <a:rPr lang="en-US" sz="900" b="1" dirty="0">
                    <a:gradFill>
                      <a:gsLst>
                        <a:gs pos="0">
                          <a:schemeClr val="bg1"/>
                        </a:gs>
                        <a:gs pos="100000">
                          <a:schemeClr val="bg1"/>
                        </a:gs>
                      </a:gsLst>
                      <a:lin ang="5400000" scaled="0"/>
                    </a:gradFill>
                  </a:rPr>
                  <a:t>…</a:t>
                </a:r>
              </a:p>
            </p:txBody>
          </p:sp>
          <p:cxnSp>
            <p:nvCxnSpPr>
              <p:cNvPr id="82" name="Straight Arrow Connector 81"/>
              <p:cNvCxnSpPr/>
              <p:nvPr/>
            </p:nvCxnSpPr>
            <p:spPr>
              <a:xfrm flipV="1">
                <a:off x="9534277" y="2243104"/>
                <a:ext cx="0" cy="243196"/>
              </a:xfrm>
              <a:prstGeom prst="straightConnector1">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9610327" y="2203204"/>
                <a:ext cx="508759" cy="138520"/>
              </a:xfrm>
              <a:prstGeom prst="rect">
                <a:avLst/>
              </a:prstGeom>
              <a:noFill/>
            </p:spPr>
            <p:txBody>
              <a:bodyPr wrap="none" lIns="0" tIns="0" rIns="0" bIns="0" rtlCol="0">
                <a:spAutoFit/>
              </a:bodyPr>
              <a:lstStyle/>
              <a:p>
                <a:pPr>
                  <a:lnSpc>
                    <a:spcPct val="90000"/>
                  </a:lnSpc>
                  <a:spcBef>
                    <a:spcPct val="20000"/>
                  </a:spcBef>
                  <a:buSzPct val="80000"/>
                </a:pPr>
                <a:r>
                  <a:rPr lang="en-US" sz="750" dirty="0">
                    <a:gradFill>
                      <a:gsLst>
                        <a:gs pos="0">
                          <a:schemeClr val="tx1"/>
                        </a:gs>
                        <a:gs pos="100000">
                          <a:schemeClr val="tx1"/>
                        </a:gs>
                      </a:gsLst>
                      <a:lin ang="5400000" scaled="0"/>
                    </a:gradFill>
                  </a:rPr>
                  <a:t>TDS+SSL</a:t>
                </a:r>
              </a:p>
            </p:txBody>
          </p:sp>
        </p:grpSp>
        <p:grpSp>
          <p:nvGrpSpPr>
            <p:cNvPr id="3072" name="Group 3071"/>
            <p:cNvGrpSpPr/>
            <p:nvPr/>
          </p:nvGrpSpPr>
          <p:grpSpPr>
            <a:xfrm>
              <a:off x="7955578" y="4743537"/>
              <a:ext cx="4055223" cy="1851708"/>
              <a:chOff x="7517244" y="4348918"/>
              <a:chExt cx="3976070" cy="1815565"/>
            </a:xfrm>
          </p:grpSpPr>
          <p:sp>
            <p:nvSpPr>
              <p:cNvPr id="63" name="Rectangle 62"/>
              <p:cNvSpPr/>
              <p:nvPr/>
            </p:nvSpPr>
            <p:spPr bwMode="auto">
              <a:xfrm>
                <a:off x="7517244" y="4348918"/>
                <a:ext cx="3976070" cy="1815565"/>
              </a:xfrm>
              <a:prstGeom prst="rect">
                <a:avLst/>
              </a:prstGeom>
              <a:solidFill>
                <a:schemeClr val="accent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t" anchorCtr="0" compatLnSpc="1">
                <a:prstTxWarp prst="textNoShape">
                  <a:avLst/>
                </a:prstTxWarp>
              </a:bodyPr>
              <a:lstStyle/>
              <a:p>
                <a:pPr algn="ctr" defTabSz="685513" fontAlgn="base">
                  <a:spcBef>
                    <a:spcPct val="0"/>
                  </a:spcBef>
                  <a:spcAft>
                    <a:spcPct val="0"/>
                  </a:spcAft>
                </a:pPr>
                <a:r>
                  <a:rPr lang="en-US" sz="1050" dirty="0">
                    <a:gradFill>
                      <a:gsLst>
                        <a:gs pos="0">
                          <a:schemeClr val="bg1"/>
                        </a:gs>
                        <a:gs pos="100000">
                          <a:schemeClr val="bg1"/>
                        </a:gs>
                      </a:gsLst>
                      <a:lin ang="5400000" scaled="0"/>
                    </a:gradFill>
                  </a:rPr>
                  <a:t>Platform Layer</a:t>
                </a:r>
              </a:p>
            </p:txBody>
          </p:sp>
          <p:sp>
            <p:nvSpPr>
              <p:cNvPr id="64" name="Rectangle 63"/>
              <p:cNvSpPr/>
              <p:nvPr/>
            </p:nvSpPr>
            <p:spPr bwMode="auto">
              <a:xfrm>
                <a:off x="8959584"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chemeClr val="tx1"/>
                      </a:gs>
                      <a:gs pos="100000">
                        <a:schemeClr val="tx1"/>
                      </a:gs>
                    </a:gsLst>
                    <a:lin ang="5400000" scaled="0"/>
                  </a:gradFill>
                </a:endParaRPr>
              </a:p>
            </p:txBody>
          </p:sp>
          <p:sp>
            <p:nvSpPr>
              <p:cNvPr id="65" name="Rectangle 64"/>
              <p:cNvSpPr/>
              <p:nvPr/>
            </p:nvSpPr>
            <p:spPr bwMode="auto">
              <a:xfrm>
                <a:off x="9048078"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SQL Server</a:t>
                </a:r>
              </a:p>
            </p:txBody>
          </p:sp>
          <p:sp>
            <p:nvSpPr>
              <p:cNvPr id="66" name="Rectangle 65"/>
              <p:cNvSpPr/>
              <p:nvPr/>
            </p:nvSpPr>
            <p:spPr bwMode="auto">
              <a:xfrm>
                <a:off x="9048078"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SQL Database Fabric</a:t>
                </a:r>
              </a:p>
            </p:txBody>
          </p:sp>
          <p:sp>
            <p:nvSpPr>
              <p:cNvPr id="67" name="Rectangle 66"/>
              <p:cNvSpPr/>
              <p:nvPr/>
            </p:nvSpPr>
            <p:spPr bwMode="auto">
              <a:xfrm>
                <a:off x="9048078"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Management Services</a:t>
                </a:r>
              </a:p>
            </p:txBody>
          </p:sp>
          <p:sp>
            <p:nvSpPr>
              <p:cNvPr id="68" name="Rectangle 67"/>
              <p:cNvSpPr/>
              <p:nvPr/>
            </p:nvSpPr>
            <p:spPr bwMode="auto">
              <a:xfrm>
                <a:off x="10150996" y="463618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chemeClr val="tx1"/>
                      </a:gs>
                      <a:gs pos="100000">
                        <a:schemeClr val="tx1"/>
                      </a:gs>
                    </a:gsLst>
                    <a:lin ang="5400000" scaled="0"/>
                  </a:gradFill>
                </a:endParaRPr>
              </a:p>
            </p:txBody>
          </p:sp>
          <p:sp>
            <p:nvSpPr>
              <p:cNvPr id="69" name="Rectangle 68"/>
              <p:cNvSpPr/>
              <p:nvPr/>
            </p:nvSpPr>
            <p:spPr bwMode="auto">
              <a:xfrm>
                <a:off x="10239490" y="47319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SQL Server</a:t>
                </a:r>
              </a:p>
            </p:txBody>
          </p:sp>
          <p:sp>
            <p:nvSpPr>
              <p:cNvPr id="70" name="Rectangle 69"/>
              <p:cNvSpPr/>
              <p:nvPr/>
            </p:nvSpPr>
            <p:spPr bwMode="auto">
              <a:xfrm>
                <a:off x="10239490" y="51645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SQL Database Fabric</a:t>
                </a:r>
              </a:p>
            </p:txBody>
          </p:sp>
          <p:sp>
            <p:nvSpPr>
              <p:cNvPr id="71" name="Rectangle 70"/>
              <p:cNvSpPr/>
              <p:nvPr/>
            </p:nvSpPr>
            <p:spPr bwMode="auto">
              <a:xfrm>
                <a:off x="10239490" y="559400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Management Services</a:t>
                </a:r>
              </a:p>
            </p:txBody>
          </p:sp>
          <p:sp>
            <p:nvSpPr>
              <p:cNvPr id="72" name="Rectangle 71"/>
              <p:cNvSpPr/>
              <p:nvPr/>
            </p:nvSpPr>
            <p:spPr bwMode="auto">
              <a:xfrm>
                <a:off x="7754240" y="4645139"/>
                <a:ext cx="1091389" cy="1420185"/>
              </a:xfrm>
              <a:prstGeom prst="rect">
                <a:avLst/>
              </a:prstGeom>
              <a:solidFill>
                <a:schemeClr val="accent6"/>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endParaRPr lang="en-US" sz="1650" dirty="0">
                  <a:gradFill>
                    <a:gsLst>
                      <a:gs pos="0">
                        <a:schemeClr val="tx1"/>
                      </a:gs>
                      <a:gs pos="100000">
                        <a:schemeClr val="tx1"/>
                      </a:gs>
                    </a:gsLst>
                    <a:lin ang="5400000" scaled="0"/>
                  </a:gradFill>
                </a:endParaRPr>
              </a:p>
            </p:txBody>
          </p:sp>
          <p:sp>
            <p:nvSpPr>
              <p:cNvPr id="73" name="Rectangle 72"/>
              <p:cNvSpPr/>
              <p:nvPr/>
            </p:nvSpPr>
            <p:spPr bwMode="auto">
              <a:xfrm>
                <a:off x="7842734" y="474091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SQL Server</a:t>
                </a:r>
              </a:p>
            </p:txBody>
          </p:sp>
          <p:sp>
            <p:nvSpPr>
              <p:cNvPr id="74" name="Rectangle 73"/>
              <p:cNvSpPr/>
              <p:nvPr/>
            </p:nvSpPr>
            <p:spPr bwMode="auto">
              <a:xfrm>
                <a:off x="7842734" y="5173460"/>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SQL Database Fabric</a:t>
                </a:r>
              </a:p>
            </p:txBody>
          </p:sp>
          <p:sp>
            <p:nvSpPr>
              <p:cNvPr id="75" name="Rectangle 74"/>
              <p:cNvSpPr/>
              <p:nvPr/>
            </p:nvSpPr>
            <p:spPr bwMode="auto">
              <a:xfrm>
                <a:off x="7842734" y="5602951"/>
                <a:ext cx="914400" cy="354595"/>
              </a:xfrm>
              <a:prstGeom prst="rect">
                <a:avLst/>
              </a:prstGeom>
              <a:solidFill>
                <a:schemeClr val="bg1"/>
              </a:soli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7" tIns="34284" rIns="68567" bIns="34284" numCol="1" rtlCol="0" anchor="ctr" anchorCtr="0" compatLnSpc="1">
                <a:prstTxWarp prst="textNoShape">
                  <a:avLst/>
                </a:prstTxWarp>
              </a:bodyPr>
              <a:lstStyle/>
              <a:p>
                <a:pPr algn="ctr" defTabSz="685513" fontAlgn="base">
                  <a:spcBef>
                    <a:spcPct val="0"/>
                  </a:spcBef>
                  <a:spcAft>
                    <a:spcPct val="0"/>
                  </a:spcAft>
                </a:pPr>
                <a:r>
                  <a:rPr lang="en-US" sz="675" dirty="0">
                    <a:gradFill>
                      <a:gsLst>
                        <a:gs pos="0">
                          <a:schemeClr val="tx1"/>
                        </a:gs>
                        <a:gs pos="100000">
                          <a:schemeClr val="tx1"/>
                        </a:gs>
                      </a:gsLst>
                      <a:lin ang="5400000" scaled="0"/>
                    </a:gradFill>
                  </a:rPr>
                  <a:t>Management Services</a:t>
                </a:r>
              </a:p>
            </p:txBody>
          </p:sp>
          <p:sp>
            <p:nvSpPr>
              <p:cNvPr id="76" name="TextBox 75"/>
              <p:cNvSpPr txBox="1"/>
              <p:nvPr/>
            </p:nvSpPr>
            <p:spPr>
              <a:xfrm>
                <a:off x="11286837" y="4826158"/>
                <a:ext cx="141084" cy="166224"/>
              </a:xfrm>
              <a:prstGeom prst="rect">
                <a:avLst/>
              </a:prstGeom>
              <a:noFill/>
            </p:spPr>
            <p:txBody>
              <a:bodyPr wrap="none" lIns="0" tIns="0" rIns="0" bIns="0" rtlCol="0">
                <a:spAutoFit/>
              </a:bodyPr>
              <a:lstStyle/>
              <a:p>
                <a:pPr>
                  <a:lnSpc>
                    <a:spcPct val="90000"/>
                  </a:lnSpc>
                  <a:spcBef>
                    <a:spcPct val="20000"/>
                  </a:spcBef>
                  <a:buSzPct val="80000"/>
                </a:pPr>
                <a:r>
                  <a:rPr lang="en-US" sz="900" b="1" dirty="0">
                    <a:gradFill>
                      <a:gsLst>
                        <a:gs pos="0">
                          <a:schemeClr val="bg1"/>
                        </a:gs>
                        <a:gs pos="100000">
                          <a:schemeClr val="bg1"/>
                        </a:gs>
                      </a:gsLst>
                      <a:lin ang="5400000" scaled="0"/>
                    </a:gradFill>
                  </a:rPr>
                  <a:t>…</a:t>
                </a:r>
              </a:p>
            </p:txBody>
          </p:sp>
          <p:sp>
            <p:nvSpPr>
              <p:cNvPr id="77" name="TextBox 76"/>
              <p:cNvSpPr txBox="1"/>
              <p:nvPr/>
            </p:nvSpPr>
            <p:spPr>
              <a:xfrm>
                <a:off x="11286837" y="5272131"/>
                <a:ext cx="141084" cy="166224"/>
              </a:xfrm>
              <a:prstGeom prst="rect">
                <a:avLst/>
              </a:prstGeom>
              <a:noFill/>
            </p:spPr>
            <p:txBody>
              <a:bodyPr wrap="none" lIns="0" tIns="0" rIns="0" bIns="0" rtlCol="0">
                <a:spAutoFit/>
              </a:bodyPr>
              <a:lstStyle/>
              <a:p>
                <a:pPr>
                  <a:lnSpc>
                    <a:spcPct val="90000"/>
                  </a:lnSpc>
                  <a:spcBef>
                    <a:spcPct val="20000"/>
                  </a:spcBef>
                  <a:buSzPct val="80000"/>
                </a:pPr>
                <a:r>
                  <a:rPr lang="en-US" sz="900" b="1" dirty="0">
                    <a:gradFill>
                      <a:gsLst>
                        <a:gs pos="0">
                          <a:schemeClr val="bg1"/>
                        </a:gs>
                        <a:gs pos="100000">
                          <a:schemeClr val="bg1"/>
                        </a:gs>
                      </a:gsLst>
                      <a:lin ang="5400000" scaled="0"/>
                    </a:gradFill>
                  </a:rPr>
                  <a:t>…</a:t>
                </a:r>
              </a:p>
            </p:txBody>
          </p:sp>
          <p:sp>
            <p:nvSpPr>
              <p:cNvPr id="78" name="TextBox 77"/>
              <p:cNvSpPr txBox="1"/>
              <p:nvPr/>
            </p:nvSpPr>
            <p:spPr>
              <a:xfrm>
                <a:off x="11298173" y="5697148"/>
                <a:ext cx="141084" cy="166224"/>
              </a:xfrm>
              <a:prstGeom prst="rect">
                <a:avLst/>
              </a:prstGeom>
              <a:noFill/>
            </p:spPr>
            <p:txBody>
              <a:bodyPr wrap="none" lIns="0" tIns="0" rIns="0" bIns="0" rtlCol="0">
                <a:spAutoFit/>
              </a:bodyPr>
              <a:lstStyle/>
              <a:p>
                <a:pPr>
                  <a:lnSpc>
                    <a:spcPct val="90000"/>
                  </a:lnSpc>
                  <a:spcBef>
                    <a:spcPct val="20000"/>
                  </a:spcBef>
                  <a:buSzPct val="80000"/>
                </a:pPr>
                <a:r>
                  <a:rPr lang="en-US" sz="900" b="1" dirty="0">
                    <a:gradFill>
                      <a:gsLst>
                        <a:gs pos="0">
                          <a:schemeClr val="bg1"/>
                        </a:gs>
                        <a:gs pos="100000">
                          <a:schemeClr val="bg1"/>
                        </a:gs>
                      </a:gsLst>
                      <a:lin ang="5400000" scaled="0"/>
                    </a:gradFill>
                  </a:rPr>
                  <a:t>…</a:t>
                </a:r>
              </a:p>
            </p:txBody>
          </p:sp>
        </p:grpSp>
      </p:grpSp>
      <p:pic>
        <p:nvPicPr>
          <p:cNvPr id="84" name="Picture 8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364" y="3324671"/>
            <a:ext cx="470618" cy="470618"/>
          </a:xfrm>
          <a:prstGeom prst="rect">
            <a:avLst/>
          </a:prstGeom>
        </p:spPr>
      </p:pic>
      <p:cxnSp>
        <p:nvCxnSpPr>
          <p:cNvPr id="7" name="Straight Arrow Connector 6"/>
          <p:cNvCxnSpPr>
            <a:stCxn id="84" idx="3"/>
          </p:cNvCxnSpPr>
          <p:nvPr/>
        </p:nvCxnSpPr>
        <p:spPr>
          <a:xfrm>
            <a:off x="1075981" y="3559981"/>
            <a:ext cx="674363" cy="1427"/>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10584" y="3004815"/>
            <a:ext cx="867871" cy="380108"/>
          </a:xfrm>
          <a:prstGeom prst="rect">
            <a:avLst/>
          </a:prstGeom>
          <a:noFill/>
        </p:spPr>
        <p:txBody>
          <a:bodyPr wrap="none" lIns="134464" tIns="107571" rIns="134464" bIns="107571" rtlCol="0">
            <a:spAutoFit/>
          </a:bodyPr>
          <a:lstStyle/>
          <a:p>
            <a:pPr>
              <a:lnSpc>
                <a:spcPct val="90000"/>
              </a:lnSpc>
            </a:pPr>
            <a:r>
              <a:rPr lang="en-US" sz="1176" dirty="0">
                <a:solidFill>
                  <a:schemeClr val="bg1"/>
                </a:solidFill>
              </a:rPr>
              <a:t>Web Site</a:t>
            </a:r>
          </a:p>
        </p:txBody>
      </p:sp>
      <p:sp>
        <p:nvSpPr>
          <p:cNvPr id="85" name="TextBox 84"/>
          <p:cNvSpPr txBox="1"/>
          <p:nvPr/>
        </p:nvSpPr>
        <p:spPr>
          <a:xfrm>
            <a:off x="1506661" y="3004815"/>
            <a:ext cx="1194884" cy="380108"/>
          </a:xfrm>
          <a:prstGeom prst="rect">
            <a:avLst/>
          </a:prstGeom>
          <a:noFill/>
        </p:spPr>
        <p:txBody>
          <a:bodyPr wrap="none" lIns="134464" tIns="107571" rIns="134464" bIns="107571" rtlCol="0">
            <a:spAutoFit/>
          </a:bodyPr>
          <a:lstStyle/>
          <a:p>
            <a:pPr>
              <a:lnSpc>
                <a:spcPct val="90000"/>
              </a:lnSpc>
            </a:pPr>
            <a:r>
              <a:rPr lang="en-US" sz="1176" dirty="0">
                <a:solidFill>
                  <a:schemeClr val="bg1"/>
                </a:solidFill>
              </a:rPr>
              <a:t>Azure SQL DB</a:t>
            </a:r>
          </a:p>
        </p:txBody>
      </p:sp>
      <p:cxnSp>
        <p:nvCxnSpPr>
          <p:cNvPr id="104" name="Straight Arrow Connector 103"/>
          <p:cNvCxnSpPr/>
          <p:nvPr/>
        </p:nvCxnSpPr>
        <p:spPr>
          <a:xfrm>
            <a:off x="2361740" y="3565082"/>
            <a:ext cx="474857" cy="96489"/>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2357275" y="3688912"/>
            <a:ext cx="479322" cy="359031"/>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1836400" y="3323245"/>
            <a:ext cx="403387" cy="473469"/>
            <a:chOff x="4480896" y="3863018"/>
            <a:chExt cx="548634" cy="643951"/>
          </a:xfrm>
        </p:grpSpPr>
        <p:sp>
          <p:nvSpPr>
            <p:cNvPr id="87" name="Freeform 86"/>
            <p:cNvSpPr/>
            <p:nvPr/>
          </p:nvSpPr>
          <p:spPr bwMode="auto">
            <a:xfrm>
              <a:off x="4480896" y="3970414"/>
              <a:ext cx="548634" cy="441831"/>
            </a:xfrm>
            <a:custGeom>
              <a:avLst/>
              <a:gdLst>
                <a:gd name="connsiteX0" fmla="*/ 0 w 548634"/>
                <a:gd name="connsiteY0" fmla="*/ 0 h 441831"/>
                <a:gd name="connsiteX1" fmla="*/ 6758 w 548634"/>
                <a:gd name="connsiteY1" fmla="*/ 0 h 441831"/>
                <a:gd name="connsiteX2" fmla="*/ 21557 w 548634"/>
                <a:gd name="connsiteY2" fmla="*/ 12368 h 441831"/>
                <a:gd name="connsiteX3" fmla="*/ 274317 w 548634"/>
                <a:gd name="connsiteY3" fmla="*/ 55830 h 441831"/>
                <a:gd name="connsiteX4" fmla="*/ 527077 w 548634"/>
                <a:gd name="connsiteY4" fmla="*/ 12368 h 441831"/>
                <a:gd name="connsiteX5" fmla="*/ 541877 w 548634"/>
                <a:gd name="connsiteY5" fmla="*/ 0 h 441831"/>
                <a:gd name="connsiteX6" fmla="*/ 548634 w 548634"/>
                <a:gd name="connsiteY6" fmla="*/ 0 h 441831"/>
                <a:gd name="connsiteX7" fmla="*/ 548634 w 548634"/>
                <a:gd name="connsiteY7" fmla="*/ 441831 h 441831"/>
                <a:gd name="connsiteX8" fmla="*/ 0 w 548634"/>
                <a:gd name="connsiteY8" fmla="*/ 441831 h 44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634" h="441831">
                  <a:moveTo>
                    <a:pt x="0" y="0"/>
                  </a:moveTo>
                  <a:lnTo>
                    <a:pt x="6758" y="0"/>
                  </a:lnTo>
                  <a:lnTo>
                    <a:pt x="21557" y="12368"/>
                  </a:lnTo>
                  <a:cubicBezTo>
                    <a:pt x="63201" y="37909"/>
                    <a:pt x="160692" y="55830"/>
                    <a:pt x="274317" y="55830"/>
                  </a:cubicBezTo>
                  <a:cubicBezTo>
                    <a:pt x="387943" y="55830"/>
                    <a:pt x="485433" y="37909"/>
                    <a:pt x="527077" y="12368"/>
                  </a:cubicBezTo>
                  <a:lnTo>
                    <a:pt x="541877" y="0"/>
                  </a:lnTo>
                  <a:lnTo>
                    <a:pt x="548634" y="0"/>
                  </a:lnTo>
                  <a:lnTo>
                    <a:pt x="548634" y="441831"/>
                  </a:lnTo>
                  <a:lnTo>
                    <a:pt x="0" y="441831"/>
                  </a:lnTo>
                  <a:close/>
                </a:path>
              </a:pathLst>
            </a:custGeom>
            <a:solidFill>
              <a:schemeClr val="bg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4"/>
            </a:p>
          </p:txBody>
        </p:sp>
        <p:sp>
          <p:nvSpPr>
            <p:cNvPr id="16" name="Oval 15"/>
            <p:cNvSpPr/>
            <p:nvPr/>
          </p:nvSpPr>
          <p:spPr bwMode="auto">
            <a:xfrm>
              <a:off x="4480896" y="3863018"/>
              <a:ext cx="548634" cy="182878"/>
            </a:xfrm>
            <a:prstGeom prst="ellipse">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4"/>
            </a:p>
          </p:txBody>
        </p:sp>
        <p:sp>
          <p:nvSpPr>
            <p:cNvPr id="88" name="Oval 87"/>
            <p:cNvSpPr/>
            <p:nvPr/>
          </p:nvSpPr>
          <p:spPr bwMode="auto">
            <a:xfrm>
              <a:off x="4480896" y="4324091"/>
              <a:ext cx="548634" cy="182878"/>
            </a:xfrm>
            <a:prstGeom prst="ellipse">
              <a:avLst/>
            </a:prstGeom>
            <a:solidFill>
              <a:schemeClr val="bg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4"/>
            </a:p>
          </p:txBody>
        </p:sp>
      </p:grpSp>
      <p:grpSp>
        <p:nvGrpSpPr>
          <p:cNvPr id="19" name="Group 18"/>
          <p:cNvGrpSpPr/>
          <p:nvPr/>
        </p:nvGrpSpPr>
        <p:grpSpPr>
          <a:xfrm>
            <a:off x="2935711" y="2753829"/>
            <a:ext cx="403387" cy="473469"/>
            <a:chOff x="3619038" y="4143264"/>
            <a:chExt cx="548634" cy="643951"/>
          </a:xfrm>
        </p:grpSpPr>
        <p:sp>
          <p:nvSpPr>
            <p:cNvPr id="94" name="Oval 93"/>
            <p:cNvSpPr/>
            <p:nvPr/>
          </p:nvSpPr>
          <p:spPr bwMode="auto">
            <a:xfrm>
              <a:off x="3619038" y="4143264"/>
              <a:ext cx="548634" cy="182878"/>
            </a:xfrm>
            <a:prstGeom prst="ellipse">
              <a:avLst/>
            </a:prstGeom>
            <a:noFill/>
            <a:ln w="28575">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4">
                <a:ln>
                  <a:solidFill>
                    <a:schemeClr val="tx1"/>
                  </a:solidFill>
                  <a:prstDash val="sysDot"/>
                </a:ln>
              </a:endParaRPr>
            </a:p>
          </p:txBody>
        </p:sp>
        <p:sp>
          <p:nvSpPr>
            <p:cNvPr id="96" name="Freeform 95"/>
            <p:cNvSpPr/>
            <p:nvPr/>
          </p:nvSpPr>
          <p:spPr bwMode="auto">
            <a:xfrm>
              <a:off x="3619038" y="4250660"/>
              <a:ext cx="548634" cy="536555"/>
            </a:xfrm>
            <a:custGeom>
              <a:avLst/>
              <a:gdLst>
                <a:gd name="connsiteX0" fmla="*/ 0 w 548634"/>
                <a:gd name="connsiteY0" fmla="*/ 0 h 536555"/>
                <a:gd name="connsiteX1" fmla="*/ 6758 w 548634"/>
                <a:gd name="connsiteY1" fmla="*/ 0 h 536555"/>
                <a:gd name="connsiteX2" fmla="*/ 21557 w 548634"/>
                <a:gd name="connsiteY2" fmla="*/ 12368 h 536555"/>
                <a:gd name="connsiteX3" fmla="*/ 274317 w 548634"/>
                <a:gd name="connsiteY3" fmla="*/ 55830 h 536555"/>
                <a:gd name="connsiteX4" fmla="*/ 527077 w 548634"/>
                <a:gd name="connsiteY4" fmla="*/ 12368 h 536555"/>
                <a:gd name="connsiteX5" fmla="*/ 541877 w 548634"/>
                <a:gd name="connsiteY5" fmla="*/ 0 h 536555"/>
                <a:gd name="connsiteX6" fmla="*/ 548634 w 548634"/>
                <a:gd name="connsiteY6" fmla="*/ 0 h 536555"/>
                <a:gd name="connsiteX7" fmla="*/ 548634 w 548634"/>
                <a:gd name="connsiteY7" fmla="*/ 441831 h 536555"/>
                <a:gd name="connsiteX8" fmla="*/ 547641 w 548634"/>
                <a:gd name="connsiteY8" fmla="*/ 441831 h 536555"/>
                <a:gd name="connsiteX9" fmla="*/ 548634 w 548634"/>
                <a:gd name="connsiteY9" fmla="*/ 445116 h 536555"/>
                <a:gd name="connsiteX10" fmla="*/ 274317 w 548634"/>
                <a:gd name="connsiteY10" fmla="*/ 536555 h 536555"/>
                <a:gd name="connsiteX11" fmla="*/ 0 w 548634"/>
                <a:gd name="connsiteY11" fmla="*/ 445116 h 536555"/>
                <a:gd name="connsiteX12" fmla="*/ 994 w 548634"/>
                <a:gd name="connsiteY12" fmla="*/ 441831 h 536555"/>
                <a:gd name="connsiteX13" fmla="*/ 0 w 548634"/>
                <a:gd name="connsiteY13" fmla="*/ 441831 h 53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8634" h="536555">
                  <a:moveTo>
                    <a:pt x="0" y="0"/>
                  </a:moveTo>
                  <a:lnTo>
                    <a:pt x="6758" y="0"/>
                  </a:lnTo>
                  <a:lnTo>
                    <a:pt x="21557" y="12368"/>
                  </a:lnTo>
                  <a:cubicBezTo>
                    <a:pt x="63201" y="37909"/>
                    <a:pt x="160692" y="55830"/>
                    <a:pt x="274317" y="55830"/>
                  </a:cubicBezTo>
                  <a:cubicBezTo>
                    <a:pt x="387943" y="55830"/>
                    <a:pt x="485433" y="37909"/>
                    <a:pt x="527077" y="12368"/>
                  </a:cubicBezTo>
                  <a:lnTo>
                    <a:pt x="541877" y="0"/>
                  </a:lnTo>
                  <a:lnTo>
                    <a:pt x="548634" y="0"/>
                  </a:lnTo>
                  <a:lnTo>
                    <a:pt x="548634" y="441831"/>
                  </a:lnTo>
                  <a:lnTo>
                    <a:pt x="547641" y="441831"/>
                  </a:lnTo>
                  <a:lnTo>
                    <a:pt x="548634" y="445116"/>
                  </a:lnTo>
                  <a:cubicBezTo>
                    <a:pt x="548634" y="495616"/>
                    <a:pt x="425818" y="536555"/>
                    <a:pt x="274317" y="536555"/>
                  </a:cubicBezTo>
                  <a:cubicBezTo>
                    <a:pt x="122816" y="536555"/>
                    <a:pt x="0" y="495616"/>
                    <a:pt x="0" y="445116"/>
                  </a:cubicBezTo>
                  <a:lnTo>
                    <a:pt x="994" y="441831"/>
                  </a:lnTo>
                  <a:lnTo>
                    <a:pt x="0" y="441831"/>
                  </a:lnTo>
                  <a:close/>
                </a:path>
              </a:pathLst>
            </a:custGeom>
            <a:solidFill>
              <a:schemeClr val="bg1"/>
            </a:solidFill>
            <a:ln w="28575">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324" dirty="0">
                  <a:ln>
                    <a:solidFill>
                      <a:schemeClr val="tx1"/>
                    </a:solidFill>
                    <a:prstDash val="sysDot"/>
                  </a:ln>
                </a:rPr>
                <a:t>S</a:t>
              </a:r>
              <a:endParaRPr lang="en-US" sz="1324" dirty="0">
                <a:ln>
                  <a:solidFill>
                    <a:schemeClr val="tx1"/>
                  </a:solidFill>
                  <a:prstDash val="sysDot"/>
                </a:ln>
              </a:endParaRPr>
            </a:p>
          </p:txBody>
        </p:sp>
      </p:grpSp>
      <p:grpSp>
        <p:nvGrpSpPr>
          <p:cNvPr id="97" name="Group 96"/>
          <p:cNvGrpSpPr/>
          <p:nvPr/>
        </p:nvGrpSpPr>
        <p:grpSpPr>
          <a:xfrm>
            <a:off x="2935711" y="3385356"/>
            <a:ext cx="403387" cy="473469"/>
            <a:chOff x="3619038" y="4143264"/>
            <a:chExt cx="548634" cy="643951"/>
          </a:xfrm>
        </p:grpSpPr>
        <p:sp>
          <p:nvSpPr>
            <p:cNvPr id="98" name="Oval 97"/>
            <p:cNvSpPr/>
            <p:nvPr/>
          </p:nvSpPr>
          <p:spPr bwMode="auto">
            <a:xfrm>
              <a:off x="3619038" y="4143264"/>
              <a:ext cx="548634" cy="182878"/>
            </a:xfrm>
            <a:prstGeom prst="ellipse">
              <a:avLst/>
            </a:prstGeom>
            <a:noFill/>
            <a:ln w="28575">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4">
                <a:ln>
                  <a:solidFill>
                    <a:schemeClr val="tx1"/>
                  </a:solidFill>
                  <a:prstDash val="sysDot"/>
                </a:ln>
              </a:endParaRPr>
            </a:p>
          </p:txBody>
        </p:sp>
        <p:sp>
          <p:nvSpPr>
            <p:cNvPr id="99" name="Freeform 98"/>
            <p:cNvSpPr/>
            <p:nvPr/>
          </p:nvSpPr>
          <p:spPr bwMode="auto">
            <a:xfrm>
              <a:off x="3619038" y="4250660"/>
              <a:ext cx="548634" cy="536555"/>
            </a:xfrm>
            <a:custGeom>
              <a:avLst/>
              <a:gdLst>
                <a:gd name="connsiteX0" fmla="*/ 0 w 548634"/>
                <a:gd name="connsiteY0" fmla="*/ 0 h 536555"/>
                <a:gd name="connsiteX1" fmla="*/ 6758 w 548634"/>
                <a:gd name="connsiteY1" fmla="*/ 0 h 536555"/>
                <a:gd name="connsiteX2" fmla="*/ 21557 w 548634"/>
                <a:gd name="connsiteY2" fmla="*/ 12368 h 536555"/>
                <a:gd name="connsiteX3" fmla="*/ 274317 w 548634"/>
                <a:gd name="connsiteY3" fmla="*/ 55830 h 536555"/>
                <a:gd name="connsiteX4" fmla="*/ 527077 w 548634"/>
                <a:gd name="connsiteY4" fmla="*/ 12368 h 536555"/>
                <a:gd name="connsiteX5" fmla="*/ 541877 w 548634"/>
                <a:gd name="connsiteY5" fmla="*/ 0 h 536555"/>
                <a:gd name="connsiteX6" fmla="*/ 548634 w 548634"/>
                <a:gd name="connsiteY6" fmla="*/ 0 h 536555"/>
                <a:gd name="connsiteX7" fmla="*/ 548634 w 548634"/>
                <a:gd name="connsiteY7" fmla="*/ 441831 h 536555"/>
                <a:gd name="connsiteX8" fmla="*/ 547641 w 548634"/>
                <a:gd name="connsiteY8" fmla="*/ 441831 h 536555"/>
                <a:gd name="connsiteX9" fmla="*/ 548634 w 548634"/>
                <a:gd name="connsiteY9" fmla="*/ 445116 h 536555"/>
                <a:gd name="connsiteX10" fmla="*/ 274317 w 548634"/>
                <a:gd name="connsiteY10" fmla="*/ 536555 h 536555"/>
                <a:gd name="connsiteX11" fmla="*/ 0 w 548634"/>
                <a:gd name="connsiteY11" fmla="*/ 445116 h 536555"/>
                <a:gd name="connsiteX12" fmla="*/ 994 w 548634"/>
                <a:gd name="connsiteY12" fmla="*/ 441831 h 536555"/>
                <a:gd name="connsiteX13" fmla="*/ 0 w 548634"/>
                <a:gd name="connsiteY13" fmla="*/ 441831 h 53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8634" h="536555">
                  <a:moveTo>
                    <a:pt x="0" y="0"/>
                  </a:moveTo>
                  <a:lnTo>
                    <a:pt x="6758" y="0"/>
                  </a:lnTo>
                  <a:lnTo>
                    <a:pt x="21557" y="12368"/>
                  </a:lnTo>
                  <a:cubicBezTo>
                    <a:pt x="63201" y="37909"/>
                    <a:pt x="160692" y="55830"/>
                    <a:pt x="274317" y="55830"/>
                  </a:cubicBezTo>
                  <a:cubicBezTo>
                    <a:pt x="387943" y="55830"/>
                    <a:pt x="485433" y="37909"/>
                    <a:pt x="527077" y="12368"/>
                  </a:cubicBezTo>
                  <a:lnTo>
                    <a:pt x="541877" y="0"/>
                  </a:lnTo>
                  <a:lnTo>
                    <a:pt x="548634" y="0"/>
                  </a:lnTo>
                  <a:lnTo>
                    <a:pt x="548634" y="441831"/>
                  </a:lnTo>
                  <a:lnTo>
                    <a:pt x="547641" y="441831"/>
                  </a:lnTo>
                  <a:lnTo>
                    <a:pt x="548634" y="445116"/>
                  </a:lnTo>
                  <a:cubicBezTo>
                    <a:pt x="548634" y="495616"/>
                    <a:pt x="425818" y="536555"/>
                    <a:pt x="274317" y="536555"/>
                  </a:cubicBezTo>
                  <a:cubicBezTo>
                    <a:pt x="122816" y="536555"/>
                    <a:pt x="0" y="495616"/>
                    <a:pt x="0" y="445116"/>
                  </a:cubicBezTo>
                  <a:lnTo>
                    <a:pt x="994" y="441831"/>
                  </a:lnTo>
                  <a:lnTo>
                    <a:pt x="0" y="441831"/>
                  </a:lnTo>
                  <a:close/>
                </a:path>
              </a:pathLst>
            </a:custGeom>
            <a:solidFill>
              <a:schemeClr val="bg1"/>
            </a:solidFill>
            <a:ln w="28575">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324" dirty="0">
                  <a:ln>
                    <a:solidFill>
                      <a:schemeClr val="tx1"/>
                    </a:solidFill>
                    <a:prstDash val="sysDot"/>
                  </a:ln>
                  <a:solidFill>
                    <a:schemeClr val="tx1">
                      <a:lumMod val="50000"/>
                    </a:schemeClr>
                  </a:solidFill>
                </a:rPr>
                <a:t>P</a:t>
              </a:r>
              <a:endParaRPr lang="en-US" sz="1324" dirty="0">
                <a:ln>
                  <a:solidFill>
                    <a:schemeClr val="tx1"/>
                  </a:solidFill>
                  <a:prstDash val="sysDot"/>
                </a:ln>
                <a:solidFill>
                  <a:schemeClr val="tx1">
                    <a:lumMod val="50000"/>
                  </a:schemeClr>
                </a:solidFill>
              </a:endParaRPr>
            </a:p>
          </p:txBody>
        </p:sp>
      </p:grpSp>
      <p:grpSp>
        <p:nvGrpSpPr>
          <p:cNvPr id="100" name="Group 99"/>
          <p:cNvGrpSpPr/>
          <p:nvPr/>
        </p:nvGrpSpPr>
        <p:grpSpPr>
          <a:xfrm>
            <a:off x="2935711" y="4025083"/>
            <a:ext cx="403387" cy="473469"/>
            <a:chOff x="3619038" y="4143264"/>
            <a:chExt cx="548634" cy="643951"/>
          </a:xfrm>
        </p:grpSpPr>
        <p:sp>
          <p:nvSpPr>
            <p:cNvPr id="101" name="Oval 100"/>
            <p:cNvSpPr/>
            <p:nvPr/>
          </p:nvSpPr>
          <p:spPr bwMode="auto">
            <a:xfrm>
              <a:off x="3619038" y="4143264"/>
              <a:ext cx="548634" cy="182878"/>
            </a:xfrm>
            <a:prstGeom prst="ellipse">
              <a:avLst/>
            </a:prstGeom>
            <a:noFill/>
            <a:ln w="28575">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324">
                <a:ln>
                  <a:solidFill>
                    <a:schemeClr val="tx1"/>
                  </a:solidFill>
                  <a:prstDash val="sysDot"/>
                </a:ln>
              </a:endParaRPr>
            </a:p>
          </p:txBody>
        </p:sp>
        <p:sp>
          <p:nvSpPr>
            <p:cNvPr id="102" name="Freeform 101"/>
            <p:cNvSpPr/>
            <p:nvPr/>
          </p:nvSpPr>
          <p:spPr bwMode="auto">
            <a:xfrm>
              <a:off x="3619038" y="4250660"/>
              <a:ext cx="548634" cy="536555"/>
            </a:xfrm>
            <a:custGeom>
              <a:avLst/>
              <a:gdLst>
                <a:gd name="connsiteX0" fmla="*/ 0 w 548634"/>
                <a:gd name="connsiteY0" fmla="*/ 0 h 536555"/>
                <a:gd name="connsiteX1" fmla="*/ 6758 w 548634"/>
                <a:gd name="connsiteY1" fmla="*/ 0 h 536555"/>
                <a:gd name="connsiteX2" fmla="*/ 21557 w 548634"/>
                <a:gd name="connsiteY2" fmla="*/ 12368 h 536555"/>
                <a:gd name="connsiteX3" fmla="*/ 274317 w 548634"/>
                <a:gd name="connsiteY3" fmla="*/ 55830 h 536555"/>
                <a:gd name="connsiteX4" fmla="*/ 527077 w 548634"/>
                <a:gd name="connsiteY4" fmla="*/ 12368 h 536555"/>
                <a:gd name="connsiteX5" fmla="*/ 541877 w 548634"/>
                <a:gd name="connsiteY5" fmla="*/ 0 h 536555"/>
                <a:gd name="connsiteX6" fmla="*/ 548634 w 548634"/>
                <a:gd name="connsiteY6" fmla="*/ 0 h 536555"/>
                <a:gd name="connsiteX7" fmla="*/ 548634 w 548634"/>
                <a:gd name="connsiteY7" fmla="*/ 441831 h 536555"/>
                <a:gd name="connsiteX8" fmla="*/ 547641 w 548634"/>
                <a:gd name="connsiteY8" fmla="*/ 441831 h 536555"/>
                <a:gd name="connsiteX9" fmla="*/ 548634 w 548634"/>
                <a:gd name="connsiteY9" fmla="*/ 445116 h 536555"/>
                <a:gd name="connsiteX10" fmla="*/ 274317 w 548634"/>
                <a:gd name="connsiteY10" fmla="*/ 536555 h 536555"/>
                <a:gd name="connsiteX11" fmla="*/ 0 w 548634"/>
                <a:gd name="connsiteY11" fmla="*/ 445116 h 536555"/>
                <a:gd name="connsiteX12" fmla="*/ 994 w 548634"/>
                <a:gd name="connsiteY12" fmla="*/ 441831 h 536555"/>
                <a:gd name="connsiteX13" fmla="*/ 0 w 548634"/>
                <a:gd name="connsiteY13" fmla="*/ 441831 h 53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8634" h="536555">
                  <a:moveTo>
                    <a:pt x="0" y="0"/>
                  </a:moveTo>
                  <a:lnTo>
                    <a:pt x="6758" y="0"/>
                  </a:lnTo>
                  <a:lnTo>
                    <a:pt x="21557" y="12368"/>
                  </a:lnTo>
                  <a:cubicBezTo>
                    <a:pt x="63201" y="37909"/>
                    <a:pt x="160692" y="55830"/>
                    <a:pt x="274317" y="55830"/>
                  </a:cubicBezTo>
                  <a:cubicBezTo>
                    <a:pt x="387943" y="55830"/>
                    <a:pt x="485433" y="37909"/>
                    <a:pt x="527077" y="12368"/>
                  </a:cubicBezTo>
                  <a:lnTo>
                    <a:pt x="541877" y="0"/>
                  </a:lnTo>
                  <a:lnTo>
                    <a:pt x="548634" y="0"/>
                  </a:lnTo>
                  <a:lnTo>
                    <a:pt x="548634" y="441831"/>
                  </a:lnTo>
                  <a:lnTo>
                    <a:pt x="547641" y="441831"/>
                  </a:lnTo>
                  <a:lnTo>
                    <a:pt x="548634" y="445116"/>
                  </a:lnTo>
                  <a:cubicBezTo>
                    <a:pt x="548634" y="495616"/>
                    <a:pt x="425818" y="536555"/>
                    <a:pt x="274317" y="536555"/>
                  </a:cubicBezTo>
                  <a:cubicBezTo>
                    <a:pt x="122816" y="536555"/>
                    <a:pt x="0" y="495616"/>
                    <a:pt x="0" y="445116"/>
                  </a:cubicBezTo>
                  <a:lnTo>
                    <a:pt x="994" y="441831"/>
                  </a:lnTo>
                  <a:lnTo>
                    <a:pt x="0" y="441831"/>
                  </a:lnTo>
                  <a:close/>
                </a:path>
              </a:pathLst>
            </a:custGeom>
            <a:solidFill>
              <a:schemeClr val="bg1"/>
            </a:solidFill>
            <a:ln w="28575">
              <a:solidFill>
                <a:schemeClr val="tx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324" dirty="0">
                  <a:ln>
                    <a:solidFill>
                      <a:schemeClr val="tx1"/>
                    </a:solidFill>
                    <a:prstDash val="sysDot"/>
                  </a:ln>
                </a:rPr>
                <a:t>S</a:t>
              </a:r>
              <a:endParaRPr lang="en-US" sz="1324" dirty="0">
                <a:ln>
                  <a:solidFill>
                    <a:schemeClr val="tx1"/>
                  </a:solidFill>
                  <a:prstDash val="sysDot"/>
                </a:ln>
              </a:endParaRPr>
            </a:p>
          </p:txBody>
        </p:sp>
      </p:grpSp>
      <p:cxnSp>
        <p:nvCxnSpPr>
          <p:cNvPr id="108" name="Straight Arrow Connector 107"/>
          <p:cNvCxnSpPr/>
          <p:nvPr/>
        </p:nvCxnSpPr>
        <p:spPr>
          <a:xfrm flipH="1">
            <a:off x="3401502" y="3023729"/>
            <a:ext cx="230634" cy="1"/>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3613887" y="3023730"/>
            <a:ext cx="18250" cy="1215625"/>
          </a:xfrm>
          <a:prstGeom prst="line">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3401502" y="4232351"/>
            <a:ext cx="230634" cy="0"/>
          </a:xfrm>
          <a:prstGeom prst="line">
            <a:avLst/>
          </a:prstGeom>
          <a:ln w="571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823991" y="3943002"/>
            <a:ext cx="672311" cy="0"/>
          </a:xfrm>
          <a:prstGeom prst="line">
            <a:avLst/>
          </a:prstGeom>
          <a:ln w="381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823991" y="3312636"/>
            <a:ext cx="672311" cy="0"/>
          </a:xfrm>
          <a:prstGeom prst="line">
            <a:avLst/>
          </a:prstGeom>
          <a:ln w="38100">
            <a:solidFill>
              <a:schemeClr val="tx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3649551" y="2884596"/>
            <a:ext cx="1093895" cy="339392"/>
          </a:xfrm>
          <a:prstGeom prst="rect">
            <a:avLst/>
          </a:prstGeom>
          <a:noFill/>
        </p:spPr>
        <p:txBody>
          <a:bodyPr wrap="none" lIns="134464" tIns="107571" rIns="134464" bIns="107571" rtlCol="0">
            <a:spAutoFit/>
          </a:bodyPr>
          <a:lstStyle/>
          <a:p>
            <a:pPr>
              <a:lnSpc>
                <a:spcPct val="90000"/>
              </a:lnSpc>
            </a:pPr>
            <a:r>
              <a:rPr lang="en-US" sz="882" dirty="0">
                <a:solidFill>
                  <a:schemeClr val="bg1"/>
                </a:solidFill>
              </a:rPr>
              <a:t>Fault Domain #1</a:t>
            </a:r>
          </a:p>
        </p:txBody>
      </p:sp>
      <p:sp>
        <p:nvSpPr>
          <p:cNvPr id="113" name="TextBox 112"/>
          <p:cNvSpPr txBox="1"/>
          <p:nvPr/>
        </p:nvSpPr>
        <p:spPr>
          <a:xfrm>
            <a:off x="3649551" y="3464320"/>
            <a:ext cx="1093895" cy="339392"/>
          </a:xfrm>
          <a:prstGeom prst="rect">
            <a:avLst/>
          </a:prstGeom>
          <a:noFill/>
        </p:spPr>
        <p:txBody>
          <a:bodyPr wrap="none" lIns="134464" tIns="107571" rIns="134464" bIns="107571" rtlCol="0">
            <a:spAutoFit/>
          </a:bodyPr>
          <a:lstStyle/>
          <a:p>
            <a:pPr>
              <a:lnSpc>
                <a:spcPct val="90000"/>
              </a:lnSpc>
            </a:pPr>
            <a:r>
              <a:rPr lang="en-US" sz="882" dirty="0">
                <a:solidFill>
                  <a:schemeClr val="bg1"/>
                </a:solidFill>
              </a:rPr>
              <a:t>Fault Domain #2</a:t>
            </a:r>
          </a:p>
        </p:txBody>
      </p:sp>
      <p:sp>
        <p:nvSpPr>
          <p:cNvPr id="114" name="TextBox 113"/>
          <p:cNvSpPr txBox="1"/>
          <p:nvPr/>
        </p:nvSpPr>
        <p:spPr>
          <a:xfrm>
            <a:off x="3649551" y="4069634"/>
            <a:ext cx="1093895" cy="339392"/>
          </a:xfrm>
          <a:prstGeom prst="rect">
            <a:avLst/>
          </a:prstGeom>
          <a:noFill/>
        </p:spPr>
        <p:txBody>
          <a:bodyPr wrap="none" lIns="134464" tIns="107571" rIns="134464" bIns="107571" rtlCol="0">
            <a:spAutoFit/>
          </a:bodyPr>
          <a:lstStyle/>
          <a:p>
            <a:pPr>
              <a:lnSpc>
                <a:spcPct val="90000"/>
              </a:lnSpc>
            </a:pPr>
            <a:r>
              <a:rPr lang="en-US" sz="882" dirty="0">
                <a:solidFill>
                  <a:schemeClr val="bg1"/>
                </a:solidFill>
              </a:rPr>
              <a:t>Fault Domain #3</a:t>
            </a:r>
          </a:p>
        </p:txBody>
      </p:sp>
    </p:spTree>
    <p:extLst>
      <p:ext uri="{BB962C8B-B14F-4D97-AF65-F5344CB8AC3E}">
        <p14:creationId xmlns:p14="http://schemas.microsoft.com/office/powerpoint/2010/main" val="24087319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animEffect transition="in" filter="fade">
                                      <p:cBhvr>
                                        <p:cTn id="7" dur="1000"/>
                                        <p:tgtEl>
                                          <p:spTgt spid="30">
                                            <p:txEl>
                                              <p:pRg st="0" end="0"/>
                                            </p:txEl>
                                          </p:spTgt>
                                        </p:tgtEl>
                                      </p:cBhvr>
                                    </p:animEffect>
                                    <p:anim calcmode="lin" valueType="num">
                                      <p:cBhvr>
                                        <p:cTn id="8" dur="1000" fill="hold"/>
                                        <p:tgtEl>
                                          <p:spTgt spid="30">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0">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0">
                                            <p:txEl>
                                              <p:pRg st="1" end="1"/>
                                            </p:txEl>
                                          </p:spTgt>
                                        </p:tgtEl>
                                        <p:attrNameLst>
                                          <p:attrName>style.visibility</p:attrName>
                                        </p:attrNameLst>
                                      </p:cBhvr>
                                      <p:to>
                                        <p:strVal val="visible"/>
                                      </p:to>
                                    </p:set>
                                    <p:animEffect transition="in" filter="fade">
                                      <p:cBhvr>
                                        <p:cTn id="14" dur="1000"/>
                                        <p:tgtEl>
                                          <p:spTgt spid="30">
                                            <p:txEl>
                                              <p:pRg st="1" end="1"/>
                                            </p:txEl>
                                          </p:spTgt>
                                        </p:tgtEl>
                                      </p:cBhvr>
                                    </p:animEffect>
                                    <p:anim calcmode="lin" valueType="num">
                                      <p:cBhvr>
                                        <p:cTn id="15" dur="1000" fill="hold"/>
                                        <p:tgtEl>
                                          <p:spTgt spid="30">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0">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0">
                                            <p:txEl>
                                              <p:pRg st="2" end="2"/>
                                            </p:txEl>
                                          </p:spTgt>
                                        </p:tgtEl>
                                        <p:attrNameLst>
                                          <p:attrName>style.visibility</p:attrName>
                                        </p:attrNameLst>
                                      </p:cBhvr>
                                      <p:to>
                                        <p:strVal val="visible"/>
                                      </p:to>
                                    </p:set>
                                    <p:animEffect transition="in" filter="fade">
                                      <p:cBhvr>
                                        <p:cTn id="21" dur="1000"/>
                                        <p:tgtEl>
                                          <p:spTgt spid="30">
                                            <p:txEl>
                                              <p:pRg st="2" end="2"/>
                                            </p:txEl>
                                          </p:spTgt>
                                        </p:tgtEl>
                                      </p:cBhvr>
                                    </p:animEffect>
                                    <p:anim calcmode="lin" valueType="num">
                                      <p:cBhvr>
                                        <p:cTn id="22" dur="1000" fill="hold"/>
                                        <p:tgtEl>
                                          <p:spTgt spid="30">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0">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0">
                                            <p:txEl>
                                              <p:pRg st="3" end="3"/>
                                            </p:txEl>
                                          </p:spTgt>
                                        </p:tgtEl>
                                        <p:attrNameLst>
                                          <p:attrName>style.visibility</p:attrName>
                                        </p:attrNameLst>
                                      </p:cBhvr>
                                      <p:to>
                                        <p:strVal val="visible"/>
                                      </p:to>
                                    </p:set>
                                    <p:animEffect transition="in" filter="fade">
                                      <p:cBhvr>
                                        <p:cTn id="28" dur="1000"/>
                                        <p:tgtEl>
                                          <p:spTgt spid="30">
                                            <p:txEl>
                                              <p:pRg st="3" end="3"/>
                                            </p:txEl>
                                          </p:spTgt>
                                        </p:tgtEl>
                                      </p:cBhvr>
                                    </p:animEffect>
                                    <p:anim calcmode="lin" valueType="num">
                                      <p:cBhvr>
                                        <p:cTn id="29" dur="1000" fill="hold"/>
                                        <p:tgtEl>
                                          <p:spTgt spid="30">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0">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par>
                                <p:cTn id="36" presetID="10" presetClass="entr" presetSubtype="0" fill="hold" nodeType="withEffect">
                                  <p:stCondLst>
                                    <p:cond delay="0"/>
                                  </p:stCondLst>
                                  <p:childTnLst>
                                    <p:set>
                                      <p:cBhvr>
                                        <p:cTn id="37" dur="1" fill="hold">
                                          <p:stCondLst>
                                            <p:cond delay="0"/>
                                          </p:stCondLst>
                                        </p:cTn>
                                        <p:tgtEl>
                                          <p:spTgt spid="84"/>
                                        </p:tgtEl>
                                        <p:attrNameLst>
                                          <p:attrName>style.visibility</p:attrName>
                                        </p:attrNameLst>
                                      </p:cBhvr>
                                      <p:to>
                                        <p:strVal val="visible"/>
                                      </p:to>
                                    </p:set>
                                    <p:animEffect transition="in" filter="fade">
                                      <p:cBhvr>
                                        <p:cTn id="38" dur="500"/>
                                        <p:tgtEl>
                                          <p:spTgt spid="84"/>
                                        </p:tgtEl>
                                      </p:cBhvr>
                                    </p:animEffect>
                                  </p:childTnLst>
                                </p:cTn>
                              </p:par>
                              <p:par>
                                <p:cTn id="39" presetID="10" presetClass="entr" presetSubtype="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par>
                                <p:cTn id="42" presetID="10" presetClass="entr" presetSubtype="0" fill="hold" nodeType="with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85"/>
                                        </p:tgtEl>
                                        <p:attrNameLst>
                                          <p:attrName>style.visibility</p:attrName>
                                        </p:attrNameLst>
                                      </p:cBhvr>
                                      <p:to>
                                        <p:strVal val="visible"/>
                                      </p:to>
                                    </p:set>
                                    <p:animEffect transition="in" filter="fade">
                                      <p:cBhvr>
                                        <p:cTn id="47" dur="500"/>
                                        <p:tgtEl>
                                          <p:spTgt spid="8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par>
                                <p:cTn id="53" presetID="10" presetClass="entr" presetSubtype="0" fill="hold" nodeType="withEffect">
                                  <p:stCondLst>
                                    <p:cond delay="0"/>
                                  </p:stCondLst>
                                  <p:childTnLst>
                                    <p:set>
                                      <p:cBhvr>
                                        <p:cTn id="54" dur="1" fill="hold">
                                          <p:stCondLst>
                                            <p:cond delay="0"/>
                                          </p:stCondLst>
                                        </p:cTn>
                                        <p:tgtEl>
                                          <p:spTgt spid="111"/>
                                        </p:tgtEl>
                                        <p:attrNameLst>
                                          <p:attrName>style.visibility</p:attrName>
                                        </p:attrNameLst>
                                      </p:cBhvr>
                                      <p:to>
                                        <p:strVal val="visible"/>
                                      </p:to>
                                    </p:set>
                                    <p:animEffect transition="in" filter="fade">
                                      <p:cBhvr>
                                        <p:cTn id="55" dur="500"/>
                                        <p:tgtEl>
                                          <p:spTgt spid="111"/>
                                        </p:tgtEl>
                                      </p:cBhvr>
                                    </p:animEffect>
                                  </p:childTnLst>
                                </p:cTn>
                              </p:par>
                              <p:par>
                                <p:cTn id="56" presetID="10" presetClass="entr" presetSubtype="0" fill="hold" nodeType="withEffect">
                                  <p:stCondLst>
                                    <p:cond delay="0"/>
                                  </p:stCondLst>
                                  <p:childTnLst>
                                    <p:set>
                                      <p:cBhvr>
                                        <p:cTn id="57" dur="1" fill="hold">
                                          <p:stCondLst>
                                            <p:cond delay="0"/>
                                          </p:stCondLst>
                                        </p:cTn>
                                        <p:tgtEl>
                                          <p:spTgt spid="97"/>
                                        </p:tgtEl>
                                        <p:attrNameLst>
                                          <p:attrName>style.visibility</p:attrName>
                                        </p:attrNameLst>
                                      </p:cBhvr>
                                      <p:to>
                                        <p:strVal val="visible"/>
                                      </p:to>
                                    </p:set>
                                    <p:animEffect transition="in" filter="fade">
                                      <p:cBhvr>
                                        <p:cTn id="58" dur="500"/>
                                        <p:tgtEl>
                                          <p:spTgt spid="97"/>
                                        </p:tgtEl>
                                      </p:cBhvr>
                                    </p:animEffect>
                                  </p:childTnLst>
                                </p:cTn>
                              </p:par>
                              <p:par>
                                <p:cTn id="59" presetID="10" presetClass="entr" presetSubtype="0" fill="hold" nodeType="withEffect">
                                  <p:stCondLst>
                                    <p:cond delay="0"/>
                                  </p:stCondLst>
                                  <p:childTnLst>
                                    <p:set>
                                      <p:cBhvr>
                                        <p:cTn id="60" dur="1" fill="hold">
                                          <p:stCondLst>
                                            <p:cond delay="0"/>
                                          </p:stCondLst>
                                        </p:cTn>
                                        <p:tgtEl>
                                          <p:spTgt spid="49"/>
                                        </p:tgtEl>
                                        <p:attrNameLst>
                                          <p:attrName>style.visibility</p:attrName>
                                        </p:attrNameLst>
                                      </p:cBhvr>
                                      <p:to>
                                        <p:strVal val="visible"/>
                                      </p:to>
                                    </p:set>
                                    <p:animEffect transition="in" filter="fade">
                                      <p:cBhvr>
                                        <p:cTn id="61" dur="500"/>
                                        <p:tgtEl>
                                          <p:spTgt spid="49"/>
                                        </p:tgtEl>
                                      </p:cBhvr>
                                    </p:animEffect>
                                  </p:childTnLst>
                                </p:cTn>
                              </p:par>
                              <p:par>
                                <p:cTn id="62" presetID="10" presetClass="entr" presetSubtype="0" fill="hold" nodeType="withEffect">
                                  <p:stCondLst>
                                    <p:cond delay="0"/>
                                  </p:stCondLst>
                                  <p:childTnLst>
                                    <p:set>
                                      <p:cBhvr>
                                        <p:cTn id="63" dur="1" fill="hold">
                                          <p:stCondLst>
                                            <p:cond delay="0"/>
                                          </p:stCondLst>
                                        </p:cTn>
                                        <p:tgtEl>
                                          <p:spTgt spid="100"/>
                                        </p:tgtEl>
                                        <p:attrNameLst>
                                          <p:attrName>style.visibility</p:attrName>
                                        </p:attrNameLst>
                                      </p:cBhvr>
                                      <p:to>
                                        <p:strVal val="visible"/>
                                      </p:to>
                                    </p:set>
                                    <p:animEffect transition="in" filter="fade">
                                      <p:cBhvr>
                                        <p:cTn id="64" dur="500"/>
                                        <p:tgtEl>
                                          <p:spTgt spid="10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14"/>
                                        </p:tgtEl>
                                        <p:attrNameLst>
                                          <p:attrName>style.visibility</p:attrName>
                                        </p:attrNameLst>
                                      </p:cBhvr>
                                      <p:to>
                                        <p:strVal val="visible"/>
                                      </p:to>
                                    </p:set>
                                    <p:animEffect transition="in" filter="fade">
                                      <p:cBhvr>
                                        <p:cTn id="67" dur="500"/>
                                        <p:tgtEl>
                                          <p:spTgt spid="11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13"/>
                                        </p:tgtEl>
                                        <p:attrNameLst>
                                          <p:attrName>style.visibility</p:attrName>
                                        </p:attrNameLst>
                                      </p:cBhvr>
                                      <p:to>
                                        <p:strVal val="visible"/>
                                      </p:to>
                                    </p:set>
                                    <p:animEffect transition="in" filter="fade">
                                      <p:cBhvr>
                                        <p:cTn id="70" dur="500"/>
                                        <p:tgtEl>
                                          <p:spTgt spid="11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12"/>
                                        </p:tgtEl>
                                        <p:attrNameLst>
                                          <p:attrName>style.visibility</p:attrName>
                                        </p:attrNameLst>
                                      </p:cBhvr>
                                      <p:to>
                                        <p:strVal val="visible"/>
                                      </p:to>
                                    </p:set>
                                    <p:animEffect transition="in" filter="fade">
                                      <p:cBhvr>
                                        <p:cTn id="73"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85" grpId="0"/>
      <p:bldP spid="112" grpId="0"/>
      <p:bldP spid="113" grpId="0"/>
      <p:bldP spid="11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 </a:t>
            </a:r>
            <a:r>
              <a:rPr lang="en-US" dirty="0" smtClean="0">
                <a:solidFill>
                  <a:schemeClr val="accent2"/>
                </a:solidFill>
              </a:rPr>
              <a:t>Services</a:t>
            </a:r>
            <a:endParaRPr lang="en-US" dirty="0">
              <a:solidFill>
                <a:schemeClr val="accent2"/>
              </a:solidFill>
            </a:endParaRPr>
          </a:p>
        </p:txBody>
      </p:sp>
      <p:sp>
        <p:nvSpPr>
          <p:cNvPr id="59" name="Rectangle 58"/>
          <p:cNvSpPr>
            <a:spLocks noChangeAspect="1"/>
          </p:cNvSpPr>
          <p:nvPr/>
        </p:nvSpPr>
        <p:spPr bwMode="auto">
          <a:xfrm>
            <a:off x="321186" y="2146647"/>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a:gradFill>
                  <a:gsLst>
                    <a:gs pos="0">
                      <a:srgbClr val="FFFFFF"/>
                    </a:gs>
                    <a:gs pos="100000">
                      <a:srgbClr val="FFFFFF"/>
                    </a:gs>
                  </a:gsLst>
                  <a:lin ang="5400000" scaled="0"/>
                </a:gradFill>
              </a:rPr>
              <a:t>blob storage</a:t>
            </a:r>
          </a:p>
        </p:txBody>
      </p:sp>
      <p:sp>
        <p:nvSpPr>
          <p:cNvPr id="60" name="Rectangle 59"/>
          <p:cNvSpPr>
            <a:spLocks noChangeAspect="1"/>
          </p:cNvSpPr>
          <p:nvPr/>
        </p:nvSpPr>
        <p:spPr bwMode="auto">
          <a:xfrm>
            <a:off x="332298" y="3374102"/>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a:gradFill>
                  <a:gsLst>
                    <a:gs pos="0">
                      <a:srgbClr val="FFFFFF"/>
                    </a:gs>
                    <a:gs pos="100000">
                      <a:srgbClr val="FFFFFF"/>
                    </a:gs>
                  </a:gsLst>
                  <a:lin ang="5400000" scaled="0"/>
                </a:gradFill>
              </a:rPr>
              <a:t>caching</a:t>
            </a:r>
          </a:p>
        </p:txBody>
      </p:sp>
      <p:sp>
        <p:nvSpPr>
          <p:cNvPr id="65" name="Rectangle 64"/>
          <p:cNvSpPr>
            <a:spLocks noChangeAspect="1"/>
          </p:cNvSpPr>
          <p:nvPr/>
        </p:nvSpPr>
        <p:spPr bwMode="auto">
          <a:xfrm>
            <a:off x="4752468" y="935519"/>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a:gradFill>
                  <a:gsLst>
                    <a:gs pos="0">
                      <a:srgbClr val="FFFFFF"/>
                    </a:gs>
                    <a:gs pos="100000">
                      <a:srgbClr val="FFFFFF"/>
                    </a:gs>
                  </a:gsLst>
                  <a:lin ang="5400000" scaled="0"/>
                </a:gradFill>
              </a:rPr>
              <a:t>identity</a:t>
            </a:r>
          </a:p>
        </p:txBody>
      </p:sp>
      <p:sp>
        <p:nvSpPr>
          <p:cNvPr id="67" name="Rectangle 66"/>
          <p:cNvSpPr>
            <a:spLocks noChangeAspect="1"/>
          </p:cNvSpPr>
          <p:nvPr/>
        </p:nvSpPr>
        <p:spPr bwMode="auto">
          <a:xfrm>
            <a:off x="4752468" y="2146646"/>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a:gradFill>
                  <a:gsLst>
                    <a:gs pos="0">
                      <a:srgbClr val="FFFFFF"/>
                    </a:gs>
                    <a:gs pos="100000">
                      <a:srgbClr val="FFFFFF"/>
                    </a:gs>
                  </a:gsLst>
                  <a:lin ang="5400000" scaled="0"/>
                </a:gradFill>
              </a:rPr>
              <a:t>service bus</a:t>
            </a:r>
          </a:p>
        </p:txBody>
      </p:sp>
      <p:sp>
        <p:nvSpPr>
          <p:cNvPr id="68" name="Rectangle 67"/>
          <p:cNvSpPr>
            <a:spLocks noChangeAspect="1"/>
          </p:cNvSpPr>
          <p:nvPr/>
        </p:nvSpPr>
        <p:spPr bwMode="auto">
          <a:xfrm>
            <a:off x="4763580" y="3374101"/>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a:gradFill>
                  <a:gsLst>
                    <a:gs pos="0">
                      <a:srgbClr val="FFFFFF"/>
                    </a:gs>
                    <a:gs pos="100000">
                      <a:srgbClr val="FFFFFF"/>
                    </a:gs>
                  </a:gsLst>
                  <a:lin ang="5400000" scaled="0"/>
                </a:gradFill>
              </a:rPr>
              <a:t>media</a:t>
            </a:r>
          </a:p>
        </p:txBody>
      </p:sp>
      <p:sp>
        <p:nvSpPr>
          <p:cNvPr id="3" name="Rectangle 2"/>
          <p:cNvSpPr/>
          <p:nvPr/>
        </p:nvSpPr>
        <p:spPr>
          <a:xfrm>
            <a:off x="1501625" y="2386723"/>
            <a:ext cx="3388531" cy="646331"/>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Highly available, scalable and secure </a:t>
            </a:r>
          </a:p>
          <a:p>
            <a:pPr marL="213103" indent="-210722">
              <a:buClr>
                <a:schemeClr val="accent2"/>
              </a:buClr>
              <a:buFont typeface="Wingdings" pitchFamily="2" charset="2"/>
              <a:buChar char="ß"/>
            </a:pPr>
            <a:r>
              <a:rPr lang="en-US" sz="1200" dirty="0">
                <a:solidFill>
                  <a:schemeClr val="tx2">
                    <a:alpha val="99000"/>
                  </a:schemeClr>
                </a:solidFill>
              </a:rPr>
              <a:t>Blobs can be exposed publically over http</a:t>
            </a:r>
            <a:endParaRPr lang="en-NZ" sz="1200" dirty="0">
              <a:solidFill>
                <a:schemeClr val="tx2">
                  <a:alpha val="99000"/>
                </a:schemeClr>
              </a:solidFill>
            </a:endParaRPr>
          </a:p>
          <a:p>
            <a:pPr marL="213103" indent="-210722">
              <a:buClr>
                <a:schemeClr val="accent2"/>
              </a:buClr>
              <a:buFont typeface="Wingdings" pitchFamily="2" charset="2"/>
              <a:buChar char="ß"/>
            </a:pPr>
            <a:r>
              <a:rPr lang="en-US" sz="1200" dirty="0">
                <a:solidFill>
                  <a:schemeClr val="tx2">
                    <a:alpha val="99000"/>
                  </a:schemeClr>
                </a:solidFill>
              </a:rPr>
              <a:t>Continuous geo-replication</a:t>
            </a:r>
          </a:p>
        </p:txBody>
      </p:sp>
      <p:pic>
        <p:nvPicPr>
          <p:cNvPr id="69" name="Picture 6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519" y="1078084"/>
            <a:ext cx="509773" cy="509773"/>
          </a:xfrm>
          <a:prstGeom prst="rect">
            <a:avLst/>
          </a:prstGeom>
        </p:spPr>
      </p:pic>
      <p:pic>
        <p:nvPicPr>
          <p:cNvPr id="70" name="Picture 6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675" y="2273643"/>
            <a:ext cx="578085" cy="523677"/>
          </a:xfrm>
          <a:prstGeom prst="rect">
            <a:avLst/>
          </a:prstGeom>
        </p:spPr>
      </p:pic>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1492" y="3492327"/>
            <a:ext cx="580883" cy="580883"/>
          </a:xfrm>
          <a:prstGeom prst="rect">
            <a:avLst/>
          </a:prstGeom>
        </p:spPr>
      </p:pic>
      <p:sp>
        <p:nvSpPr>
          <p:cNvPr id="72" name="Rectangle 71"/>
          <p:cNvSpPr/>
          <p:nvPr/>
        </p:nvSpPr>
        <p:spPr>
          <a:xfrm>
            <a:off x="1501623" y="3521858"/>
            <a:ext cx="3388531" cy="830997"/>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Low latency, in-memory distributed cache</a:t>
            </a:r>
          </a:p>
          <a:p>
            <a:pPr marL="213103" indent="-210722">
              <a:buClr>
                <a:schemeClr val="accent2"/>
              </a:buClr>
              <a:buFont typeface="Wingdings" pitchFamily="2" charset="2"/>
              <a:buChar char="ß"/>
            </a:pPr>
            <a:r>
              <a:rPr lang="en-US" sz="1200" dirty="0">
                <a:solidFill>
                  <a:schemeClr val="tx2">
                    <a:alpha val="99000"/>
                  </a:schemeClr>
                </a:solidFill>
              </a:rPr>
              <a:t>Dynamically grow and shrink cache size</a:t>
            </a:r>
          </a:p>
          <a:p>
            <a:pPr marL="213103" indent="-210722">
              <a:buClr>
                <a:schemeClr val="accent2"/>
              </a:buClr>
              <a:buFont typeface="Wingdings" pitchFamily="2" charset="2"/>
              <a:buChar char="ß"/>
            </a:pPr>
            <a:r>
              <a:rPr lang="en-US" sz="1200" dirty="0">
                <a:solidFill>
                  <a:schemeClr val="tx2">
                    <a:alpha val="99000"/>
                  </a:schemeClr>
                </a:solidFill>
              </a:rPr>
              <a:t>High availability support</a:t>
            </a:r>
          </a:p>
          <a:p>
            <a:pPr marL="213103" indent="-210722">
              <a:buClr>
                <a:schemeClr val="accent2"/>
              </a:buClr>
              <a:buFont typeface="Wingdings" pitchFamily="2" charset="2"/>
              <a:buChar char="ß"/>
            </a:pPr>
            <a:r>
              <a:rPr lang="en-US" sz="1200" dirty="0">
                <a:solidFill>
                  <a:schemeClr val="tx2">
                    <a:alpha val="99000"/>
                  </a:schemeClr>
                </a:solidFill>
              </a:rPr>
              <a:t>Memcached protocol support</a:t>
            </a:r>
          </a:p>
        </p:txBody>
      </p:sp>
      <p:sp>
        <p:nvSpPr>
          <p:cNvPr id="73" name="Rectangle 72"/>
          <p:cNvSpPr/>
          <p:nvPr/>
        </p:nvSpPr>
        <p:spPr>
          <a:xfrm>
            <a:off x="5944019" y="1094780"/>
            <a:ext cx="3440009" cy="830997"/>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Integrate with enterprise identity</a:t>
            </a:r>
          </a:p>
          <a:p>
            <a:pPr marL="213103" indent="-210722">
              <a:buClr>
                <a:schemeClr val="accent2"/>
              </a:buClr>
              <a:buFont typeface="Wingdings" pitchFamily="2" charset="2"/>
              <a:buChar char="ß"/>
            </a:pPr>
            <a:r>
              <a:rPr lang="en-US" sz="1200" dirty="0">
                <a:solidFill>
                  <a:schemeClr val="tx2">
                    <a:alpha val="99000"/>
                  </a:schemeClr>
                </a:solidFill>
              </a:rPr>
              <a:t>Enable single sign-on within your apps</a:t>
            </a:r>
          </a:p>
          <a:p>
            <a:pPr marL="213103" indent="-210722">
              <a:buClr>
                <a:schemeClr val="accent2"/>
              </a:buClr>
              <a:buFont typeface="Wingdings" pitchFamily="2" charset="2"/>
              <a:buChar char="ß"/>
            </a:pPr>
            <a:r>
              <a:rPr lang="en-US" sz="1200" dirty="0">
                <a:solidFill>
                  <a:schemeClr val="tx2">
                    <a:alpha val="99000"/>
                  </a:schemeClr>
                </a:solidFill>
              </a:rPr>
              <a:t>Enterprise Graph REST API</a:t>
            </a:r>
          </a:p>
          <a:p>
            <a:pPr marL="213103" indent="-210722">
              <a:buClr>
                <a:schemeClr val="accent2"/>
              </a:buClr>
              <a:buFont typeface="Wingdings" pitchFamily="2" charset="2"/>
              <a:buChar char="ß"/>
            </a:pPr>
            <a:r>
              <a:rPr lang="en-US" sz="1200" dirty="0">
                <a:solidFill>
                  <a:schemeClr val="tx2">
                    <a:alpha val="99000"/>
                  </a:schemeClr>
                </a:solidFill>
              </a:rPr>
              <a:t>93% of Fortune 1000 use Active Directory</a:t>
            </a:r>
          </a:p>
        </p:txBody>
      </p:sp>
      <p:sp>
        <p:nvSpPr>
          <p:cNvPr id="74" name="Rectangle 73"/>
          <p:cNvSpPr/>
          <p:nvPr/>
        </p:nvSpPr>
        <p:spPr>
          <a:xfrm>
            <a:off x="5932906" y="2315785"/>
            <a:ext cx="3388531" cy="830997"/>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Secure messaging and relay capabilities</a:t>
            </a:r>
          </a:p>
          <a:p>
            <a:pPr marL="213103" indent="-210722">
              <a:buClr>
                <a:schemeClr val="accent2"/>
              </a:buClr>
              <a:buFont typeface="Wingdings" pitchFamily="2" charset="2"/>
              <a:buChar char="ß"/>
            </a:pPr>
            <a:r>
              <a:rPr lang="en-US" sz="1200" dirty="0">
                <a:solidFill>
                  <a:schemeClr val="tx2">
                    <a:alpha val="99000"/>
                  </a:schemeClr>
                </a:solidFill>
              </a:rPr>
              <a:t>Easily build hybrid apps</a:t>
            </a:r>
          </a:p>
          <a:p>
            <a:pPr marL="213103" indent="-210722">
              <a:buClr>
                <a:schemeClr val="accent2"/>
              </a:buClr>
              <a:buFont typeface="Wingdings" pitchFamily="2" charset="2"/>
              <a:buChar char="ß"/>
            </a:pPr>
            <a:r>
              <a:rPr lang="en-US" sz="1200" dirty="0">
                <a:solidFill>
                  <a:schemeClr val="tx2">
                    <a:alpha val="99000"/>
                  </a:schemeClr>
                </a:solidFill>
              </a:rPr>
              <a:t>Enable loosely coupled solutions</a:t>
            </a:r>
          </a:p>
          <a:p>
            <a:pPr marL="213103" indent="-210722">
              <a:buClr>
                <a:schemeClr val="accent2"/>
              </a:buClr>
              <a:buFont typeface="Wingdings" pitchFamily="2" charset="2"/>
              <a:buChar char="ß"/>
            </a:pPr>
            <a:r>
              <a:rPr lang="en-US" sz="1200" dirty="0">
                <a:solidFill>
                  <a:schemeClr val="tx2">
                    <a:alpha val="99000"/>
                  </a:schemeClr>
                </a:solidFill>
              </a:rPr>
              <a:t>Notifications Hub for devices</a:t>
            </a:r>
            <a:endParaRPr lang="en-US" sz="1200" dirty="0">
              <a:solidFill>
                <a:schemeClr val="tx2">
                  <a:alpha val="99000"/>
                </a:schemeClr>
              </a:solidFill>
            </a:endParaRPr>
          </a:p>
        </p:txBody>
      </p:sp>
      <p:sp>
        <p:nvSpPr>
          <p:cNvPr id="75" name="Rectangle 74"/>
          <p:cNvSpPr/>
          <p:nvPr/>
        </p:nvSpPr>
        <p:spPr>
          <a:xfrm>
            <a:off x="5932907" y="3594967"/>
            <a:ext cx="3388531" cy="646331"/>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Create, manage and distribute content</a:t>
            </a:r>
          </a:p>
          <a:p>
            <a:pPr marL="213103" indent="-210722">
              <a:buClr>
                <a:schemeClr val="accent2"/>
              </a:buClr>
              <a:buFont typeface="Wingdings" pitchFamily="2" charset="2"/>
              <a:buChar char="ß"/>
            </a:pPr>
            <a:r>
              <a:rPr lang="en-US" sz="1200" dirty="0">
                <a:solidFill>
                  <a:schemeClr val="tx2">
                    <a:alpha val="99000"/>
                  </a:schemeClr>
                </a:solidFill>
              </a:rPr>
              <a:t>Target any device or media format</a:t>
            </a:r>
          </a:p>
          <a:p>
            <a:pPr marL="213103" indent="-210722">
              <a:buClr>
                <a:schemeClr val="accent2"/>
              </a:buClr>
              <a:buFont typeface="Wingdings" pitchFamily="2" charset="2"/>
              <a:buChar char="ß"/>
            </a:pPr>
            <a:r>
              <a:rPr lang="en-US" sz="1200" dirty="0">
                <a:solidFill>
                  <a:schemeClr val="tx2">
                    <a:alpha val="99000"/>
                  </a:schemeClr>
                </a:solidFill>
              </a:rPr>
              <a:t>Ingest, Encode, Protect, Stream</a:t>
            </a:r>
          </a:p>
        </p:txBody>
      </p:sp>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11532" y="1068122"/>
            <a:ext cx="484534" cy="484534"/>
          </a:xfrm>
          <a:prstGeom prst="rect">
            <a:avLst/>
          </a:prstGeom>
        </p:spPr>
      </p:pic>
      <p:pic>
        <p:nvPicPr>
          <p:cNvPr id="78" name="Picture 7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06843" y="3505666"/>
            <a:ext cx="471690" cy="471690"/>
          </a:xfrm>
          <a:prstGeom prst="rect">
            <a:avLst/>
          </a:prstGeom>
        </p:spPr>
      </p:pic>
      <p:sp>
        <p:nvSpPr>
          <p:cNvPr id="20" name="Rectangle 19"/>
          <p:cNvSpPr>
            <a:spLocks noChangeAspect="1"/>
          </p:cNvSpPr>
          <p:nvPr/>
        </p:nvSpPr>
        <p:spPr bwMode="auto">
          <a:xfrm>
            <a:off x="332298" y="935519"/>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a:gradFill>
                  <a:gsLst>
                    <a:gs pos="0">
                      <a:srgbClr val="FFFFFF"/>
                    </a:gs>
                    <a:gs pos="100000">
                      <a:srgbClr val="FFFFFF"/>
                    </a:gs>
                  </a:gsLst>
                  <a:lin ang="5400000" scaled="0"/>
                </a:gradFill>
              </a:rPr>
              <a:t>tables</a:t>
            </a:r>
          </a:p>
        </p:txBody>
      </p:sp>
      <p:sp>
        <p:nvSpPr>
          <p:cNvPr id="21" name="Rectangle 20"/>
          <p:cNvSpPr/>
          <p:nvPr/>
        </p:nvSpPr>
        <p:spPr>
          <a:xfrm>
            <a:off x="1512733" y="1175596"/>
            <a:ext cx="3377416" cy="646331"/>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NoSQL capabilities for apps</a:t>
            </a:r>
          </a:p>
          <a:p>
            <a:pPr marL="213103" indent="-210722">
              <a:buClr>
                <a:schemeClr val="accent2"/>
              </a:buClr>
              <a:buFont typeface="Wingdings" pitchFamily="2" charset="2"/>
              <a:buChar char="ß"/>
            </a:pPr>
            <a:r>
              <a:rPr lang="en-US" sz="1200" dirty="0">
                <a:solidFill>
                  <a:schemeClr val="tx2">
                    <a:alpha val="99000"/>
                  </a:schemeClr>
                </a:solidFill>
              </a:rPr>
              <a:t>ISO 27001 certified</a:t>
            </a:r>
          </a:p>
          <a:p>
            <a:pPr marL="213103" indent="-210722">
              <a:buClr>
                <a:schemeClr val="accent2"/>
              </a:buClr>
              <a:buFont typeface="Wingdings" pitchFamily="2" charset="2"/>
              <a:buChar char="ß"/>
            </a:pPr>
            <a:r>
              <a:rPr lang="en-US" sz="1200" dirty="0">
                <a:solidFill>
                  <a:schemeClr val="tx2">
                    <a:alpha val="99000"/>
                  </a:schemeClr>
                </a:solidFill>
              </a:rPr>
              <a:t>Auto scale to meet volumes of up to 100tb</a:t>
            </a:r>
          </a:p>
        </p:txBody>
      </p:sp>
      <p:pic>
        <p:nvPicPr>
          <p:cNvPr id="22" name="Picture 2" descr="C:\Users\Jonahs\Dropbox\Projects SCOTT\MEET Windows Azure\source\Background\tile-icon-storag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2142" y="1078084"/>
            <a:ext cx="638525" cy="63852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9"/>
          <a:stretch>
            <a:fillRect/>
          </a:stretch>
        </p:blipFill>
        <p:spPr>
          <a:xfrm>
            <a:off x="5149181" y="2342159"/>
            <a:ext cx="458314" cy="531883"/>
          </a:xfrm>
          <a:prstGeom prst="rect">
            <a:avLst/>
          </a:prstGeom>
          <a:noFill/>
        </p:spPr>
      </p:pic>
    </p:spTree>
    <p:extLst>
      <p:ext uri="{BB962C8B-B14F-4D97-AF65-F5344CB8AC3E}">
        <p14:creationId xmlns:p14="http://schemas.microsoft.com/office/powerpoint/2010/main" val="35626892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indows Azure </a:t>
            </a:r>
            <a:r>
              <a:rPr lang="en-US" dirty="0" smtClean="0">
                <a:solidFill>
                  <a:schemeClr val="accent2"/>
                </a:solidFill>
              </a:rPr>
              <a:t>Services</a:t>
            </a:r>
            <a:endParaRPr lang="en-US" dirty="0">
              <a:solidFill>
                <a:schemeClr val="accent2"/>
              </a:solidFill>
            </a:endParaRPr>
          </a:p>
        </p:txBody>
      </p:sp>
      <p:sp>
        <p:nvSpPr>
          <p:cNvPr id="33" name="Rectangle 32"/>
          <p:cNvSpPr>
            <a:spLocks noChangeAspect="1"/>
          </p:cNvSpPr>
          <p:nvPr/>
        </p:nvSpPr>
        <p:spPr bwMode="auto">
          <a:xfrm>
            <a:off x="321186" y="935520"/>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err="1">
                <a:gradFill>
                  <a:gsLst>
                    <a:gs pos="0">
                      <a:srgbClr val="FFFFFF"/>
                    </a:gs>
                    <a:gs pos="100000">
                      <a:srgbClr val="FFFFFF"/>
                    </a:gs>
                  </a:gsLst>
                  <a:lin ang="5400000" scaled="0"/>
                </a:gradFill>
              </a:rPr>
              <a:t>HDInsight</a:t>
            </a:r>
            <a:endParaRPr lang="en-US" sz="1350" dirty="0">
              <a:gradFill>
                <a:gsLst>
                  <a:gs pos="0">
                    <a:srgbClr val="FFFFFF"/>
                  </a:gs>
                  <a:gs pos="100000">
                    <a:srgbClr val="FFFFFF"/>
                  </a:gs>
                </a:gsLst>
                <a:lin ang="5400000" scaled="0"/>
              </a:gradFill>
            </a:endParaRPr>
          </a:p>
        </p:txBody>
      </p:sp>
      <p:sp>
        <p:nvSpPr>
          <p:cNvPr id="59" name="Rectangle 58"/>
          <p:cNvSpPr>
            <a:spLocks noChangeAspect="1"/>
          </p:cNvSpPr>
          <p:nvPr/>
        </p:nvSpPr>
        <p:spPr bwMode="auto">
          <a:xfrm>
            <a:off x="321186" y="2146647"/>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a:gradFill>
                  <a:gsLst>
                    <a:gs pos="0">
                      <a:srgbClr val="FFFFFF"/>
                    </a:gs>
                    <a:gs pos="100000">
                      <a:srgbClr val="FFFFFF"/>
                    </a:gs>
                  </a:gsLst>
                  <a:lin ang="5400000" scaled="0"/>
                </a:gradFill>
              </a:rPr>
              <a:t>traffic</a:t>
            </a:r>
          </a:p>
        </p:txBody>
      </p:sp>
      <p:sp>
        <p:nvSpPr>
          <p:cNvPr id="60" name="Rectangle 59"/>
          <p:cNvSpPr>
            <a:spLocks noChangeAspect="1"/>
          </p:cNvSpPr>
          <p:nvPr/>
        </p:nvSpPr>
        <p:spPr bwMode="auto">
          <a:xfrm>
            <a:off x="332298" y="3374102"/>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a:gradFill>
                  <a:gsLst>
                    <a:gs pos="0">
                      <a:srgbClr val="FFFFFF"/>
                    </a:gs>
                    <a:gs pos="100000">
                      <a:srgbClr val="FFFFFF"/>
                    </a:gs>
                  </a:gsLst>
                  <a:lin ang="5400000" scaled="0"/>
                </a:gradFill>
              </a:rPr>
              <a:t>networking</a:t>
            </a:r>
          </a:p>
        </p:txBody>
      </p:sp>
      <p:sp>
        <p:nvSpPr>
          <p:cNvPr id="67" name="Rectangle 66"/>
          <p:cNvSpPr>
            <a:spLocks noChangeAspect="1"/>
          </p:cNvSpPr>
          <p:nvPr/>
        </p:nvSpPr>
        <p:spPr bwMode="auto">
          <a:xfrm>
            <a:off x="4768002" y="939481"/>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a:gradFill>
                  <a:gsLst>
                    <a:gs pos="0">
                      <a:srgbClr val="FFFFFF"/>
                    </a:gs>
                    <a:gs pos="100000">
                      <a:srgbClr val="FFFFFF"/>
                    </a:gs>
                  </a:gsLst>
                  <a:lin ang="5400000" scaled="0"/>
                </a:gradFill>
              </a:rPr>
              <a:t>cdn</a:t>
            </a:r>
          </a:p>
        </p:txBody>
      </p:sp>
      <p:sp>
        <p:nvSpPr>
          <p:cNvPr id="68" name="Rectangle 67"/>
          <p:cNvSpPr>
            <a:spLocks noChangeAspect="1"/>
          </p:cNvSpPr>
          <p:nvPr/>
        </p:nvSpPr>
        <p:spPr bwMode="auto">
          <a:xfrm>
            <a:off x="4779114" y="2166936"/>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a:gradFill>
                  <a:gsLst>
                    <a:gs pos="0">
                      <a:srgbClr val="FFFFFF"/>
                    </a:gs>
                    <a:gs pos="100000">
                      <a:srgbClr val="FFFFFF"/>
                    </a:gs>
                  </a:gsLst>
                  <a:lin ang="5400000" scaled="0"/>
                </a:gradFill>
              </a:rPr>
              <a:t>analytics</a:t>
            </a:r>
          </a:p>
        </p:txBody>
      </p:sp>
      <p:sp>
        <p:nvSpPr>
          <p:cNvPr id="2" name="Rectangle 1"/>
          <p:cNvSpPr/>
          <p:nvPr/>
        </p:nvSpPr>
        <p:spPr>
          <a:xfrm>
            <a:off x="1501623" y="1094780"/>
            <a:ext cx="3261957" cy="830997"/>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Enterprise-ready Hadoop distribution.</a:t>
            </a:r>
          </a:p>
          <a:p>
            <a:pPr marL="213103" indent="-210722">
              <a:buClr>
                <a:schemeClr val="accent2"/>
              </a:buClr>
              <a:buFont typeface="Wingdings" pitchFamily="2" charset="2"/>
              <a:buChar char="ß"/>
            </a:pPr>
            <a:r>
              <a:rPr lang="en-US" sz="1200" dirty="0">
                <a:solidFill>
                  <a:schemeClr val="tx2">
                    <a:alpha val="99000"/>
                  </a:schemeClr>
                </a:solidFill>
              </a:rPr>
              <a:t>Familiar tools such as Excel, PowerPivot, SQL Server Analysis Services and Reporting Services.</a:t>
            </a:r>
          </a:p>
        </p:txBody>
      </p:sp>
      <p:sp>
        <p:nvSpPr>
          <p:cNvPr id="3" name="Rectangle 2"/>
          <p:cNvSpPr/>
          <p:nvPr/>
        </p:nvSpPr>
        <p:spPr>
          <a:xfrm>
            <a:off x="1501625" y="2386723"/>
            <a:ext cx="3388531" cy="646331"/>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Intelligent policy engine for DNS queries</a:t>
            </a:r>
          </a:p>
          <a:p>
            <a:pPr marL="213103" indent="-210722">
              <a:buClr>
                <a:schemeClr val="accent2"/>
              </a:buClr>
              <a:buFont typeface="Wingdings" pitchFamily="2" charset="2"/>
              <a:buChar char="ß"/>
            </a:pPr>
            <a:r>
              <a:rPr lang="en-US" sz="1200" dirty="0">
                <a:solidFill>
                  <a:schemeClr val="tx2">
                    <a:alpha val="99000"/>
                  </a:schemeClr>
                </a:solidFill>
              </a:rPr>
              <a:t>load balance incoming traffic </a:t>
            </a:r>
          </a:p>
          <a:p>
            <a:pPr marL="213103" indent="-210722">
              <a:buClr>
                <a:schemeClr val="accent2"/>
              </a:buClr>
              <a:buFont typeface="Wingdings" pitchFamily="2" charset="2"/>
              <a:buChar char="ß"/>
            </a:pPr>
            <a:r>
              <a:rPr lang="en-US" sz="1200" dirty="0">
                <a:solidFill>
                  <a:schemeClr val="tx2">
                    <a:alpha val="99000"/>
                  </a:schemeClr>
                </a:solidFill>
              </a:rPr>
              <a:t>Improve performance and availability</a:t>
            </a:r>
          </a:p>
        </p:txBody>
      </p:sp>
      <p:sp>
        <p:nvSpPr>
          <p:cNvPr id="72" name="Rectangle 71"/>
          <p:cNvSpPr/>
          <p:nvPr/>
        </p:nvSpPr>
        <p:spPr>
          <a:xfrm>
            <a:off x="1501623" y="3706498"/>
            <a:ext cx="3388531" cy="461665"/>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Provision and manage VPN’s</a:t>
            </a:r>
          </a:p>
          <a:p>
            <a:pPr marL="213103" indent="-210722">
              <a:buClr>
                <a:schemeClr val="accent2"/>
              </a:buClr>
              <a:buFont typeface="Wingdings" pitchFamily="2" charset="2"/>
              <a:buChar char="ß"/>
            </a:pPr>
            <a:r>
              <a:rPr lang="en-US" sz="1200" dirty="0">
                <a:solidFill>
                  <a:schemeClr val="tx2">
                    <a:alpha val="99000"/>
                  </a:schemeClr>
                </a:solidFill>
              </a:rPr>
              <a:t>Establish machine-to-machine connections</a:t>
            </a:r>
          </a:p>
        </p:txBody>
      </p:sp>
      <p:sp>
        <p:nvSpPr>
          <p:cNvPr id="74" name="Rectangle 73"/>
          <p:cNvSpPr/>
          <p:nvPr/>
        </p:nvSpPr>
        <p:spPr>
          <a:xfrm>
            <a:off x="5948438" y="1120443"/>
            <a:ext cx="3209257" cy="830997"/>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Easily add edge caching to your app</a:t>
            </a:r>
          </a:p>
          <a:p>
            <a:pPr marL="213103" indent="-210722">
              <a:buClr>
                <a:schemeClr val="accent2"/>
              </a:buClr>
              <a:buFont typeface="Wingdings" pitchFamily="2" charset="2"/>
              <a:buChar char="ß"/>
            </a:pPr>
            <a:r>
              <a:rPr lang="en-US" sz="1200" dirty="0">
                <a:solidFill>
                  <a:schemeClr val="tx2">
                    <a:alpha val="99000"/>
                  </a:schemeClr>
                </a:solidFill>
              </a:rPr>
              <a:t>Cache content at locations closest to your customers </a:t>
            </a:r>
          </a:p>
          <a:p>
            <a:pPr marL="213103" indent="-210722">
              <a:buClr>
                <a:schemeClr val="accent2"/>
              </a:buClr>
              <a:buFont typeface="Wingdings" pitchFamily="2" charset="2"/>
              <a:buChar char="ß"/>
            </a:pPr>
            <a:r>
              <a:rPr lang="en-US" sz="1200" dirty="0">
                <a:solidFill>
                  <a:schemeClr val="tx2">
                    <a:alpha val="99000"/>
                  </a:schemeClr>
                </a:solidFill>
              </a:rPr>
              <a:t>Integrated with Blob storage</a:t>
            </a:r>
          </a:p>
        </p:txBody>
      </p:sp>
      <p:sp>
        <p:nvSpPr>
          <p:cNvPr id="75" name="Rectangle 74"/>
          <p:cNvSpPr/>
          <p:nvPr/>
        </p:nvSpPr>
        <p:spPr>
          <a:xfrm>
            <a:off x="5948439" y="2302826"/>
            <a:ext cx="3388531" cy="830997"/>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SQL Server business analytics on VM’s</a:t>
            </a:r>
          </a:p>
          <a:p>
            <a:pPr marL="213103" indent="-210722">
              <a:buClr>
                <a:schemeClr val="accent2"/>
              </a:buClr>
              <a:buFont typeface="Wingdings" pitchFamily="2" charset="2"/>
              <a:buChar char="ß"/>
            </a:pPr>
            <a:r>
              <a:rPr lang="en-US" sz="1200" dirty="0">
                <a:solidFill>
                  <a:schemeClr val="tx2">
                    <a:alpha val="99000"/>
                  </a:schemeClr>
                </a:solidFill>
              </a:rPr>
              <a:t>Data marketplace</a:t>
            </a:r>
          </a:p>
          <a:p>
            <a:pPr marL="213103" indent="-210722">
              <a:buClr>
                <a:schemeClr val="accent2"/>
              </a:buClr>
              <a:buFont typeface="Wingdings" pitchFamily="2" charset="2"/>
              <a:buChar char="ß"/>
            </a:pPr>
            <a:r>
              <a:rPr lang="en-US" sz="1200" dirty="0">
                <a:solidFill>
                  <a:schemeClr val="tx2">
                    <a:alpha val="99000"/>
                  </a:schemeClr>
                </a:solidFill>
              </a:rPr>
              <a:t>Reporting </a:t>
            </a:r>
            <a:r>
              <a:rPr lang="en-US" sz="1200" dirty="0">
                <a:solidFill>
                  <a:schemeClr val="tx2">
                    <a:alpha val="99000"/>
                  </a:schemeClr>
                </a:solidFill>
              </a:rPr>
              <a:t>services</a:t>
            </a:r>
          </a:p>
          <a:p>
            <a:pPr marL="213103" indent="-210722">
              <a:buClr>
                <a:schemeClr val="accent2"/>
              </a:buClr>
              <a:buFont typeface="Wingdings" pitchFamily="2" charset="2"/>
              <a:buChar char="ß"/>
            </a:pPr>
            <a:r>
              <a:rPr lang="en-US" sz="1200" dirty="0" err="1">
                <a:solidFill>
                  <a:schemeClr val="tx2">
                    <a:alpha val="99000"/>
                  </a:schemeClr>
                </a:solidFill>
              </a:rPr>
              <a:t>StreamInsight</a:t>
            </a:r>
            <a:endParaRPr lang="en-US" sz="1200" dirty="0">
              <a:solidFill>
                <a:schemeClr val="tx2">
                  <a:alpha val="99000"/>
                </a:schemeClr>
              </a:solidFill>
            </a:endParaRPr>
          </a:p>
        </p:txBody>
      </p:sp>
      <p:pic>
        <p:nvPicPr>
          <p:cNvPr id="22" name="Picture 3" descr="C:\Users\Jonahs\Dropbox\Projects SCOTT\MEET Windows Azure\source\Background\tile-icon-bigdat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900" y="1068121"/>
            <a:ext cx="503473" cy="50347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02562" y="2279536"/>
            <a:ext cx="440148" cy="44014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descr="C:\Users\Jonahs\Dropbox\Projects SCOTT\MEET Windows Azure\source\Background\tile-icon-network.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410" y="3489492"/>
            <a:ext cx="533964" cy="53396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15474" y="1048878"/>
            <a:ext cx="638525" cy="638525"/>
          </a:xfrm>
          <a:prstGeom prst="rect">
            <a:avLst/>
          </a:prstGeom>
          <a:noFill/>
          <a:extLst>
            <a:ext uri="{909E8E84-426E-40DD-AFC4-6F175D3DCCD1}">
              <a14:hiddenFill xmlns:a14="http://schemas.microsoft.com/office/drawing/2010/main">
                <a:solidFill>
                  <a:srgbClr val="FFFFFF"/>
                </a:solidFill>
              </a14:hiddenFill>
            </a:ext>
          </a:extLst>
        </p:spPr>
      </p:pic>
      <p:sp>
        <p:nvSpPr>
          <p:cNvPr id="27" name="Freeform 26"/>
          <p:cNvSpPr>
            <a:spLocks noEditPoints="1"/>
          </p:cNvSpPr>
          <p:nvPr/>
        </p:nvSpPr>
        <p:spPr bwMode="auto">
          <a:xfrm>
            <a:off x="5051309" y="2297604"/>
            <a:ext cx="566855" cy="499786"/>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68570" tIns="34285" rIns="68570" bIns="34285" numCol="1" anchor="t" anchorCtr="0" compatLnSpc="1">
            <a:prstTxWarp prst="textNoShape">
              <a:avLst/>
            </a:prstTxWarp>
          </a:bodyPr>
          <a:lstStyle/>
          <a:p>
            <a:pPr defTabSz="911225"/>
            <a:endParaRPr lang="en-US" dirty="0">
              <a:solidFill>
                <a:srgbClr val="292929"/>
              </a:solidFill>
            </a:endParaRPr>
          </a:p>
        </p:txBody>
      </p:sp>
      <p:sp>
        <p:nvSpPr>
          <p:cNvPr id="18" name="Rectangle 17"/>
          <p:cNvSpPr>
            <a:spLocks noChangeAspect="1"/>
          </p:cNvSpPr>
          <p:nvPr/>
        </p:nvSpPr>
        <p:spPr bwMode="auto">
          <a:xfrm>
            <a:off x="4748141" y="3374102"/>
            <a:ext cx="1180439" cy="1103314"/>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37141" tIns="68570" rIns="68567" bIns="137141" numCol="1" rtlCol="0" anchor="b" anchorCtr="0" compatLnSpc="1">
            <a:prstTxWarp prst="textNoShape">
              <a:avLst/>
            </a:prstTxWarp>
          </a:bodyPr>
          <a:lstStyle/>
          <a:p>
            <a:pPr algn="ctr" defTabSz="685513" fontAlgn="base">
              <a:spcBef>
                <a:spcPct val="0"/>
              </a:spcBef>
              <a:spcAft>
                <a:spcPct val="0"/>
              </a:spcAft>
            </a:pPr>
            <a:r>
              <a:rPr lang="en-US" sz="1350" dirty="0">
                <a:gradFill>
                  <a:gsLst>
                    <a:gs pos="0">
                      <a:srgbClr val="FFFFFF"/>
                    </a:gs>
                    <a:gs pos="100000">
                      <a:srgbClr val="FFFFFF"/>
                    </a:gs>
                  </a:gsLst>
                  <a:lin ang="5400000" scaled="0"/>
                </a:gradFill>
              </a:rPr>
              <a:t>integration</a:t>
            </a:r>
            <a:endParaRPr lang="en-US" sz="1350" dirty="0">
              <a:gradFill>
                <a:gsLst>
                  <a:gs pos="0">
                    <a:srgbClr val="FFFFFF"/>
                  </a:gs>
                  <a:gs pos="100000">
                    <a:srgbClr val="FFFFFF"/>
                  </a:gs>
                </a:gsLst>
                <a:lin ang="5400000" scaled="0"/>
              </a:gradFill>
            </a:endParaRPr>
          </a:p>
        </p:txBody>
      </p:sp>
      <p:pic>
        <p:nvPicPr>
          <p:cNvPr id="19" name="Picture 3"/>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5095005" y="3548947"/>
            <a:ext cx="501890" cy="501888"/>
          </a:xfrm>
          <a:prstGeom prst="rect">
            <a:avLst/>
          </a:prstGeom>
          <a:noFill/>
          <a:ln>
            <a:noFill/>
          </a:ln>
          <a:effectLst/>
          <a:extLst/>
        </p:spPr>
      </p:pic>
      <p:sp>
        <p:nvSpPr>
          <p:cNvPr id="20" name="Rectangle 19"/>
          <p:cNvSpPr/>
          <p:nvPr/>
        </p:nvSpPr>
        <p:spPr>
          <a:xfrm>
            <a:off x="5948438" y="3608625"/>
            <a:ext cx="2926354" cy="646331"/>
          </a:xfrm>
          <a:prstGeom prst="rect">
            <a:avLst/>
          </a:prstGeom>
        </p:spPr>
        <p:txBody>
          <a:bodyPr wrap="square">
            <a:spAutoFit/>
          </a:bodyPr>
          <a:lstStyle/>
          <a:p>
            <a:pPr marL="213103" indent="-210722">
              <a:buClr>
                <a:schemeClr val="accent2"/>
              </a:buClr>
              <a:buFont typeface="Wingdings" pitchFamily="2" charset="2"/>
              <a:buChar char="ß"/>
            </a:pPr>
            <a:r>
              <a:rPr lang="en-US" sz="1200" dirty="0">
                <a:solidFill>
                  <a:schemeClr val="tx2">
                    <a:alpha val="99000"/>
                  </a:schemeClr>
                </a:solidFill>
              </a:rPr>
              <a:t>General purpose data validation, transformation and routing</a:t>
            </a:r>
            <a:endParaRPr lang="en-US" sz="1200" dirty="0">
              <a:solidFill>
                <a:schemeClr val="tx2">
                  <a:alpha val="99000"/>
                </a:schemeClr>
              </a:solidFill>
            </a:endParaRPr>
          </a:p>
          <a:p>
            <a:pPr marL="213103" indent="-210722">
              <a:buClr>
                <a:schemeClr val="accent2"/>
              </a:buClr>
              <a:buFont typeface="Wingdings" pitchFamily="2" charset="2"/>
              <a:buChar char="ß"/>
            </a:pPr>
            <a:r>
              <a:rPr lang="en-US" sz="1200" dirty="0">
                <a:solidFill>
                  <a:schemeClr val="tx2">
                    <a:alpha val="99000"/>
                  </a:schemeClr>
                </a:solidFill>
              </a:rPr>
              <a:t>Specific EDI and B2B engines</a:t>
            </a:r>
            <a:endParaRPr lang="en-US" sz="1200" dirty="0">
              <a:solidFill>
                <a:schemeClr val="tx2">
                  <a:alpha val="99000"/>
                </a:schemeClr>
              </a:solidFill>
            </a:endParaRPr>
          </a:p>
        </p:txBody>
      </p:sp>
    </p:spTree>
    <p:extLst>
      <p:ext uri="{BB962C8B-B14F-4D97-AF65-F5344CB8AC3E}">
        <p14:creationId xmlns:p14="http://schemas.microsoft.com/office/powerpoint/2010/main" val="38830471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zure</a:t>
            </a:r>
            <a:endParaRPr lang="en-US" dirty="0"/>
          </a:p>
        </p:txBody>
      </p:sp>
      <p:sp>
        <p:nvSpPr>
          <p:cNvPr id="7" name="Text Placeholder 6"/>
          <p:cNvSpPr>
            <a:spLocks noGrp="1"/>
          </p:cNvSpPr>
          <p:nvPr>
            <p:ph type="body" sz="quarter" idx="14"/>
          </p:nvPr>
        </p:nvSpPr>
        <p:spPr/>
        <p:txBody>
          <a:bodyPr/>
          <a:lstStyle/>
          <a:p>
            <a:r>
              <a:rPr lang="en-US" dirty="0" smtClean="0"/>
              <a:t>Dashboard – Demo &amp; Mobile </a:t>
            </a:r>
            <a:r>
              <a:rPr lang="en-US" dirty="0" smtClean="0"/>
              <a:t>Services and building your first app</a:t>
            </a:r>
            <a:endParaRPr lang="en-US" dirty="0"/>
          </a:p>
        </p:txBody>
      </p:sp>
    </p:spTree>
    <p:extLst>
      <p:ext uri="{BB962C8B-B14F-4D97-AF65-F5344CB8AC3E}">
        <p14:creationId xmlns:p14="http://schemas.microsoft.com/office/powerpoint/2010/main" val="40664285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92839" y="1320292"/>
            <a:ext cx="2686465" cy="1599932"/>
            <a:chOff x="523648" y="1760389"/>
            <a:chExt cx="3581020" cy="2133243"/>
          </a:xfrm>
        </p:grpSpPr>
        <p:sp>
          <p:nvSpPr>
            <p:cNvPr id="9" name="Rectangle 8"/>
            <p:cNvSpPr/>
            <p:nvPr/>
          </p:nvSpPr>
          <p:spPr bwMode="auto">
            <a:xfrm>
              <a:off x="523648" y="1760389"/>
              <a:ext cx="3581020" cy="2133243"/>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7432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2700" spc="-75" dirty="0">
                  <a:gradFill>
                    <a:gsLst>
                      <a:gs pos="0">
                        <a:srgbClr val="FFFFFF"/>
                      </a:gs>
                      <a:gs pos="100000">
                        <a:srgbClr val="FFFFFF"/>
                      </a:gs>
                    </a:gsLst>
                    <a:lin ang="5400000" scaled="0"/>
                  </a:gradFill>
                  <a:latin typeface="Segoe UI Light"/>
                </a:rPr>
                <a:t>Touch</a:t>
              </a:r>
            </a:p>
          </p:txBody>
        </p:sp>
        <p:grpSp>
          <p:nvGrpSpPr>
            <p:cNvPr id="20" name="Group 351"/>
            <p:cNvGrpSpPr>
              <a:grpSpLocks noChangeAspect="1"/>
            </p:cNvGrpSpPr>
            <p:nvPr/>
          </p:nvGrpSpPr>
          <p:grpSpPr bwMode="auto">
            <a:xfrm>
              <a:off x="3367397" y="2962478"/>
              <a:ext cx="438678" cy="721451"/>
              <a:chOff x="-3435" y="469"/>
              <a:chExt cx="574" cy="944"/>
            </a:xfrm>
            <a:solidFill>
              <a:schemeClr val="tx1"/>
            </a:solidFill>
          </p:grpSpPr>
          <p:sp>
            <p:nvSpPr>
              <p:cNvPr id="21" name="Freeform 352"/>
              <p:cNvSpPr>
                <a:spLocks/>
              </p:cNvSpPr>
              <p:nvPr/>
            </p:nvSpPr>
            <p:spPr bwMode="auto">
              <a:xfrm>
                <a:off x="-3435" y="648"/>
                <a:ext cx="574" cy="765"/>
              </a:xfrm>
              <a:custGeom>
                <a:avLst/>
                <a:gdLst>
                  <a:gd name="T0" fmla="*/ 210 w 243"/>
                  <a:gd name="T1" fmla="*/ 143 h 324"/>
                  <a:gd name="T2" fmla="*/ 131 w 243"/>
                  <a:gd name="T3" fmla="*/ 135 h 324"/>
                  <a:gd name="T4" fmla="*/ 128 w 243"/>
                  <a:gd name="T5" fmla="*/ 21 h 324"/>
                  <a:gd name="T6" fmla="*/ 107 w 243"/>
                  <a:gd name="T7" fmla="*/ 0 h 324"/>
                  <a:gd name="T8" fmla="*/ 91 w 243"/>
                  <a:gd name="T9" fmla="*/ 21 h 324"/>
                  <a:gd name="T10" fmla="*/ 91 w 243"/>
                  <a:gd name="T11" fmla="*/ 181 h 324"/>
                  <a:gd name="T12" fmla="*/ 60 w 243"/>
                  <a:gd name="T13" fmla="*/ 146 h 324"/>
                  <a:gd name="T14" fmla="*/ 11 w 243"/>
                  <a:gd name="T15" fmla="*/ 136 h 324"/>
                  <a:gd name="T16" fmla="*/ 28 w 243"/>
                  <a:gd name="T17" fmla="*/ 169 h 324"/>
                  <a:gd name="T18" fmla="*/ 111 w 243"/>
                  <a:gd name="T19" fmla="*/ 289 h 324"/>
                  <a:gd name="T20" fmla="*/ 125 w 243"/>
                  <a:gd name="T21" fmla="*/ 307 h 324"/>
                  <a:gd name="T22" fmla="*/ 134 w 243"/>
                  <a:gd name="T23" fmla="*/ 314 h 324"/>
                  <a:gd name="T24" fmla="*/ 168 w 243"/>
                  <a:gd name="T25" fmla="*/ 324 h 324"/>
                  <a:gd name="T26" fmla="*/ 232 w 243"/>
                  <a:gd name="T27" fmla="*/ 265 h 324"/>
                  <a:gd name="T28" fmla="*/ 232 w 243"/>
                  <a:gd name="T29" fmla="*/ 262 h 324"/>
                  <a:gd name="T30" fmla="*/ 243 w 243"/>
                  <a:gd name="T31" fmla="*/ 168 h 324"/>
                  <a:gd name="T32" fmla="*/ 210 w 243"/>
                  <a:gd name="T3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324">
                    <a:moveTo>
                      <a:pt x="210" y="143"/>
                    </a:moveTo>
                    <a:cubicBezTo>
                      <a:pt x="131" y="135"/>
                      <a:pt x="131" y="135"/>
                      <a:pt x="131" y="135"/>
                    </a:cubicBezTo>
                    <a:cubicBezTo>
                      <a:pt x="131" y="97"/>
                      <a:pt x="128" y="59"/>
                      <a:pt x="128" y="21"/>
                    </a:cubicBezTo>
                    <a:cubicBezTo>
                      <a:pt x="128" y="10"/>
                      <a:pt x="118" y="0"/>
                      <a:pt x="107" y="0"/>
                    </a:cubicBezTo>
                    <a:cubicBezTo>
                      <a:pt x="95" y="0"/>
                      <a:pt x="91" y="10"/>
                      <a:pt x="91" y="21"/>
                    </a:cubicBezTo>
                    <a:cubicBezTo>
                      <a:pt x="91" y="71"/>
                      <a:pt x="91" y="131"/>
                      <a:pt x="91" y="181"/>
                    </a:cubicBezTo>
                    <a:cubicBezTo>
                      <a:pt x="85" y="172"/>
                      <a:pt x="60" y="146"/>
                      <a:pt x="60" y="146"/>
                    </a:cubicBezTo>
                    <a:cubicBezTo>
                      <a:pt x="52" y="135"/>
                      <a:pt x="24" y="128"/>
                      <a:pt x="11" y="136"/>
                    </a:cubicBezTo>
                    <a:cubicBezTo>
                      <a:pt x="0" y="142"/>
                      <a:pt x="20" y="158"/>
                      <a:pt x="28" y="169"/>
                    </a:cubicBezTo>
                    <a:cubicBezTo>
                      <a:pt x="58" y="209"/>
                      <a:pt x="81" y="249"/>
                      <a:pt x="111" y="289"/>
                    </a:cubicBezTo>
                    <a:cubicBezTo>
                      <a:pt x="115" y="296"/>
                      <a:pt x="119" y="302"/>
                      <a:pt x="125" y="307"/>
                    </a:cubicBezTo>
                    <a:cubicBezTo>
                      <a:pt x="128" y="310"/>
                      <a:pt x="131" y="313"/>
                      <a:pt x="134" y="314"/>
                    </a:cubicBezTo>
                    <a:cubicBezTo>
                      <a:pt x="144" y="320"/>
                      <a:pt x="156" y="324"/>
                      <a:pt x="168" y="324"/>
                    </a:cubicBezTo>
                    <a:cubicBezTo>
                      <a:pt x="202" y="324"/>
                      <a:pt x="229" y="298"/>
                      <a:pt x="232" y="265"/>
                    </a:cubicBezTo>
                    <a:cubicBezTo>
                      <a:pt x="232" y="264"/>
                      <a:pt x="232" y="263"/>
                      <a:pt x="232" y="262"/>
                    </a:cubicBezTo>
                    <a:cubicBezTo>
                      <a:pt x="243" y="168"/>
                      <a:pt x="243" y="168"/>
                      <a:pt x="243" y="168"/>
                    </a:cubicBezTo>
                    <a:cubicBezTo>
                      <a:pt x="243" y="156"/>
                      <a:pt x="222" y="143"/>
                      <a:pt x="210" y="14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endParaRPr lang="en-US">
                  <a:solidFill>
                    <a:srgbClr val="FFFFFF"/>
                  </a:solidFill>
                </a:endParaRPr>
              </a:p>
            </p:txBody>
          </p:sp>
          <p:sp>
            <p:nvSpPr>
              <p:cNvPr id="22" name="Freeform 353"/>
              <p:cNvSpPr>
                <a:spLocks/>
              </p:cNvSpPr>
              <p:nvPr/>
            </p:nvSpPr>
            <p:spPr bwMode="auto">
              <a:xfrm>
                <a:off x="-3419" y="469"/>
                <a:ext cx="459" cy="451"/>
              </a:xfrm>
              <a:custGeom>
                <a:avLst/>
                <a:gdLst>
                  <a:gd name="T0" fmla="*/ 72 w 194"/>
                  <a:gd name="T1" fmla="*/ 191 h 191"/>
                  <a:gd name="T2" fmla="*/ 72 w 194"/>
                  <a:gd name="T3" fmla="*/ 168 h 191"/>
                  <a:gd name="T4" fmla="*/ 22 w 194"/>
                  <a:gd name="T5" fmla="*/ 97 h 191"/>
                  <a:gd name="T6" fmla="*/ 97 w 194"/>
                  <a:gd name="T7" fmla="*/ 22 h 191"/>
                  <a:gd name="T8" fmla="*/ 173 w 194"/>
                  <a:gd name="T9" fmla="*/ 97 h 191"/>
                  <a:gd name="T10" fmla="*/ 136 w 194"/>
                  <a:gd name="T11" fmla="*/ 162 h 191"/>
                  <a:gd name="T12" fmla="*/ 137 w 194"/>
                  <a:gd name="T13" fmla="*/ 186 h 191"/>
                  <a:gd name="T14" fmla="*/ 194 w 194"/>
                  <a:gd name="T15" fmla="*/ 97 h 191"/>
                  <a:gd name="T16" fmla="*/ 97 w 194"/>
                  <a:gd name="T17" fmla="*/ 0 h 191"/>
                  <a:gd name="T18" fmla="*/ 0 w 194"/>
                  <a:gd name="T19" fmla="*/ 97 h 191"/>
                  <a:gd name="T20" fmla="*/ 72 w 194"/>
                  <a:gd name="T2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91">
                    <a:moveTo>
                      <a:pt x="72" y="191"/>
                    </a:moveTo>
                    <a:cubicBezTo>
                      <a:pt x="72" y="183"/>
                      <a:pt x="72" y="176"/>
                      <a:pt x="72" y="168"/>
                    </a:cubicBezTo>
                    <a:cubicBezTo>
                      <a:pt x="43" y="158"/>
                      <a:pt x="22" y="130"/>
                      <a:pt x="22" y="97"/>
                    </a:cubicBezTo>
                    <a:cubicBezTo>
                      <a:pt x="22" y="55"/>
                      <a:pt x="56" y="22"/>
                      <a:pt x="97" y="22"/>
                    </a:cubicBezTo>
                    <a:cubicBezTo>
                      <a:pt x="139" y="22"/>
                      <a:pt x="173" y="55"/>
                      <a:pt x="173" y="97"/>
                    </a:cubicBezTo>
                    <a:cubicBezTo>
                      <a:pt x="173" y="125"/>
                      <a:pt x="158" y="149"/>
                      <a:pt x="136" y="162"/>
                    </a:cubicBezTo>
                    <a:cubicBezTo>
                      <a:pt x="136" y="170"/>
                      <a:pt x="136" y="178"/>
                      <a:pt x="137" y="186"/>
                    </a:cubicBezTo>
                    <a:cubicBezTo>
                      <a:pt x="171" y="171"/>
                      <a:pt x="194" y="137"/>
                      <a:pt x="194" y="97"/>
                    </a:cubicBezTo>
                    <a:cubicBezTo>
                      <a:pt x="194" y="44"/>
                      <a:pt x="151" y="0"/>
                      <a:pt x="97" y="0"/>
                    </a:cubicBezTo>
                    <a:cubicBezTo>
                      <a:pt x="44" y="0"/>
                      <a:pt x="0" y="44"/>
                      <a:pt x="0" y="97"/>
                    </a:cubicBezTo>
                    <a:cubicBezTo>
                      <a:pt x="0" y="142"/>
                      <a:pt x="31" y="179"/>
                      <a:pt x="72" y="19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endParaRPr lang="en-US">
                  <a:solidFill>
                    <a:srgbClr val="FFFFFF"/>
                  </a:solidFill>
                </a:endParaRPr>
              </a:p>
            </p:txBody>
          </p:sp>
        </p:grpSp>
      </p:grpSp>
      <p:grpSp>
        <p:nvGrpSpPr>
          <p:cNvPr id="4" name="Group 3"/>
          <p:cNvGrpSpPr/>
          <p:nvPr/>
        </p:nvGrpSpPr>
        <p:grpSpPr>
          <a:xfrm>
            <a:off x="3229875" y="1320292"/>
            <a:ext cx="2686465" cy="1599932"/>
            <a:chOff x="4305377" y="1760389"/>
            <a:chExt cx="3581020" cy="2133243"/>
          </a:xfrm>
        </p:grpSpPr>
        <p:sp>
          <p:nvSpPr>
            <p:cNvPr id="13" name="Rectangle 12"/>
            <p:cNvSpPr/>
            <p:nvPr/>
          </p:nvSpPr>
          <p:spPr bwMode="auto">
            <a:xfrm>
              <a:off x="4305377" y="1760389"/>
              <a:ext cx="3581020" cy="2133243"/>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7432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2700" spc="-75" dirty="0">
                  <a:gradFill>
                    <a:gsLst>
                      <a:gs pos="0">
                        <a:srgbClr val="FFFFFF"/>
                      </a:gs>
                      <a:gs pos="100000">
                        <a:srgbClr val="FFFFFF"/>
                      </a:gs>
                    </a:gsLst>
                    <a:lin ang="5400000" scaled="0"/>
                  </a:gradFill>
                  <a:latin typeface="Segoe UI Light"/>
                </a:rPr>
                <a:t>Connected</a:t>
              </a:r>
            </a:p>
          </p:txBody>
        </p:sp>
        <p:sp>
          <p:nvSpPr>
            <p:cNvPr id="23" name="Freeform 89"/>
            <p:cNvSpPr>
              <a:spLocks noEditPoints="1"/>
            </p:cNvSpPr>
            <p:nvPr/>
          </p:nvSpPr>
          <p:spPr bwMode="black">
            <a:xfrm>
              <a:off x="6635358" y="3042823"/>
              <a:ext cx="952447" cy="613114"/>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0" tIns="274320" rIns="82305" bIns="41153" numCol="1" anchor="t" anchorCtr="0" compatLnSpc="1">
              <a:prstTxWarp prst="textNoShape">
                <a:avLst/>
              </a:prstTxWarp>
            </a:bodyPr>
            <a:lstStyle/>
            <a:p>
              <a:pPr algn="ctr"/>
              <a:endParaRPr lang="en-US" sz="1200">
                <a:gradFill>
                  <a:gsLst>
                    <a:gs pos="0">
                      <a:srgbClr val="FFFFFF"/>
                    </a:gs>
                    <a:gs pos="100000">
                      <a:srgbClr val="FFFFFF"/>
                    </a:gs>
                  </a:gsLst>
                  <a:lin ang="5400000" scaled="0"/>
                </a:gradFill>
              </a:endParaRPr>
            </a:p>
          </p:txBody>
        </p:sp>
      </p:grpSp>
      <p:grpSp>
        <p:nvGrpSpPr>
          <p:cNvPr id="5" name="Group 4"/>
          <p:cNvGrpSpPr/>
          <p:nvPr/>
        </p:nvGrpSpPr>
        <p:grpSpPr>
          <a:xfrm>
            <a:off x="6066909" y="1323976"/>
            <a:ext cx="2686465" cy="1599932"/>
            <a:chOff x="8087105" y="1765300"/>
            <a:chExt cx="3581020" cy="2133243"/>
          </a:xfrm>
        </p:grpSpPr>
        <p:sp>
          <p:nvSpPr>
            <p:cNvPr id="14" name="Rectangle 13"/>
            <p:cNvSpPr/>
            <p:nvPr/>
          </p:nvSpPr>
          <p:spPr bwMode="auto">
            <a:xfrm>
              <a:off x="8087105" y="1765300"/>
              <a:ext cx="3581020" cy="2133243"/>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7432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2700" spc="-75" dirty="0" err="1">
                  <a:gradFill>
                    <a:gsLst>
                      <a:gs pos="0">
                        <a:srgbClr val="FFFFFF"/>
                      </a:gs>
                      <a:gs pos="100000">
                        <a:srgbClr val="FFFFFF"/>
                      </a:gs>
                    </a:gsLst>
                    <a:lin ang="5400000" scaled="0"/>
                  </a:gradFill>
                  <a:latin typeface="Segoe UI Light"/>
                </a:rPr>
                <a:t>Consumerization</a:t>
              </a:r>
              <a:r>
                <a:rPr lang="en-US" sz="2700" spc="-75" dirty="0">
                  <a:gradFill>
                    <a:gsLst>
                      <a:gs pos="0">
                        <a:srgbClr val="FFFFFF"/>
                      </a:gs>
                      <a:gs pos="100000">
                        <a:srgbClr val="FFFFFF"/>
                      </a:gs>
                    </a:gsLst>
                    <a:lin ang="5400000" scaled="0"/>
                  </a:gradFill>
                  <a:latin typeface="Segoe UI Light"/>
                </a:rPr>
                <a:t> of IT</a:t>
              </a:r>
            </a:p>
          </p:txBody>
        </p:sp>
        <p:sp>
          <p:nvSpPr>
            <p:cNvPr id="27" name="Freeform 6"/>
            <p:cNvSpPr>
              <a:spLocks noEditPoints="1"/>
            </p:cNvSpPr>
            <p:nvPr/>
          </p:nvSpPr>
          <p:spPr bwMode="auto">
            <a:xfrm>
              <a:off x="9237294" y="3127869"/>
              <a:ext cx="2132239" cy="523157"/>
            </a:xfrm>
            <a:custGeom>
              <a:avLst/>
              <a:gdLst>
                <a:gd name="T0" fmla="*/ 987 w 1066"/>
                <a:gd name="T1" fmla="*/ 171 h 261"/>
                <a:gd name="T2" fmla="*/ 1020 w 1066"/>
                <a:gd name="T3" fmla="*/ 32 h 261"/>
                <a:gd name="T4" fmla="*/ 831 w 1066"/>
                <a:gd name="T5" fmla="*/ 0 h 261"/>
                <a:gd name="T6" fmla="*/ 799 w 1066"/>
                <a:gd name="T7" fmla="*/ 138 h 261"/>
                <a:gd name="T8" fmla="*/ 818 w 1066"/>
                <a:gd name="T9" fmla="*/ 32 h 261"/>
                <a:gd name="T10" fmla="*/ 987 w 1066"/>
                <a:gd name="T11" fmla="*/ 19 h 261"/>
                <a:gd name="T12" fmla="*/ 1000 w 1066"/>
                <a:gd name="T13" fmla="*/ 138 h 261"/>
                <a:gd name="T14" fmla="*/ 831 w 1066"/>
                <a:gd name="T15" fmla="*/ 152 h 261"/>
                <a:gd name="T16" fmla="*/ 818 w 1066"/>
                <a:gd name="T17" fmla="*/ 32 h 261"/>
                <a:gd name="T18" fmla="*/ 760 w 1066"/>
                <a:gd name="T19" fmla="*/ 261 h 261"/>
                <a:gd name="T20" fmla="*/ 1066 w 1066"/>
                <a:gd name="T21" fmla="*/ 253 h 261"/>
                <a:gd name="T22" fmla="*/ 1061 w 1066"/>
                <a:gd name="T23" fmla="*/ 235 h 261"/>
                <a:gd name="T24" fmla="*/ 1008 w 1066"/>
                <a:gd name="T25" fmla="*/ 183 h 261"/>
                <a:gd name="T26" fmla="*/ 796 w 1066"/>
                <a:gd name="T27" fmla="*/ 189 h 261"/>
                <a:gd name="T28" fmla="*/ 752 w 1066"/>
                <a:gd name="T29" fmla="*/ 249 h 261"/>
                <a:gd name="T30" fmla="*/ 760 w 1066"/>
                <a:gd name="T31" fmla="*/ 261 h 261"/>
                <a:gd name="T32" fmla="*/ 424 w 1066"/>
                <a:gd name="T33" fmla="*/ 138 h 261"/>
                <a:gd name="T34" fmla="*/ 613 w 1066"/>
                <a:gd name="T35" fmla="*/ 171 h 261"/>
                <a:gd name="T36" fmla="*/ 645 w 1066"/>
                <a:gd name="T37" fmla="*/ 32 h 261"/>
                <a:gd name="T38" fmla="*/ 458 w 1066"/>
                <a:gd name="T39" fmla="*/ 0 h 261"/>
                <a:gd name="T40" fmla="*/ 626 w 1066"/>
                <a:gd name="T41" fmla="*/ 32 h 261"/>
                <a:gd name="T42" fmla="*/ 613 w 1066"/>
                <a:gd name="T43" fmla="*/ 152 h 261"/>
                <a:gd name="T44" fmla="*/ 444 w 1066"/>
                <a:gd name="T45" fmla="*/ 138 h 261"/>
                <a:gd name="T46" fmla="*/ 458 w 1066"/>
                <a:gd name="T47" fmla="*/ 19 h 261"/>
                <a:gd name="T48" fmla="*/ 626 w 1066"/>
                <a:gd name="T49" fmla="*/ 32 h 261"/>
                <a:gd name="T50" fmla="*/ 648 w 1066"/>
                <a:gd name="T51" fmla="*/ 189 h 261"/>
                <a:gd name="T52" fmla="*/ 436 w 1066"/>
                <a:gd name="T53" fmla="*/ 183 h 261"/>
                <a:gd name="T54" fmla="*/ 383 w 1066"/>
                <a:gd name="T55" fmla="*/ 235 h 261"/>
                <a:gd name="T56" fmla="*/ 378 w 1066"/>
                <a:gd name="T57" fmla="*/ 253 h 261"/>
                <a:gd name="T58" fmla="*/ 684 w 1066"/>
                <a:gd name="T59" fmla="*/ 261 h 261"/>
                <a:gd name="T60" fmla="*/ 692 w 1066"/>
                <a:gd name="T61" fmla="*/ 249 h 261"/>
                <a:gd name="T62" fmla="*/ 79 w 1066"/>
                <a:gd name="T63" fmla="*/ 171 h 261"/>
                <a:gd name="T64" fmla="*/ 268 w 1066"/>
                <a:gd name="T65" fmla="*/ 138 h 261"/>
                <a:gd name="T66" fmla="*/ 235 w 1066"/>
                <a:gd name="T67" fmla="*/ 0 h 261"/>
                <a:gd name="T68" fmla="*/ 47 w 1066"/>
                <a:gd name="T69" fmla="*/ 32 h 261"/>
                <a:gd name="T70" fmla="*/ 79 w 1066"/>
                <a:gd name="T71" fmla="*/ 171 h 261"/>
                <a:gd name="T72" fmla="*/ 79 w 1066"/>
                <a:gd name="T73" fmla="*/ 19 h 261"/>
                <a:gd name="T74" fmla="*/ 248 w 1066"/>
                <a:gd name="T75" fmla="*/ 32 h 261"/>
                <a:gd name="T76" fmla="*/ 235 w 1066"/>
                <a:gd name="T77" fmla="*/ 152 h 261"/>
                <a:gd name="T78" fmla="*/ 66 w 1066"/>
                <a:gd name="T79" fmla="*/ 138 h 261"/>
                <a:gd name="T80" fmla="*/ 66 w 1066"/>
                <a:gd name="T81" fmla="*/ 32 h 261"/>
                <a:gd name="T82" fmla="*/ 256 w 1066"/>
                <a:gd name="T83" fmla="*/ 183 h 261"/>
                <a:gd name="T84" fmla="*/ 45 w 1066"/>
                <a:gd name="T85" fmla="*/ 189 h 261"/>
                <a:gd name="T86" fmla="*/ 0 w 1066"/>
                <a:gd name="T87" fmla="*/ 249 h 261"/>
                <a:gd name="T88" fmla="*/ 8 w 1066"/>
                <a:gd name="T89" fmla="*/ 261 h 261"/>
                <a:gd name="T90" fmla="*/ 314 w 1066"/>
                <a:gd name="T91" fmla="*/ 253 h 261"/>
                <a:gd name="T92" fmla="*/ 309 w 1066"/>
                <a:gd name="T93" fmla="*/ 235 h 261"/>
                <a:gd name="T94" fmla="*/ 270 w 1066"/>
                <a:gd name="T95" fmla="*/ 18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66" h="261">
                  <a:moveTo>
                    <a:pt x="831" y="171"/>
                  </a:moveTo>
                  <a:cubicBezTo>
                    <a:pt x="987" y="171"/>
                    <a:pt x="987" y="171"/>
                    <a:pt x="987" y="171"/>
                  </a:cubicBezTo>
                  <a:cubicBezTo>
                    <a:pt x="1005" y="171"/>
                    <a:pt x="1020" y="157"/>
                    <a:pt x="1020" y="138"/>
                  </a:cubicBezTo>
                  <a:cubicBezTo>
                    <a:pt x="1020" y="32"/>
                    <a:pt x="1020" y="32"/>
                    <a:pt x="1020" y="32"/>
                  </a:cubicBezTo>
                  <a:cubicBezTo>
                    <a:pt x="1020" y="14"/>
                    <a:pt x="1005" y="0"/>
                    <a:pt x="987" y="0"/>
                  </a:cubicBezTo>
                  <a:cubicBezTo>
                    <a:pt x="831" y="0"/>
                    <a:pt x="831" y="0"/>
                    <a:pt x="831" y="0"/>
                  </a:cubicBezTo>
                  <a:cubicBezTo>
                    <a:pt x="813" y="0"/>
                    <a:pt x="799" y="14"/>
                    <a:pt x="799" y="32"/>
                  </a:cubicBezTo>
                  <a:cubicBezTo>
                    <a:pt x="799" y="138"/>
                    <a:pt x="799" y="138"/>
                    <a:pt x="799" y="138"/>
                  </a:cubicBezTo>
                  <a:cubicBezTo>
                    <a:pt x="799" y="157"/>
                    <a:pt x="813" y="171"/>
                    <a:pt x="831" y="171"/>
                  </a:cubicBezTo>
                  <a:close/>
                  <a:moveTo>
                    <a:pt x="818" y="32"/>
                  </a:moveTo>
                  <a:cubicBezTo>
                    <a:pt x="818" y="25"/>
                    <a:pt x="824" y="19"/>
                    <a:pt x="831" y="19"/>
                  </a:cubicBezTo>
                  <a:cubicBezTo>
                    <a:pt x="987" y="19"/>
                    <a:pt x="987" y="19"/>
                    <a:pt x="987" y="19"/>
                  </a:cubicBezTo>
                  <a:cubicBezTo>
                    <a:pt x="994" y="19"/>
                    <a:pt x="1000" y="25"/>
                    <a:pt x="1000" y="32"/>
                  </a:cubicBezTo>
                  <a:cubicBezTo>
                    <a:pt x="1000" y="138"/>
                    <a:pt x="1000" y="138"/>
                    <a:pt x="1000" y="138"/>
                  </a:cubicBezTo>
                  <a:cubicBezTo>
                    <a:pt x="1000" y="146"/>
                    <a:pt x="994" y="152"/>
                    <a:pt x="987" y="152"/>
                  </a:cubicBezTo>
                  <a:cubicBezTo>
                    <a:pt x="831" y="152"/>
                    <a:pt x="831" y="152"/>
                    <a:pt x="831" y="152"/>
                  </a:cubicBezTo>
                  <a:cubicBezTo>
                    <a:pt x="824" y="152"/>
                    <a:pt x="818" y="146"/>
                    <a:pt x="818" y="138"/>
                  </a:cubicBezTo>
                  <a:cubicBezTo>
                    <a:pt x="818" y="32"/>
                    <a:pt x="818" y="32"/>
                    <a:pt x="818" y="32"/>
                  </a:cubicBezTo>
                  <a:cubicBezTo>
                    <a:pt x="818" y="32"/>
                    <a:pt x="818" y="32"/>
                    <a:pt x="818" y="32"/>
                  </a:cubicBezTo>
                  <a:close/>
                  <a:moveTo>
                    <a:pt x="760" y="261"/>
                  </a:moveTo>
                  <a:cubicBezTo>
                    <a:pt x="1058" y="261"/>
                    <a:pt x="1058" y="261"/>
                    <a:pt x="1058" y="261"/>
                  </a:cubicBezTo>
                  <a:cubicBezTo>
                    <a:pt x="1063" y="261"/>
                    <a:pt x="1066" y="258"/>
                    <a:pt x="1066" y="253"/>
                  </a:cubicBezTo>
                  <a:cubicBezTo>
                    <a:pt x="1066" y="249"/>
                    <a:pt x="1066" y="249"/>
                    <a:pt x="1066" y="249"/>
                  </a:cubicBezTo>
                  <a:cubicBezTo>
                    <a:pt x="1066" y="245"/>
                    <a:pt x="1064" y="238"/>
                    <a:pt x="1061" y="235"/>
                  </a:cubicBezTo>
                  <a:cubicBezTo>
                    <a:pt x="1021" y="189"/>
                    <a:pt x="1021" y="189"/>
                    <a:pt x="1021" y="189"/>
                  </a:cubicBezTo>
                  <a:cubicBezTo>
                    <a:pt x="1019" y="185"/>
                    <a:pt x="1013" y="183"/>
                    <a:pt x="1008" y="183"/>
                  </a:cubicBezTo>
                  <a:cubicBezTo>
                    <a:pt x="810" y="183"/>
                    <a:pt x="810" y="183"/>
                    <a:pt x="810" y="183"/>
                  </a:cubicBezTo>
                  <a:cubicBezTo>
                    <a:pt x="806" y="183"/>
                    <a:pt x="800" y="185"/>
                    <a:pt x="796" y="189"/>
                  </a:cubicBezTo>
                  <a:cubicBezTo>
                    <a:pt x="757" y="235"/>
                    <a:pt x="757" y="235"/>
                    <a:pt x="757" y="235"/>
                  </a:cubicBezTo>
                  <a:cubicBezTo>
                    <a:pt x="754" y="238"/>
                    <a:pt x="752" y="245"/>
                    <a:pt x="752" y="249"/>
                  </a:cubicBezTo>
                  <a:cubicBezTo>
                    <a:pt x="752" y="253"/>
                    <a:pt x="752" y="253"/>
                    <a:pt x="752" y="253"/>
                  </a:cubicBezTo>
                  <a:cubicBezTo>
                    <a:pt x="752" y="258"/>
                    <a:pt x="756" y="261"/>
                    <a:pt x="760" y="261"/>
                  </a:cubicBezTo>
                  <a:close/>
                  <a:moveTo>
                    <a:pt x="424" y="32"/>
                  </a:moveTo>
                  <a:cubicBezTo>
                    <a:pt x="424" y="138"/>
                    <a:pt x="424" y="138"/>
                    <a:pt x="424" y="138"/>
                  </a:cubicBezTo>
                  <a:cubicBezTo>
                    <a:pt x="424" y="157"/>
                    <a:pt x="439" y="171"/>
                    <a:pt x="458" y="171"/>
                  </a:cubicBezTo>
                  <a:cubicBezTo>
                    <a:pt x="613" y="171"/>
                    <a:pt x="613" y="171"/>
                    <a:pt x="613" y="171"/>
                  </a:cubicBezTo>
                  <a:cubicBezTo>
                    <a:pt x="631" y="171"/>
                    <a:pt x="645" y="157"/>
                    <a:pt x="645" y="138"/>
                  </a:cubicBezTo>
                  <a:cubicBezTo>
                    <a:pt x="645" y="32"/>
                    <a:pt x="645" y="32"/>
                    <a:pt x="645" y="32"/>
                  </a:cubicBezTo>
                  <a:cubicBezTo>
                    <a:pt x="645" y="14"/>
                    <a:pt x="631" y="0"/>
                    <a:pt x="613" y="0"/>
                  </a:cubicBezTo>
                  <a:cubicBezTo>
                    <a:pt x="458" y="0"/>
                    <a:pt x="458" y="0"/>
                    <a:pt x="458" y="0"/>
                  </a:cubicBezTo>
                  <a:cubicBezTo>
                    <a:pt x="439" y="0"/>
                    <a:pt x="424" y="14"/>
                    <a:pt x="424" y="32"/>
                  </a:cubicBezTo>
                  <a:close/>
                  <a:moveTo>
                    <a:pt x="626" y="32"/>
                  </a:moveTo>
                  <a:cubicBezTo>
                    <a:pt x="626" y="138"/>
                    <a:pt x="626" y="138"/>
                    <a:pt x="626" y="138"/>
                  </a:cubicBezTo>
                  <a:cubicBezTo>
                    <a:pt x="626" y="146"/>
                    <a:pt x="620" y="152"/>
                    <a:pt x="613" y="152"/>
                  </a:cubicBezTo>
                  <a:cubicBezTo>
                    <a:pt x="458" y="152"/>
                    <a:pt x="458" y="152"/>
                    <a:pt x="458" y="152"/>
                  </a:cubicBezTo>
                  <a:cubicBezTo>
                    <a:pt x="450" y="152"/>
                    <a:pt x="444" y="146"/>
                    <a:pt x="444" y="138"/>
                  </a:cubicBezTo>
                  <a:cubicBezTo>
                    <a:pt x="444" y="32"/>
                    <a:pt x="444" y="32"/>
                    <a:pt x="444" y="32"/>
                  </a:cubicBezTo>
                  <a:cubicBezTo>
                    <a:pt x="444" y="25"/>
                    <a:pt x="450" y="19"/>
                    <a:pt x="458" y="19"/>
                  </a:cubicBezTo>
                  <a:cubicBezTo>
                    <a:pt x="613" y="19"/>
                    <a:pt x="613" y="19"/>
                    <a:pt x="613" y="19"/>
                  </a:cubicBezTo>
                  <a:cubicBezTo>
                    <a:pt x="620" y="19"/>
                    <a:pt x="626" y="25"/>
                    <a:pt x="626" y="32"/>
                  </a:cubicBezTo>
                  <a:close/>
                  <a:moveTo>
                    <a:pt x="687" y="235"/>
                  </a:moveTo>
                  <a:cubicBezTo>
                    <a:pt x="648" y="189"/>
                    <a:pt x="648" y="189"/>
                    <a:pt x="648" y="189"/>
                  </a:cubicBezTo>
                  <a:cubicBezTo>
                    <a:pt x="645" y="185"/>
                    <a:pt x="639" y="183"/>
                    <a:pt x="634" y="183"/>
                  </a:cubicBezTo>
                  <a:cubicBezTo>
                    <a:pt x="436" y="183"/>
                    <a:pt x="436" y="183"/>
                    <a:pt x="436" y="183"/>
                  </a:cubicBezTo>
                  <a:cubicBezTo>
                    <a:pt x="432" y="183"/>
                    <a:pt x="425" y="185"/>
                    <a:pt x="423" y="189"/>
                  </a:cubicBezTo>
                  <a:cubicBezTo>
                    <a:pt x="383" y="235"/>
                    <a:pt x="383" y="235"/>
                    <a:pt x="383" y="235"/>
                  </a:cubicBezTo>
                  <a:cubicBezTo>
                    <a:pt x="380" y="238"/>
                    <a:pt x="378" y="245"/>
                    <a:pt x="378" y="249"/>
                  </a:cubicBezTo>
                  <a:cubicBezTo>
                    <a:pt x="378" y="253"/>
                    <a:pt x="378" y="253"/>
                    <a:pt x="378" y="253"/>
                  </a:cubicBezTo>
                  <a:cubicBezTo>
                    <a:pt x="378" y="258"/>
                    <a:pt x="382" y="261"/>
                    <a:pt x="386" y="261"/>
                  </a:cubicBezTo>
                  <a:cubicBezTo>
                    <a:pt x="684" y="261"/>
                    <a:pt x="684" y="261"/>
                    <a:pt x="684" y="261"/>
                  </a:cubicBezTo>
                  <a:cubicBezTo>
                    <a:pt x="689" y="261"/>
                    <a:pt x="692" y="258"/>
                    <a:pt x="692" y="253"/>
                  </a:cubicBezTo>
                  <a:cubicBezTo>
                    <a:pt x="692" y="249"/>
                    <a:pt x="692" y="249"/>
                    <a:pt x="692" y="249"/>
                  </a:cubicBezTo>
                  <a:cubicBezTo>
                    <a:pt x="692" y="245"/>
                    <a:pt x="690" y="238"/>
                    <a:pt x="687" y="235"/>
                  </a:cubicBezTo>
                  <a:close/>
                  <a:moveTo>
                    <a:pt x="79" y="171"/>
                  </a:moveTo>
                  <a:cubicBezTo>
                    <a:pt x="235" y="171"/>
                    <a:pt x="235" y="171"/>
                    <a:pt x="235" y="171"/>
                  </a:cubicBezTo>
                  <a:cubicBezTo>
                    <a:pt x="253" y="171"/>
                    <a:pt x="268" y="157"/>
                    <a:pt x="268" y="138"/>
                  </a:cubicBezTo>
                  <a:cubicBezTo>
                    <a:pt x="268" y="32"/>
                    <a:pt x="268" y="32"/>
                    <a:pt x="268" y="32"/>
                  </a:cubicBezTo>
                  <a:cubicBezTo>
                    <a:pt x="268" y="14"/>
                    <a:pt x="253" y="0"/>
                    <a:pt x="235" y="0"/>
                  </a:cubicBezTo>
                  <a:cubicBezTo>
                    <a:pt x="79" y="0"/>
                    <a:pt x="79" y="0"/>
                    <a:pt x="79" y="0"/>
                  </a:cubicBezTo>
                  <a:cubicBezTo>
                    <a:pt x="61" y="0"/>
                    <a:pt x="47" y="14"/>
                    <a:pt x="47" y="32"/>
                  </a:cubicBezTo>
                  <a:cubicBezTo>
                    <a:pt x="47" y="138"/>
                    <a:pt x="47" y="138"/>
                    <a:pt x="47" y="138"/>
                  </a:cubicBezTo>
                  <a:cubicBezTo>
                    <a:pt x="47" y="157"/>
                    <a:pt x="61" y="171"/>
                    <a:pt x="79" y="171"/>
                  </a:cubicBezTo>
                  <a:close/>
                  <a:moveTo>
                    <a:pt x="66" y="32"/>
                  </a:moveTo>
                  <a:cubicBezTo>
                    <a:pt x="66" y="25"/>
                    <a:pt x="72" y="19"/>
                    <a:pt x="79" y="19"/>
                  </a:cubicBezTo>
                  <a:cubicBezTo>
                    <a:pt x="235" y="19"/>
                    <a:pt x="235" y="19"/>
                    <a:pt x="235" y="19"/>
                  </a:cubicBezTo>
                  <a:cubicBezTo>
                    <a:pt x="242" y="19"/>
                    <a:pt x="248" y="25"/>
                    <a:pt x="248" y="32"/>
                  </a:cubicBezTo>
                  <a:cubicBezTo>
                    <a:pt x="248" y="138"/>
                    <a:pt x="248" y="138"/>
                    <a:pt x="248" y="138"/>
                  </a:cubicBezTo>
                  <a:cubicBezTo>
                    <a:pt x="248" y="146"/>
                    <a:pt x="242" y="152"/>
                    <a:pt x="235" y="152"/>
                  </a:cubicBezTo>
                  <a:cubicBezTo>
                    <a:pt x="79" y="152"/>
                    <a:pt x="79" y="152"/>
                    <a:pt x="79" y="152"/>
                  </a:cubicBezTo>
                  <a:cubicBezTo>
                    <a:pt x="72" y="152"/>
                    <a:pt x="66" y="146"/>
                    <a:pt x="66" y="138"/>
                  </a:cubicBezTo>
                  <a:cubicBezTo>
                    <a:pt x="66" y="32"/>
                    <a:pt x="66" y="32"/>
                    <a:pt x="66" y="32"/>
                  </a:cubicBezTo>
                  <a:cubicBezTo>
                    <a:pt x="66" y="32"/>
                    <a:pt x="66" y="32"/>
                    <a:pt x="66" y="32"/>
                  </a:cubicBezTo>
                  <a:close/>
                  <a:moveTo>
                    <a:pt x="270" y="189"/>
                  </a:moveTo>
                  <a:cubicBezTo>
                    <a:pt x="267" y="185"/>
                    <a:pt x="261" y="183"/>
                    <a:pt x="256" y="183"/>
                  </a:cubicBezTo>
                  <a:cubicBezTo>
                    <a:pt x="58" y="183"/>
                    <a:pt x="58" y="183"/>
                    <a:pt x="58" y="183"/>
                  </a:cubicBezTo>
                  <a:cubicBezTo>
                    <a:pt x="54" y="183"/>
                    <a:pt x="48" y="185"/>
                    <a:pt x="45" y="189"/>
                  </a:cubicBezTo>
                  <a:cubicBezTo>
                    <a:pt x="5" y="235"/>
                    <a:pt x="5" y="235"/>
                    <a:pt x="5" y="235"/>
                  </a:cubicBezTo>
                  <a:cubicBezTo>
                    <a:pt x="2" y="238"/>
                    <a:pt x="0" y="245"/>
                    <a:pt x="0" y="249"/>
                  </a:cubicBezTo>
                  <a:cubicBezTo>
                    <a:pt x="0" y="253"/>
                    <a:pt x="0" y="253"/>
                    <a:pt x="0" y="253"/>
                  </a:cubicBezTo>
                  <a:cubicBezTo>
                    <a:pt x="0" y="258"/>
                    <a:pt x="4" y="261"/>
                    <a:pt x="8" y="261"/>
                  </a:cubicBezTo>
                  <a:cubicBezTo>
                    <a:pt x="306" y="261"/>
                    <a:pt x="306" y="261"/>
                    <a:pt x="306" y="261"/>
                  </a:cubicBezTo>
                  <a:cubicBezTo>
                    <a:pt x="311" y="261"/>
                    <a:pt x="314" y="258"/>
                    <a:pt x="314" y="253"/>
                  </a:cubicBezTo>
                  <a:cubicBezTo>
                    <a:pt x="314" y="249"/>
                    <a:pt x="314" y="249"/>
                    <a:pt x="314" y="249"/>
                  </a:cubicBezTo>
                  <a:cubicBezTo>
                    <a:pt x="314" y="245"/>
                    <a:pt x="312" y="238"/>
                    <a:pt x="309" y="235"/>
                  </a:cubicBezTo>
                  <a:cubicBezTo>
                    <a:pt x="270" y="189"/>
                    <a:pt x="270" y="189"/>
                    <a:pt x="270" y="189"/>
                  </a:cubicBezTo>
                  <a:cubicBezTo>
                    <a:pt x="270" y="189"/>
                    <a:pt x="270" y="189"/>
                    <a:pt x="270" y="189"/>
                  </a:cubicBezTo>
                  <a:close/>
                </a:path>
              </a:pathLst>
            </a:custGeom>
            <a:solidFill>
              <a:srgbClr val="FFFFFF"/>
            </a:solidFill>
            <a:ln>
              <a:noFill/>
            </a:ln>
          </p:spPr>
          <p:txBody>
            <a:bodyPr vert="horz" wrap="square" lIns="0" tIns="274320" rIns="82305" bIns="41153" numCol="1" anchor="t" anchorCtr="0" compatLnSpc="1">
              <a:prstTxWarp prst="textNoShape">
                <a:avLst/>
              </a:prstTxWarp>
            </a:bodyPr>
            <a:lstStyle/>
            <a:p>
              <a:pPr algn="ctr"/>
              <a:endParaRPr lang="en-US" sz="1200">
                <a:gradFill>
                  <a:gsLst>
                    <a:gs pos="0">
                      <a:srgbClr val="FFFFFF"/>
                    </a:gs>
                    <a:gs pos="100000">
                      <a:srgbClr val="FFFFFF"/>
                    </a:gs>
                  </a:gsLst>
                  <a:lin ang="5400000" scaled="0"/>
                </a:gradFill>
              </a:endParaRPr>
            </a:p>
          </p:txBody>
        </p:sp>
      </p:grpSp>
      <p:grpSp>
        <p:nvGrpSpPr>
          <p:cNvPr id="6" name="Group 5"/>
          <p:cNvGrpSpPr/>
          <p:nvPr/>
        </p:nvGrpSpPr>
        <p:grpSpPr>
          <a:xfrm>
            <a:off x="4648392" y="3045475"/>
            <a:ext cx="2686465" cy="1599932"/>
            <a:chOff x="6196241" y="4060632"/>
            <a:chExt cx="3581020" cy="2133243"/>
          </a:xfrm>
        </p:grpSpPr>
        <p:sp>
          <p:nvSpPr>
            <p:cNvPr id="17" name="Rectangle 16"/>
            <p:cNvSpPr/>
            <p:nvPr/>
          </p:nvSpPr>
          <p:spPr bwMode="auto">
            <a:xfrm>
              <a:off x="6196241" y="4060632"/>
              <a:ext cx="3581020" cy="2133243"/>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7432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2700" spc="-75" dirty="0">
                  <a:gradFill>
                    <a:gsLst>
                      <a:gs pos="0">
                        <a:srgbClr val="FFFFFF"/>
                      </a:gs>
                      <a:gs pos="100000">
                        <a:srgbClr val="FFFFFF"/>
                      </a:gs>
                    </a:gsLst>
                    <a:lin ang="5400000" scaled="0"/>
                  </a:gradFill>
                  <a:latin typeface="Segoe UI Light"/>
                </a:rPr>
                <a:t>Cloud/Services</a:t>
              </a:r>
            </a:p>
          </p:txBody>
        </p:sp>
        <p:sp>
          <p:nvSpPr>
            <p:cNvPr id="29" name="Freeform 74"/>
            <p:cNvSpPr>
              <a:spLocks noEditPoints="1"/>
            </p:cNvSpPr>
            <p:nvPr/>
          </p:nvSpPr>
          <p:spPr bwMode="black">
            <a:xfrm>
              <a:off x="8613427" y="5239139"/>
              <a:ext cx="865243" cy="740123"/>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FFFFFF"/>
            </a:solidFill>
            <a:ln>
              <a:noFill/>
            </a:ln>
          </p:spPr>
          <p:txBody>
            <a:bodyPr vert="horz" wrap="square" lIns="0" tIns="274320" rIns="82305" bIns="41153" numCol="1" anchor="t" anchorCtr="0" compatLnSpc="1">
              <a:prstTxWarp prst="textNoShape">
                <a:avLst/>
              </a:prstTxWarp>
            </a:bodyPr>
            <a:lstStyle/>
            <a:p>
              <a:pPr algn="ctr"/>
              <a:endParaRPr lang="en-US" sz="1200">
                <a:gradFill>
                  <a:gsLst>
                    <a:gs pos="0">
                      <a:srgbClr val="FFFFFF"/>
                    </a:gs>
                    <a:gs pos="100000">
                      <a:srgbClr val="FFFFFF"/>
                    </a:gs>
                  </a:gsLst>
                  <a:lin ang="5400000" scaled="0"/>
                </a:gradFill>
              </a:endParaRPr>
            </a:p>
          </p:txBody>
        </p:sp>
      </p:grpSp>
      <p:grpSp>
        <p:nvGrpSpPr>
          <p:cNvPr id="7" name="Group 6"/>
          <p:cNvGrpSpPr/>
          <p:nvPr/>
        </p:nvGrpSpPr>
        <p:grpSpPr>
          <a:xfrm>
            <a:off x="1811357" y="3045475"/>
            <a:ext cx="2686465" cy="1599932"/>
            <a:chOff x="2414512" y="4060632"/>
            <a:chExt cx="3581020" cy="2133243"/>
          </a:xfrm>
        </p:grpSpPr>
        <p:sp>
          <p:nvSpPr>
            <p:cNvPr id="15" name="Rectangle 14"/>
            <p:cNvSpPr/>
            <p:nvPr/>
          </p:nvSpPr>
          <p:spPr bwMode="auto">
            <a:xfrm>
              <a:off x="2414512" y="4060632"/>
              <a:ext cx="3581020" cy="2133243"/>
            </a:xfrm>
            <a:prstGeom prst="rect">
              <a:avLst/>
            </a:prstGeom>
            <a:solidFill>
              <a:schemeClr val="accent3"/>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274320" rIns="91436" bIns="45718" numCol="1" rtlCol="0" anchor="t" anchorCtr="0" compatLnSpc="1">
              <a:prstTxWarp prst="textNoShape">
                <a:avLst/>
              </a:prstTxWarp>
            </a:bodyPr>
            <a:lstStyle/>
            <a:p>
              <a:pPr defTabSz="685637" fontAlgn="base">
                <a:lnSpc>
                  <a:spcPct val="90000"/>
                </a:lnSpc>
                <a:spcBef>
                  <a:spcPct val="0"/>
                </a:spcBef>
                <a:spcAft>
                  <a:spcPct val="0"/>
                </a:spcAft>
              </a:pPr>
              <a:r>
                <a:rPr lang="en-US" sz="2700" spc="-75" dirty="0">
                  <a:gradFill>
                    <a:gsLst>
                      <a:gs pos="0">
                        <a:srgbClr val="FFFFFF"/>
                      </a:gs>
                      <a:gs pos="100000">
                        <a:srgbClr val="FFFFFF"/>
                      </a:gs>
                    </a:gsLst>
                    <a:lin ang="5400000" scaled="0"/>
                  </a:gradFill>
                  <a:latin typeface="Segoe UI Light"/>
                </a:rPr>
                <a:t>Social</a:t>
              </a:r>
            </a:p>
          </p:txBody>
        </p:sp>
        <p:grpSp>
          <p:nvGrpSpPr>
            <p:cNvPr id="30" name="Group 740"/>
            <p:cNvGrpSpPr>
              <a:grpSpLocks noChangeAspect="1"/>
            </p:cNvGrpSpPr>
            <p:nvPr/>
          </p:nvGrpSpPr>
          <p:grpSpPr bwMode="auto">
            <a:xfrm>
              <a:off x="4834114" y="5239139"/>
              <a:ext cx="862826" cy="740123"/>
              <a:chOff x="7349" y="-2816"/>
              <a:chExt cx="661" cy="567"/>
            </a:xfrm>
            <a:solidFill>
              <a:schemeClr val="tx1"/>
            </a:solidFill>
          </p:grpSpPr>
          <p:sp>
            <p:nvSpPr>
              <p:cNvPr id="31"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endParaRPr lang="en-US">
                  <a:solidFill>
                    <a:srgbClr val="FFFFFF"/>
                  </a:solidFill>
                </a:endParaRPr>
              </a:p>
            </p:txBody>
          </p:sp>
          <p:sp>
            <p:nvSpPr>
              <p:cNvPr id="32" name="Oval 742"/>
              <p:cNvSpPr>
                <a:spLocks noChangeArrowheads="1"/>
              </p:cNvSpPr>
              <p:nvPr/>
            </p:nvSpPr>
            <p:spPr bwMode="auto">
              <a:xfrm>
                <a:off x="7616" y="-2816"/>
                <a:ext cx="127" cy="12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endParaRPr lang="en-US">
                  <a:solidFill>
                    <a:srgbClr val="FFFFFF"/>
                  </a:solidFill>
                </a:endParaRPr>
              </a:p>
            </p:txBody>
          </p:sp>
          <p:sp>
            <p:nvSpPr>
              <p:cNvPr id="33"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endParaRPr lang="en-US">
                  <a:solidFill>
                    <a:srgbClr val="FFFFFF"/>
                  </a:solidFill>
                </a:endParaRPr>
              </a:p>
            </p:txBody>
          </p:sp>
          <p:sp>
            <p:nvSpPr>
              <p:cNvPr id="34" name="Oval 744"/>
              <p:cNvSpPr>
                <a:spLocks noChangeArrowheads="1"/>
              </p:cNvSpPr>
              <p:nvPr/>
            </p:nvSpPr>
            <p:spPr bwMode="auto">
              <a:xfrm>
                <a:off x="7866" y="-2780"/>
                <a:ext cx="109" cy="10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endParaRPr lang="en-US">
                  <a:solidFill>
                    <a:srgbClr val="FFFFFF"/>
                  </a:solidFill>
                </a:endParaRPr>
              </a:p>
            </p:txBody>
          </p:sp>
          <p:sp>
            <p:nvSpPr>
              <p:cNvPr id="35"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endParaRPr lang="en-US">
                  <a:solidFill>
                    <a:srgbClr val="FFFFFF"/>
                  </a:solidFill>
                </a:endParaRPr>
              </a:p>
            </p:txBody>
          </p:sp>
          <p:sp>
            <p:nvSpPr>
              <p:cNvPr id="36" name="Oval 746"/>
              <p:cNvSpPr>
                <a:spLocks noChangeArrowheads="1"/>
              </p:cNvSpPr>
              <p:nvPr/>
            </p:nvSpPr>
            <p:spPr bwMode="auto">
              <a:xfrm>
                <a:off x="7384" y="-2780"/>
                <a:ext cx="109" cy="10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274320" rIns="91440" bIns="45720" numCol="1" anchor="t" anchorCtr="0" compatLnSpc="1">
                <a:prstTxWarp prst="textNoShape">
                  <a:avLst/>
                </a:prstTxWarp>
              </a:bodyPr>
              <a:lstStyle/>
              <a:p>
                <a:endParaRPr lang="en-US">
                  <a:solidFill>
                    <a:srgbClr val="FFFFFF"/>
                  </a:solidFill>
                </a:endParaRPr>
              </a:p>
            </p:txBody>
          </p:sp>
        </p:grpSp>
      </p:grpSp>
      <p:sp useBgFill="1">
        <p:nvSpPr>
          <p:cNvPr id="8" name="Rectangle 7"/>
          <p:cNvSpPr/>
          <p:nvPr/>
        </p:nvSpPr>
        <p:spPr bwMode="auto">
          <a:xfrm>
            <a:off x="-1" y="0"/>
            <a:ext cx="9144001" cy="132029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Trends</a:t>
            </a:r>
            <a:endParaRPr lang="en-US" dirty="0"/>
          </a:p>
        </p:txBody>
      </p:sp>
      <p:sp useBgFill="1">
        <p:nvSpPr>
          <p:cNvPr id="28" name="Rectangle 27"/>
          <p:cNvSpPr/>
          <p:nvPr/>
        </p:nvSpPr>
        <p:spPr bwMode="auto">
          <a:xfrm>
            <a:off x="-1" y="4645407"/>
            <a:ext cx="9144001" cy="49809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algn="ctr" defTabSz="685637" fontAlgn="base">
              <a:spcBef>
                <a:spcPct val="0"/>
              </a:spcBef>
              <a:spcAft>
                <a:spcPct val="0"/>
              </a:spcAft>
            </a:pPr>
            <a:endParaRPr lang="en-US" spc="-3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3408669"/>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800" fill="hold"/>
                                        <p:tgtEl>
                                          <p:spTgt spid="3"/>
                                        </p:tgtEl>
                                        <p:attrNameLst>
                                          <p:attrName>ppt_x</p:attrName>
                                        </p:attrNameLst>
                                      </p:cBhvr>
                                      <p:tavLst>
                                        <p:tav tm="0">
                                          <p:val>
                                            <p:strVal val="#ppt_x"/>
                                          </p:val>
                                        </p:tav>
                                        <p:tav tm="100000">
                                          <p:val>
                                            <p:strVal val="#ppt_x"/>
                                          </p:val>
                                        </p:tav>
                                      </p:tavLst>
                                    </p:anim>
                                    <p:anim calcmode="lin" valueType="num">
                                      <p:cBhvr additive="base">
                                        <p:cTn id="8" dur="80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4" decel="100000" fill="hold" nodeType="withEffect">
                                  <p:stCondLst>
                                    <p:cond delay="3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800" fill="hold"/>
                                        <p:tgtEl>
                                          <p:spTgt spid="7"/>
                                        </p:tgtEl>
                                        <p:attrNameLst>
                                          <p:attrName>ppt_x</p:attrName>
                                        </p:attrNameLst>
                                      </p:cBhvr>
                                      <p:tavLst>
                                        <p:tav tm="0">
                                          <p:val>
                                            <p:strVal val="#ppt_x"/>
                                          </p:val>
                                        </p:tav>
                                        <p:tav tm="100000">
                                          <p:val>
                                            <p:strVal val="#ppt_x"/>
                                          </p:val>
                                        </p:tav>
                                      </p:tavLst>
                                    </p:anim>
                                    <p:anim calcmode="lin" valueType="num">
                                      <p:cBhvr additive="base">
                                        <p:cTn id="12" dur="8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1" decel="100000" fill="hold" nodeType="withEffect">
                                  <p:stCondLst>
                                    <p:cond delay="45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800" fill="hold"/>
                                        <p:tgtEl>
                                          <p:spTgt spid="4"/>
                                        </p:tgtEl>
                                        <p:attrNameLst>
                                          <p:attrName>ppt_x</p:attrName>
                                        </p:attrNameLst>
                                      </p:cBhvr>
                                      <p:tavLst>
                                        <p:tav tm="0">
                                          <p:val>
                                            <p:strVal val="#ppt_x"/>
                                          </p:val>
                                        </p:tav>
                                        <p:tav tm="100000">
                                          <p:val>
                                            <p:strVal val="#ppt_x"/>
                                          </p:val>
                                        </p:tav>
                                      </p:tavLst>
                                    </p:anim>
                                    <p:anim calcmode="lin" valueType="num">
                                      <p:cBhvr additive="base">
                                        <p:cTn id="16" dur="800" fill="hold"/>
                                        <p:tgtEl>
                                          <p:spTgt spid="4"/>
                                        </p:tgtEl>
                                        <p:attrNameLst>
                                          <p:attrName>ppt_y</p:attrName>
                                        </p:attrNameLst>
                                      </p:cBhvr>
                                      <p:tavLst>
                                        <p:tav tm="0">
                                          <p:val>
                                            <p:strVal val="0-#ppt_h/2"/>
                                          </p:val>
                                        </p:tav>
                                        <p:tav tm="100000">
                                          <p:val>
                                            <p:strVal val="#ppt_y"/>
                                          </p:val>
                                        </p:tav>
                                      </p:tavLst>
                                    </p:anim>
                                  </p:childTnLst>
                                </p:cTn>
                              </p:par>
                              <p:par>
                                <p:cTn id="17" presetID="2" presetClass="entr" presetSubtype="4" decel="100000" fill="hold" nodeType="withEffect">
                                  <p:stCondLst>
                                    <p:cond delay="55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800" fill="hold"/>
                                        <p:tgtEl>
                                          <p:spTgt spid="6"/>
                                        </p:tgtEl>
                                        <p:attrNameLst>
                                          <p:attrName>ppt_x</p:attrName>
                                        </p:attrNameLst>
                                      </p:cBhvr>
                                      <p:tavLst>
                                        <p:tav tm="0">
                                          <p:val>
                                            <p:strVal val="#ppt_x"/>
                                          </p:val>
                                        </p:tav>
                                        <p:tav tm="100000">
                                          <p:val>
                                            <p:strVal val="#ppt_x"/>
                                          </p:val>
                                        </p:tav>
                                      </p:tavLst>
                                    </p:anim>
                                    <p:anim calcmode="lin" valueType="num">
                                      <p:cBhvr additive="base">
                                        <p:cTn id="20" dur="800" fill="hold"/>
                                        <p:tgtEl>
                                          <p:spTgt spid="6"/>
                                        </p:tgtEl>
                                        <p:attrNameLst>
                                          <p:attrName>ppt_y</p:attrName>
                                        </p:attrNameLst>
                                      </p:cBhvr>
                                      <p:tavLst>
                                        <p:tav tm="0">
                                          <p:val>
                                            <p:strVal val="1+#ppt_h/2"/>
                                          </p:val>
                                        </p:tav>
                                        <p:tav tm="100000">
                                          <p:val>
                                            <p:strVal val="#ppt_y"/>
                                          </p:val>
                                        </p:tav>
                                      </p:tavLst>
                                    </p:anim>
                                  </p:childTnLst>
                                </p:cTn>
                              </p:par>
                              <p:par>
                                <p:cTn id="21" presetID="2" presetClass="entr" presetSubtype="1" decel="100000" fill="hold" nodeType="withEffect">
                                  <p:stCondLst>
                                    <p:cond delay="65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800" fill="hold"/>
                                        <p:tgtEl>
                                          <p:spTgt spid="5"/>
                                        </p:tgtEl>
                                        <p:attrNameLst>
                                          <p:attrName>ppt_x</p:attrName>
                                        </p:attrNameLst>
                                      </p:cBhvr>
                                      <p:tavLst>
                                        <p:tav tm="0">
                                          <p:val>
                                            <p:strVal val="#ppt_x"/>
                                          </p:val>
                                        </p:tav>
                                        <p:tav tm="100000">
                                          <p:val>
                                            <p:strVal val="#ppt_x"/>
                                          </p:val>
                                        </p:tav>
                                      </p:tavLst>
                                    </p:anim>
                                    <p:anim calcmode="lin" valueType="num">
                                      <p:cBhvr additive="base">
                                        <p:cTn id="24" dur="8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29" y="891883"/>
            <a:ext cx="8740142" cy="3300627"/>
          </a:xfrm>
        </p:spPr>
        <p:txBody>
          <a:bodyPr/>
          <a:lstStyle/>
          <a:p>
            <a:r>
              <a:rPr lang="en-US" dirty="0" smtClean="0"/>
              <a:t>Easy to develop for Windows 8 or Phone or Azure</a:t>
            </a:r>
          </a:p>
          <a:p>
            <a:r>
              <a:rPr lang="en-US" dirty="0" smtClean="0"/>
              <a:t>Great looking applications</a:t>
            </a:r>
          </a:p>
          <a:p>
            <a:r>
              <a:rPr lang="en-US" dirty="0" smtClean="0"/>
              <a:t>Easy scalability</a:t>
            </a:r>
          </a:p>
          <a:p>
            <a:r>
              <a:rPr lang="en-US" dirty="0" smtClean="0"/>
              <a:t>Store</a:t>
            </a:r>
          </a:p>
          <a:p>
            <a:endParaRPr lang="en-US" dirty="0"/>
          </a:p>
        </p:txBody>
      </p:sp>
      <p:sp>
        <p:nvSpPr>
          <p:cNvPr id="3" name="Title 2"/>
          <p:cNvSpPr>
            <a:spLocks noGrp="1"/>
          </p:cNvSpPr>
          <p:nvPr>
            <p:ph type="title"/>
          </p:nvPr>
        </p:nvSpPr>
        <p:spPr/>
        <p:txBody>
          <a:bodyPr/>
          <a:lstStyle/>
          <a:p>
            <a:r>
              <a:rPr lang="en-US" dirty="0" smtClean="0"/>
              <a:t>Wrap up</a:t>
            </a:r>
            <a:endParaRPr lang="en-US" dirty="0"/>
          </a:p>
        </p:txBody>
      </p:sp>
    </p:spTree>
    <p:extLst>
      <p:ext uri="{BB962C8B-B14F-4D97-AF65-F5344CB8AC3E}">
        <p14:creationId xmlns:p14="http://schemas.microsoft.com/office/powerpoint/2010/main" val="252450744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s Who?</a:t>
            </a:r>
            <a:endParaRPr lang="en-US" dirty="0"/>
          </a:p>
        </p:txBody>
      </p:sp>
      <p:pic>
        <p:nvPicPr>
          <p:cNvPr id="3074" name="Picture 2" descr="C:\Users\kathero\Pictures\Pictures\Blog\BlogArtwork\DaveRussel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9406" y="1047750"/>
            <a:ext cx="1145020" cy="165711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Users\kathero\Pictures\Pictures\Blog\BlogArtwork\Ahmed Salijee00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805" t="4881" r="22895" b="43436"/>
          <a:stretch/>
        </p:blipFill>
        <p:spPr bwMode="auto">
          <a:xfrm>
            <a:off x="3829916" y="1047751"/>
            <a:ext cx="1276528" cy="1657118"/>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C:\Users\kathero\Pictures\Pictures\Blog\BlogArtwork\Jarrod.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2287" r="12528"/>
          <a:stretch/>
        </p:blipFill>
        <p:spPr bwMode="auto">
          <a:xfrm>
            <a:off x="286678" y="3006303"/>
            <a:ext cx="1247750" cy="1663055"/>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C:\Users\kathero\Pictures\Pictures\Blog\BlogArtwork\KathBio2.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951" r="16229" b="10148"/>
          <a:stretch/>
        </p:blipFill>
        <p:spPr bwMode="auto">
          <a:xfrm>
            <a:off x="3836871" y="3012240"/>
            <a:ext cx="1269573" cy="165711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1606097" y="1047750"/>
            <a:ext cx="1606633" cy="16571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defTabSz="685666" fontAlgn="base">
              <a:spcBef>
                <a:spcPct val="0"/>
              </a:spcBef>
              <a:spcAft>
                <a:spcPct val="0"/>
              </a:spcAft>
            </a:pPr>
            <a:r>
              <a:rPr lang="en-ZA" sz="2100" spc="-38" dirty="0">
                <a:solidFill>
                  <a:prstClr val="white"/>
                </a:solidFill>
                <a:ea typeface="Segoe UI" pitchFamily="34" charset="0"/>
                <a:cs typeface="Segoe UI" pitchFamily="34" charset="0"/>
              </a:rPr>
              <a:t>Dave Russell</a:t>
            </a:r>
          </a:p>
          <a:p>
            <a:pPr defTabSz="685666" fontAlgn="base">
              <a:spcBef>
                <a:spcPct val="0"/>
              </a:spcBef>
              <a:spcAft>
                <a:spcPct val="0"/>
              </a:spcAft>
            </a:pPr>
            <a:r>
              <a:rPr lang="en-ZA" spc="-38" dirty="0">
                <a:solidFill>
                  <a:prstClr val="white"/>
                </a:solidFill>
                <a:ea typeface="Segoe UI" pitchFamily="34" charset="0"/>
                <a:cs typeface="Segoe UI" pitchFamily="34" charset="0"/>
              </a:rPr>
              <a:t>Windows Phone</a:t>
            </a:r>
          </a:p>
          <a:p>
            <a:pPr defTabSz="685666" fontAlgn="base">
              <a:spcBef>
                <a:spcPct val="0"/>
              </a:spcBef>
              <a:spcAft>
                <a:spcPct val="0"/>
              </a:spcAft>
            </a:pPr>
            <a:r>
              <a:rPr lang="en-ZA" sz="1100" spc="-38" dirty="0">
                <a:solidFill>
                  <a:prstClr val="white"/>
                </a:solidFill>
                <a:ea typeface="Segoe UI" pitchFamily="34" charset="0"/>
                <a:cs typeface="Segoe UI" pitchFamily="34" charset="0"/>
              </a:rPr>
              <a:t>drussell@microsoft.com</a:t>
            </a:r>
            <a:endParaRPr lang="en-US" sz="1100" spc="-38" dirty="0" err="1">
              <a:solidFill>
                <a:prstClr val="white"/>
              </a:solidFill>
              <a:ea typeface="Segoe UI" pitchFamily="34" charset="0"/>
              <a:cs typeface="Segoe UI" pitchFamily="34" charset="0"/>
            </a:endParaRPr>
          </a:p>
        </p:txBody>
      </p:sp>
      <p:sp>
        <p:nvSpPr>
          <p:cNvPr id="11" name="Rectangle 10"/>
          <p:cNvSpPr/>
          <p:nvPr/>
        </p:nvSpPr>
        <p:spPr bwMode="auto">
          <a:xfrm>
            <a:off x="1606097" y="3006303"/>
            <a:ext cx="1606633" cy="16571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defTabSz="685666" fontAlgn="base">
              <a:spcBef>
                <a:spcPct val="0"/>
              </a:spcBef>
              <a:spcAft>
                <a:spcPct val="0"/>
              </a:spcAft>
            </a:pPr>
            <a:r>
              <a:rPr lang="en-ZA" sz="2100" spc="-38" dirty="0">
                <a:solidFill>
                  <a:prstClr val="white"/>
                </a:solidFill>
                <a:ea typeface="Segoe UI" pitchFamily="34" charset="0"/>
                <a:cs typeface="Segoe UI" pitchFamily="34" charset="0"/>
              </a:rPr>
              <a:t>Jarrod Hermer</a:t>
            </a:r>
          </a:p>
          <a:p>
            <a:pPr defTabSz="685666" fontAlgn="base">
              <a:spcBef>
                <a:spcPct val="0"/>
              </a:spcBef>
              <a:spcAft>
                <a:spcPct val="0"/>
              </a:spcAft>
            </a:pPr>
            <a:r>
              <a:rPr lang="en-ZA" spc="-38" dirty="0">
                <a:solidFill>
                  <a:prstClr val="white"/>
                </a:solidFill>
                <a:ea typeface="Segoe UI" pitchFamily="34" charset="0"/>
                <a:cs typeface="Segoe UI" pitchFamily="34" charset="0"/>
              </a:rPr>
              <a:t>Windows 8</a:t>
            </a:r>
          </a:p>
          <a:p>
            <a:pPr defTabSz="685666" fontAlgn="base">
              <a:spcBef>
                <a:spcPct val="0"/>
              </a:spcBef>
              <a:spcAft>
                <a:spcPct val="0"/>
              </a:spcAft>
            </a:pPr>
            <a:r>
              <a:rPr lang="en-ZA" sz="1100" spc="-38" dirty="0">
                <a:solidFill>
                  <a:prstClr val="white"/>
                </a:solidFill>
                <a:ea typeface="Segoe UI" pitchFamily="34" charset="0"/>
                <a:cs typeface="Segoe UI" pitchFamily="34" charset="0"/>
              </a:rPr>
              <a:t>jhermer@microsoft.com</a:t>
            </a:r>
            <a:endParaRPr lang="en-US" sz="1100" spc="-38" dirty="0" err="1">
              <a:solidFill>
                <a:prstClr val="white"/>
              </a:solidFill>
              <a:ea typeface="Segoe UI" pitchFamily="34" charset="0"/>
              <a:cs typeface="Segoe UI" pitchFamily="34" charset="0"/>
            </a:endParaRPr>
          </a:p>
        </p:txBody>
      </p:sp>
      <p:sp>
        <p:nvSpPr>
          <p:cNvPr id="15" name="Rectangle 14"/>
          <p:cNvSpPr/>
          <p:nvPr/>
        </p:nvSpPr>
        <p:spPr bwMode="auto">
          <a:xfrm>
            <a:off x="5207485" y="1047751"/>
            <a:ext cx="1606633" cy="16571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defTabSz="685666" fontAlgn="base">
              <a:spcBef>
                <a:spcPct val="0"/>
              </a:spcBef>
              <a:spcAft>
                <a:spcPct val="0"/>
              </a:spcAft>
            </a:pPr>
            <a:r>
              <a:rPr lang="en-ZA" sz="2100" spc="-38" dirty="0">
                <a:solidFill>
                  <a:prstClr val="white"/>
                </a:solidFill>
                <a:ea typeface="Segoe UI" pitchFamily="34" charset="0"/>
                <a:cs typeface="Segoe UI" pitchFamily="34" charset="0"/>
              </a:rPr>
              <a:t>Ahmed Salijee</a:t>
            </a:r>
          </a:p>
          <a:p>
            <a:pPr defTabSz="685666" fontAlgn="base">
              <a:spcBef>
                <a:spcPct val="0"/>
              </a:spcBef>
              <a:spcAft>
                <a:spcPct val="0"/>
              </a:spcAft>
            </a:pPr>
            <a:r>
              <a:rPr lang="en-ZA" sz="1500" spc="-38" dirty="0">
                <a:solidFill>
                  <a:prstClr val="white"/>
                </a:solidFill>
                <a:ea typeface="Segoe UI" pitchFamily="34" charset="0"/>
                <a:cs typeface="Segoe UI" pitchFamily="34" charset="0"/>
              </a:rPr>
              <a:t>Application Lifecycle Management</a:t>
            </a:r>
          </a:p>
          <a:p>
            <a:pPr defTabSz="685666" fontAlgn="base">
              <a:spcBef>
                <a:spcPct val="0"/>
              </a:spcBef>
              <a:spcAft>
                <a:spcPct val="0"/>
              </a:spcAft>
            </a:pPr>
            <a:r>
              <a:rPr lang="en-ZA" sz="1100" spc="-38" dirty="0">
                <a:solidFill>
                  <a:prstClr val="white"/>
                </a:solidFill>
                <a:ea typeface="Segoe UI" pitchFamily="34" charset="0"/>
                <a:cs typeface="Segoe UI" pitchFamily="34" charset="0"/>
              </a:rPr>
              <a:t>ahmeds@microsoft.com</a:t>
            </a:r>
            <a:endParaRPr lang="en-US" sz="700" spc="-38" dirty="0" err="1">
              <a:solidFill>
                <a:prstClr val="white"/>
              </a:solidFill>
              <a:ea typeface="Segoe UI" pitchFamily="34" charset="0"/>
              <a:cs typeface="Segoe UI" pitchFamily="34" charset="0"/>
            </a:endParaRPr>
          </a:p>
        </p:txBody>
      </p:sp>
      <p:sp>
        <p:nvSpPr>
          <p:cNvPr id="16" name="Rectangle 15"/>
          <p:cNvSpPr/>
          <p:nvPr/>
        </p:nvSpPr>
        <p:spPr bwMode="auto">
          <a:xfrm>
            <a:off x="5207485" y="3006303"/>
            <a:ext cx="1606633" cy="16571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defTabSz="685666" fontAlgn="base">
              <a:spcBef>
                <a:spcPct val="0"/>
              </a:spcBef>
              <a:spcAft>
                <a:spcPct val="0"/>
              </a:spcAft>
            </a:pPr>
            <a:r>
              <a:rPr lang="en-ZA" sz="2100" spc="-38" dirty="0">
                <a:solidFill>
                  <a:prstClr val="white"/>
                </a:solidFill>
                <a:ea typeface="Segoe UI" pitchFamily="34" charset="0"/>
                <a:cs typeface="Segoe UI" pitchFamily="34" charset="0"/>
              </a:rPr>
              <a:t>Kath Roderick</a:t>
            </a:r>
          </a:p>
          <a:p>
            <a:pPr defTabSz="685666" fontAlgn="base">
              <a:spcBef>
                <a:spcPct val="0"/>
              </a:spcBef>
              <a:spcAft>
                <a:spcPct val="0"/>
              </a:spcAft>
            </a:pPr>
            <a:r>
              <a:rPr lang="en-ZA" spc="-38" dirty="0">
                <a:solidFill>
                  <a:prstClr val="white"/>
                </a:solidFill>
                <a:ea typeface="Segoe UI" pitchFamily="34" charset="0"/>
                <a:cs typeface="Segoe UI" pitchFamily="34" charset="0"/>
              </a:rPr>
              <a:t>Windows 8</a:t>
            </a:r>
          </a:p>
          <a:p>
            <a:pPr defTabSz="685666" fontAlgn="base">
              <a:spcBef>
                <a:spcPct val="0"/>
              </a:spcBef>
              <a:spcAft>
                <a:spcPct val="0"/>
              </a:spcAft>
            </a:pPr>
            <a:r>
              <a:rPr lang="en-ZA" sz="1100" spc="-38" dirty="0">
                <a:solidFill>
                  <a:prstClr val="white"/>
                </a:solidFill>
                <a:ea typeface="Segoe UI" pitchFamily="34" charset="0"/>
                <a:cs typeface="Segoe UI" pitchFamily="34" charset="0"/>
              </a:rPr>
              <a:t>kathero@microsoft.com</a:t>
            </a:r>
            <a:endParaRPr lang="en-US" sz="1100" spc="-38" dirty="0" err="1">
              <a:solidFill>
                <a:prstClr val="white"/>
              </a:solidFill>
              <a:ea typeface="Segoe UI" pitchFamily="34" charset="0"/>
              <a:cs typeface="Segoe UI" pitchFamily="34" charset="0"/>
            </a:endParaRPr>
          </a:p>
        </p:txBody>
      </p:sp>
    </p:spTree>
    <p:extLst>
      <p:ext uri="{BB962C8B-B14F-4D97-AF65-F5344CB8AC3E}">
        <p14:creationId xmlns:p14="http://schemas.microsoft.com/office/powerpoint/2010/main" val="405495440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s Who?</a:t>
            </a:r>
            <a:endParaRPr lang="en-US" dirty="0"/>
          </a:p>
        </p:txBody>
      </p:sp>
      <p:pic>
        <p:nvPicPr>
          <p:cNvPr id="3074" name="Picture 2" descr="C:\Users\kathero\Pictures\Pictures\Blog\BlogArtwork\DaveRussel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9406" y="890554"/>
            <a:ext cx="1145020" cy="165711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Users\kathero\Pictures\Pictures\Blog\BlogArtwork\Ahmed Salijee00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805" t="4881" r="22895" b="43436"/>
          <a:stretch/>
        </p:blipFill>
        <p:spPr bwMode="auto">
          <a:xfrm>
            <a:off x="3829916" y="890555"/>
            <a:ext cx="1276528" cy="165711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1648971" y="891259"/>
            <a:ext cx="1606633" cy="16571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defTabSz="685666" fontAlgn="base">
              <a:spcBef>
                <a:spcPct val="0"/>
              </a:spcBef>
              <a:spcAft>
                <a:spcPct val="0"/>
              </a:spcAft>
            </a:pPr>
            <a:r>
              <a:rPr lang="en-ZA" sz="2100" spc="-38" dirty="0">
                <a:solidFill>
                  <a:prstClr val="white"/>
                </a:solidFill>
                <a:ea typeface="Segoe UI" pitchFamily="34" charset="0"/>
                <a:cs typeface="Segoe UI" pitchFamily="34" charset="0"/>
              </a:rPr>
              <a:t>Morgan Webb</a:t>
            </a:r>
          </a:p>
          <a:p>
            <a:pPr defTabSz="685666" fontAlgn="base">
              <a:spcBef>
                <a:spcPct val="0"/>
              </a:spcBef>
              <a:spcAft>
                <a:spcPct val="0"/>
              </a:spcAft>
            </a:pPr>
            <a:r>
              <a:rPr lang="en-ZA" spc="-38" dirty="0">
                <a:solidFill>
                  <a:prstClr val="white"/>
                </a:solidFill>
                <a:ea typeface="Segoe UI" pitchFamily="34" charset="0"/>
                <a:cs typeface="Segoe UI" pitchFamily="34" charset="0"/>
              </a:rPr>
              <a:t>Infrastructure &amp; IT Pro</a:t>
            </a:r>
          </a:p>
          <a:p>
            <a:pPr defTabSz="685666" fontAlgn="base">
              <a:spcBef>
                <a:spcPct val="0"/>
              </a:spcBef>
              <a:spcAft>
                <a:spcPct val="0"/>
              </a:spcAft>
            </a:pPr>
            <a:r>
              <a:rPr lang="en-ZA" sz="1050" spc="-38" dirty="0">
                <a:solidFill>
                  <a:prstClr val="white"/>
                </a:solidFill>
                <a:ea typeface="Segoe UI" pitchFamily="34" charset="0"/>
                <a:cs typeface="Segoe UI" pitchFamily="34" charset="0"/>
              </a:rPr>
              <a:t>morganwe@microsoft.com</a:t>
            </a:r>
            <a:endParaRPr lang="en-US" sz="1050" spc="-38" dirty="0" err="1">
              <a:solidFill>
                <a:prstClr val="white"/>
              </a:solidFill>
              <a:ea typeface="Segoe UI" pitchFamily="34" charset="0"/>
              <a:cs typeface="Segoe UI" pitchFamily="34" charset="0"/>
            </a:endParaRPr>
          </a:p>
        </p:txBody>
      </p:sp>
      <p:sp>
        <p:nvSpPr>
          <p:cNvPr id="15" name="Rectangle 14"/>
          <p:cNvSpPr/>
          <p:nvPr/>
        </p:nvSpPr>
        <p:spPr bwMode="auto">
          <a:xfrm>
            <a:off x="5207485" y="890555"/>
            <a:ext cx="1606633" cy="16571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defTabSz="685666" fontAlgn="base">
              <a:spcBef>
                <a:spcPct val="0"/>
              </a:spcBef>
              <a:spcAft>
                <a:spcPct val="0"/>
              </a:spcAft>
            </a:pPr>
            <a:r>
              <a:rPr lang="en-ZA" sz="2100" spc="-38" dirty="0">
                <a:solidFill>
                  <a:prstClr val="white"/>
                </a:solidFill>
                <a:ea typeface="Segoe UI" pitchFamily="34" charset="0"/>
                <a:cs typeface="Segoe UI" pitchFamily="34" charset="0"/>
              </a:rPr>
              <a:t>Gareth Jane</a:t>
            </a:r>
          </a:p>
          <a:p>
            <a:pPr defTabSz="685666" fontAlgn="base">
              <a:spcBef>
                <a:spcPct val="0"/>
              </a:spcBef>
              <a:spcAft>
                <a:spcPct val="0"/>
              </a:spcAft>
            </a:pPr>
            <a:r>
              <a:rPr lang="en-ZA" sz="1500" spc="-38" dirty="0">
                <a:solidFill>
                  <a:prstClr val="white"/>
                </a:solidFill>
                <a:ea typeface="Segoe UI" pitchFamily="34" charset="0"/>
                <a:cs typeface="Segoe UI" pitchFamily="34" charset="0"/>
              </a:rPr>
              <a:t>Azure </a:t>
            </a:r>
          </a:p>
          <a:p>
            <a:pPr defTabSz="685666" fontAlgn="base">
              <a:spcBef>
                <a:spcPct val="0"/>
              </a:spcBef>
              <a:spcAft>
                <a:spcPct val="0"/>
              </a:spcAft>
            </a:pPr>
            <a:r>
              <a:rPr lang="en-ZA" sz="1100" spc="-38" dirty="0">
                <a:solidFill>
                  <a:prstClr val="white"/>
                </a:solidFill>
                <a:ea typeface="Segoe UI" pitchFamily="34" charset="0"/>
                <a:cs typeface="Segoe UI" pitchFamily="34" charset="0"/>
              </a:rPr>
              <a:t>gjane@microsoft.com</a:t>
            </a:r>
            <a:endParaRPr lang="en-US" sz="700" spc="-38" dirty="0" err="1">
              <a:solidFill>
                <a:prstClr val="white"/>
              </a:solidFill>
              <a:ea typeface="Segoe UI" pitchFamily="34" charset="0"/>
              <a:cs typeface="Segoe UI" pitchFamily="34" charset="0"/>
            </a:endParaRPr>
          </a:p>
        </p:txBody>
      </p:sp>
      <p:sp>
        <p:nvSpPr>
          <p:cNvPr id="16" name="Rectangle 15"/>
          <p:cNvSpPr/>
          <p:nvPr/>
        </p:nvSpPr>
        <p:spPr bwMode="auto">
          <a:xfrm>
            <a:off x="1634752" y="3006303"/>
            <a:ext cx="1606633" cy="165711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89" tIns="34295" rIns="34295" bIns="68589" numCol="1" spcCol="0" rtlCol="0" fromWordArt="0" anchor="b" anchorCtr="0" forceAA="0" compatLnSpc="1">
            <a:prstTxWarp prst="textNoShape">
              <a:avLst/>
            </a:prstTxWarp>
            <a:noAutofit/>
          </a:bodyPr>
          <a:lstStyle/>
          <a:p>
            <a:pPr defTabSz="685666" fontAlgn="base">
              <a:spcBef>
                <a:spcPct val="0"/>
              </a:spcBef>
              <a:spcAft>
                <a:spcPct val="0"/>
              </a:spcAft>
            </a:pPr>
            <a:r>
              <a:rPr lang="en-ZA" sz="2100" spc="-38" dirty="0">
                <a:solidFill>
                  <a:prstClr val="white"/>
                </a:solidFill>
                <a:ea typeface="Segoe UI" pitchFamily="34" charset="0"/>
                <a:cs typeface="Segoe UI" pitchFamily="34" charset="0"/>
              </a:rPr>
              <a:t>Cliff de Wit</a:t>
            </a:r>
          </a:p>
          <a:p>
            <a:pPr defTabSz="685666" fontAlgn="base">
              <a:spcBef>
                <a:spcPct val="0"/>
              </a:spcBef>
              <a:spcAft>
                <a:spcPct val="0"/>
              </a:spcAft>
            </a:pPr>
            <a:r>
              <a:rPr lang="en-ZA" spc="-38" dirty="0">
                <a:solidFill>
                  <a:prstClr val="white"/>
                </a:solidFill>
                <a:ea typeface="Segoe UI" pitchFamily="34" charset="0"/>
                <a:cs typeface="Segoe UI" pitchFamily="34" charset="0"/>
              </a:rPr>
              <a:t>DPE Director</a:t>
            </a:r>
          </a:p>
          <a:p>
            <a:pPr defTabSz="685666" fontAlgn="base">
              <a:spcBef>
                <a:spcPct val="0"/>
              </a:spcBef>
              <a:spcAft>
                <a:spcPct val="0"/>
              </a:spcAft>
            </a:pPr>
            <a:r>
              <a:rPr lang="en-ZA" sz="1100" spc="-38" dirty="0">
                <a:solidFill>
                  <a:prstClr val="white"/>
                </a:solidFill>
                <a:ea typeface="Segoe UI" pitchFamily="34" charset="0"/>
                <a:cs typeface="Segoe UI" pitchFamily="34" charset="0"/>
              </a:rPr>
              <a:t>cdewit@microsoft.com</a:t>
            </a:r>
            <a:endParaRPr lang="en-US" sz="1100" spc="-38" dirty="0" err="1">
              <a:solidFill>
                <a:prstClr val="white"/>
              </a:solidFill>
              <a:ea typeface="Segoe UI" pitchFamily="34" charset="0"/>
              <a:cs typeface="Segoe UI" pitchFamily="34" charset="0"/>
            </a:endParaRPr>
          </a:p>
        </p:txBody>
      </p:sp>
      <p:pic>
        <p:nvPicPr>
          <p:cNvPr id="12" name="Picture 3" descr="C:\Users\kathero\Pictures\Pictures\Blog\BlogArtwork\MorganWebb.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5169" r="13394" b="24904"/>
          <a:stretch/>
        </p:blipFill>
        <p:spPr bwMode="auto">
          <a:xfrm>
            <a:off x="304800" y="864895"/>
            <a:ext cx="1254928" cy="168872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C:\Users\kathero\Pictures\Pictures\Blog\BlogArtwork\GarethSmall.jpg"/>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3801334" y="890556"/>
            <a:ext cx="1305455" cy="1657117"/>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C:\Users\kathero\Pictures\Pictures\Blog\BlogArtwork\South Africa-Clifford de Wit.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20306" b="6904"/>
          <a:stretch/>
        </p:blipFill>
        <p:spPr bwMode="auto">
          <a:xfrm>
            <a:off x="228600" y="3006304"/>
            <a:ext cx="1305111" cy="16571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38706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bwMode="black">
          <a:xfrm>
            <a:off x="2040672" y="599410"/>
            <a:ext cx="4653944" cy="4040534"/>
            <a:chOff x="2462213" y="1598613"/>
            <a:chExt cx="4222750" cy="3667125"/>
          </a:xfrm>
          <a:solidFill>
            <a:schemeClr val="accent2"/>
          </a:solidFill>
        </p:grpSpPr>
        <p:sp>
          <p:nvSpPr>
            <p:cNvPr id="18"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0"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1"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3"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5"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7"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8"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0"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1"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2"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3"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4"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5"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pPr algn="ctr"/>
              <a:r>
                <a:rPr lang="en-US" sz="1600" dirty="0" smtClean="0">
                  <a:solidFill>
                    <a:schemeClr val="bg1"/>
                  </a:solidFill>
                  <a:latin typeface="+mj-lt"/>
                </a:rPr>
                <a:t>Devices &amp; Services</a:t>
              </a:r>
              <a:endParaRPr lang="en-US" sz="1600" dirty="0">
                <a:solidFill>
                  <a:schemeClr val="bg1"/>
                </a:solidFill>
                <a:latin typeface="+mj-lt"/>
              </a:endParaRPr>
            </a:p>
          </p:txBody>
        </p:sp>
        <p:sp>
          <p:nvSpPr>
            <p:cNvPr id="36"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7"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8"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9"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0"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1"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2"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3"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4"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5"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6"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7"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8"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22295157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bwMode="black">
          <a:xfrm>
            <a:off x="1265547" y="590550"/>
            <a:ext cx="6735453" cy="5847691"/>
            <a:chOff x="2462213" y="1598613"/>
            <a:chExt cx="4222750" cy="3667125"/>
          </a:xfrm>
          <a:solidFill>
            <a:schemeClr val="accent2"/>
          </a:solidFill>
        </p:grpSpPr>
        <p:sp>
          <p:nvSpPr>
            <p:cNvPr id="18" name="Rectangle 6"/>
            <p:cNvSpPr>
              <a:spLocks noChangeArrowheads="1"/>
            </p:cNvSpPr>
            <p:nvPr/>
          </p:nvSpPr>
          <p:spPr bwMode="black">
            <a:xfrm>
              <a:off x="5564188"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0" name="Rectangle 7"/>
            <p:cNvSpPr>
              <a:spLocks noChangeArrowheads="1"/>
            </p:cNvSpPr>
            <p:nvPr/>
          </p:nvSpPr>
          <p:spPr bwMode="black">
            <a:xfrm>
              <a:off x="5795963" y="3346451"/>
              <a:ext cx="112713"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1" name="Rectangle 8"/>
            <p:cNvSpPr>
              <a:spLocks noChangeArrowheads="1"/>
            </p:cNvSpPr>
            <p:nvPr/>
          </p:nvSpPr>
          <p:spPr bwMode="black">
            <a:xfrm>
              <a:off x="3092451" y="3346451"/>
              <a:ext cx="115888"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3" name="Rectangle 9"/>
            <p:cNvSpPr>
              <a:spLocks noChangeArrowheads="1"/>
            </p:cNvSpPr>
            <p:nvPr/>
          </p:nvSpPr>
          <p:spPr bwMode="black">
            <a:xfrm>
              <a:off x="3324226" y="3346451"/>
              <a:ext cx="117475"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5" name="Freeform 10"/>
            <p:cNvSpPr>
              <a:spLocks/>
            </p:cNvSpPr>
            <p:nvPr/>
          </p:nvSpPr>
          <p:spPr bwMode="black">
            <a:xfrm>
              <a:off x="3902076" y="2506663"/>
              <a:ext cx="101600" cy="123825"/>
            </a:xfrm>
            <a:custGeom>
              <a:avLst/>
              <a:gdLst>
                <a:gd name="T0" fmla="*/ 36 w 64"/>
                <a:gd name="T1" fmla="*/ 78 h 78"/>
                <a:gd name="T2" fmla="*/ 64 w 64"/>
                <a:gd name="T3" fmla="*/ 64 h 78"/>
                <a:gd name="T4" fmla="*/ 26 w 64"/>
                <a:gd name="T5" fmla="*/ 0 h 78"/>
                <a:gd name="T6" fmla="*/ 0 w 64"/>
                <a:gd name="T7" fmla="*/ 17 h 78"/>
                <a:gd name="T8" fmla="*/ 36 w 64"/>
                <a:gd name="T9" fmla="*/ 78 h 78"/>
              </a:gdLst>
              <a:ahLst/>
              <a:cxnLst>
                <a:cxn ang="0">
                  <a:pos x="T0" y="T1"/>
                </a:cxn>
                <a:cxn ang="0">
                  <a:pos x="T2" y="T3"/>
                </a:cxn>
                <a:cxn ang="0">
                  <a:pos x="T4" y="T5"/>
                </a:cxn>
                <a:cxn ang="0">
                  <a:pos x="T6" y="T7"/>
                </a:cxn>
                <a:cxn ang="0">
                  <a:pos x="T8" y="T9"/>
                </a:cxn>
              </a:cxnLst>
              <a:rect l="0" t="0" r="r" b="b"/>
              <a:pathLst>
                <a:path w="64" h="78">
                  <a:moveTo>
                    <a:pt x="36" y="78"/>
                  </a:moveTo>
                  <a:lnTo>
                    <a:pt x="64" y="64"/>
                  </a:lnTo>
                  <a:lnTo>
                    <a:pt x="26" y="0"/>
                  </a:lnTo>
                  <a:lnTo>
                    <a:pt x="0" y="17"/>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7" name="Freeform 11"/>
            <p:cNvSpPr>
              <a:spLocks/>
            </p:cNvSpPr>
            <p:nvPr/>
          </p:nvSpPr>
          <p:spPr bwMode="black">
            <a:xfrm>
              <a:off x="4017963" y="2709863"/>
              <a:ext cx="98425" cy="123825"/>
            </a:xfrm>
            <a:custGeom>
              <a:avLst/>
              <a:gdLst>
                <a:gd name="T0" fmla="*/ 36 w 62"/>
                <a:gd name="T1" fmla="*/ 78 h 78"/>
                <a:gd name="T2" fmla="*/ 62 w 62"/>
                <a:gd name="T3" fmla="*/ 61 h 78"/>
                <a:gd name="T4" fmla="*/ 26 w 62"/>
                <a:gd name="T5" fmla="*/ 0 h 78"/>
                <a:gd name="T6" fmla="*/ 0 w 62"/>
                <a:gd name="T7" fmla="*/ 14 h 78"/>
                <a:gd name="T8" fmla="*/ 36 w 62"/>
                <a:gd name="T9" fmla="*/ 78 h 78"/>
              </a:gdLst>
              <a:ahLst/>
              <a:cxnLst>
                <a:cxn ang="0">
                  <a:pos x="T0" y="T1"/>
                </a:cxn>
                <a:cxn ang="0">
                  <a:pos x="T2" y="T3"/>
                </a:cxn>
                <a:cxn ang="0">
                  <a:pos x="T4" y="T5"/>
                </a:cxn>
                <a:cxn ang="0">
                  <a:pos x="T6" y="T7"/>
                </a:cxn>
                <a:cxn ang="0">
                  <a:pos x="T8" y="T9"/>
                </a:cxn>
              </a:cxnLst>
              <a:rect l="0" t="0" r="r" b="b"/>
              <a:pathLst>
                <a:path w="62" h="78">
                  <a:moveTo>
                    <a:pt x="36" y="78"/>
                  </a:moveTo>
                  <a:lnTo>
                    <a:pt x="62" y="61"/>
                  </a:lnTo>
                  <a:lnTo>
                    <a:pt x="26" y="0"/>
                  </a:lnTo>
                  <a:lnTo>
                    <a:pt x="0" y="14"/>
                  </a:lnTo>
                  <a:lnTo>
                    <a:pt x="3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28" name="Freeform 12"/>
            <p:cNvSpPr>
              <a:spLocks/>
            </p:cNvSpPr>
            <p:nvPr/>
          </p:nvSpPr>
          <p:spPr bwMode="black">
            <a:xfrm>
              <a:off x="4873626" y="2709863"/>
              <a:ext cx="98425" cy="123825"/>
            </a:xfrm>
            <a:custGeom>
              <a:avLst/>
              <a:gdLst>
                <a:gd name="T0" fmla="*/ 26 w 62"/>
                <a:gd name="T1" fmla="*/ 78 h 78"/>
                <a:gd name="T2" fmla="*/ 62 w 62"/>
                <a:gd name="T3" fmla="*/ 14 h 78"/>
                <a:gd name="T4" fmla="*/ 36 w 62"/>
                <a:gd name="T5" fmla="*/ 0 h 78"/>
                <a:gd name="T6" fmla="*/ 0 w 62"/>
                <a:gd name="T7" fmla="*/ 61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4"/>
                  </a:lnTo>
                  <a:lnTo>
                    <a:pt x="36" y="0"/>
                  </a:lnTo>
                  <a:lnTo>
                    <a:pt x="0" y="61"/>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0" name="Freeform 13"/>
            <p:cNvSpPr>
              <a:spLocks/>
            </p:cNvSpPr>
            <p:nvPr/>
          </p:nvSpPr>
          <p:spPr bwMode="black">
            <a:xfrm>
              <a:off x="4989513" y="2506663"/>
              <a:ext cx="98425" cy="123825"/>
            </a:xfrm>
            <a:custGeom>
              <a:avLst/>
              <a:gdLst>
                <a:gd name="T0" fmla="*/ 26 w 62"/>
                <a:gd name="T1" fmla="*/ 78 h 78"/>
                <a:gd name="T2" fmla="*/ 62 w 62"/>
                <a:gd name="T3" fmla="*/ 17 h 78"/>
                <a:gd name="T4" fmla="*/ 36 w 62"/>
                <a:gd name="T5" fmla="*/ 0 h 78"/>
                <a:gd name="T6" fmla="*/ 0 w 62"/>
                <a:gd name="T7" fmla="*/ 64 h 78"/>
                <a:gd name="T8" fmla="*/ 26 w 62"/>
                <a:gd name="T9" fmla="*/ 78 h 78"/>
              </a:gdLst>
              <a:ahLst/>
              <a:cxnLst>
                <a:cxn ang="0">
                  <a:pos x="T0" y="T1"/>
                </a:cxn>
                <a:cxn ang="0">
                  <a:pos x="T2" y="T3"/>
                </a:cxn>
                <a:cxn ang="0">
                  <a:pos x="T4" y="T5"/>
                </a:cxn>
                <a:cxn ang="0">
                  <a:pos x="T6" y="T7"/>
                </a:cxn>
                <a:cxn ang="0">
                  <a:pos x="T8" y="T9"/>
                </a:cxn>
              </a:cxnLst>
              <a:rect l="0" t="0" r="r" b="b"/>
              <a:pathLst>
                <a:path w="62" h="78">
                  <a:moveTo>
                    <a:pt x="26" y="78"/>
                  </a:moveTo>
                  <a:lnTo>
                    <a:pt x="62" y="17"/>
                  </a:lnTo>
                  <a:lnTo>
                    <a:pt x="36" y="0"/>
                  </a:lnTo>
                  <a:lnTo>
                    <a:pt x="0" y="64"/>
                  </a:lnTo>
                  <a:lnTo>
                    <a:pt x="26"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1" name="Freeform 14"/>
            <p:cNvSpPr>
              <a:spLocks/>
            </p:cNvSpPr>
            <p:nvPr/>
          </p:nvSpPr>
          <p:spPr bwMode="black">
            <a:xfrm>
              <a:off x="4017963" y="3990976"/>
              <a:ext cx="98425" cy="123825"/>
            </a:xfrm>
            <a:custGeom>
              <a:avLst/>
              <a:gdLst>
                <a:gd name="T0" fmla="*/ 0 w 62"/>
                <a:gd name="T1" fmla="*/ 64 h 78"/>
                <a:gd name="T2" fmla="*/ 26 w 62"/>
                <a:gd name="T3" fmla="*/ 78 h 78"/>
                <a:gd name="T4" fmla="*/ 62 w 62"/>
                <a:gd name="T5" fmla="*/ 14 h 78"/>
                <a:gd name="T6" fmla="*/ 36 w 62"/>
                <a:gd name="T7" fmla="*/ 0 h 78"/>
                <a:gd name="T8" fmla="*/ 0 w 62"/>
                <a:gd name="T9" fmla="*/ 64 h 78"/>
              </a:gdLst>
              <a:ahLst/>
              <a:cxnLst>
                <a:cxn ang="0">
                  <a:pos x="T0" y="T1"/>
                </a:cxn>
                <a:cxn ang="0">
                  <a:pos x="T2" y="T3"/>
                </a:cxn>
                <a:cxn ang="0">
                  <a:pos x="T4" y="T5"/>
                </a:cxn>
                <a:cxn ang="0">
                  <a:pos x="T6" y="T7"/>
                </a:cxn>
                <a:cxn ang="0">
                  <a:pos x="T8" y="T9"/>
                </a:cxn>
              </a:cxnLst>
              <a:rect l="0" t="0" r="r" b="b"/>
              <a:pathLst>
                <a:path w="62" h="78">
                  <a:moveTo>
                    <a:pt x="0" y="64"/>
                  </a:moveTo>
                  <a:lnTo>
                    <a:pt x="26" y="78"/>
                  </a:lnTo>
                  <a:lnTo>
                    <a:pt x="62" y="14"/>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2" name="Freeform 15"/>
            <p:cNvSpPr>
              <a:spLocks/>
            </p:cNvSpPr>
            <p:nvPr/>
          </p:nvSpPr>
          <p:spPr bwMode="black">
            <a:xfrm>
              <a:off x="3902076" y="4189413"/>
              <a:ext cx="101600" cy="128588"/>
            </a:xfrm>
            <a:custGeom>
              <a:avLst/>
              <a:gdLst>
                <a:gd name="T0" fmla="*/ 0 w 64"/>
                <a:gd name="T1" fmla="*/ 64 h 81"/>
                <a:gd name="T2" fmla="*/ 26 w 64"/>
                <a:gd name="T3" fmla="*/ 81 h 81"/>
                <a:gd name="T4" fmla="*/ 64 w 64"/>
                <a:gd name="T5" fmla="*/ 17 h 81"/>
                <a:gd name="T6" fmla="*/ 36 w 64"/>
                <a:gd name="T7" fmla="*/ 0 h 81"/>
                <a:gd name="T8" fmla="*/ 0 w 64"/>
                <a:gd name="T9" fmla="*/ 64 h 81"/>
              </a:gdLst>
              <a:ahLst/>
              <a:cxnLst>
                <a:cxn ang="0">
                  <a:pos x="T0" y="T1"/>
                </a:cxn>
                <a:cxn ang="0">
                  <a:pos x="T2" y="T3"/>
                </a:cxn>
                <a:cxn ang="0">
                  <a:pos x="T4" y="T5"/>
                </a:cxn>
                <a:cxn ang="0">
                  <a:pos x="T6" y="T7"/>
                </a:cxn>
                <a:cxn ang="0">
                  <a:pos x="T8" y="T9"/>
                </a:cxn>
              </a:cxnLst>
              <a:rect l="0" t="0" r="r" b="b"/>
              <a:pathLst>
                <a:path w="64" h="81">
                  <a:moveTo>
                    <a:pt x="0" y="64"/>
                  </a:moveTo>
                  <a:lnTo>
                    <a:pt x="26" y="81"/>
                  </a:lnTo>
                  <a:lnTo>
                    <a:pt x="64" y="17"/>
                  </a:lnTo>
                  <a:lnTo>
                    <a:pt x="36"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3" name="Freeform 16"/>
            <p:cNvSpPr>
              <a:spLocks/>
            </p:cNvSpPr>
            <p:nvPr/>
          </p:nvSpPr>
          <p:spPr bwMode="black">
            <a:xfrm>
              <a:off x="4989513" y="4189413"/>
              <a:ext cx="98425" cy="128588"/>
            </a:xfrm>
            <a:custGeom>
              <a:avLst/>
              <a:gdLst>
                <a:gd name="T0" fmla="*/ 26 w 62"/>
                <a:gd name="T1" fmla="*/ 0 h 81"/>
                <a:gd name="T2" fmla="*/ 0 w 62"/>
                <a:gd name="T3" fmla="*/ 17 h 81"/>
                <a:gd name="T4" fmla="*/ 36 w 62"/>
                <a:gd name="T5" fmla="*/ 81 h 81"/>
                <a:gd name="T6" fmla="*/ 62 w 62"/>
                <a:gd name="T7" fmla="*/ 64 h 81"/>
                <a:gd name="T8" fmla="*/ 26 w 62"/>
                <a:gd name="T9" fmla="*/ 0 h 81"/>
              </a:gdLst>
              <a:ahLst/>
              <a:cxnLst>
                <a:cxn ang="0">
                  <a:pos x="T0" y="T1"/>
                </a:cxn>
                <a:cxn ang="0">
                  <a:pos x="T2" y="T3"/>
                </a:cxn>
                <a:cxn ang="0">
                  <a:pos x="T4" y="T5"/>
                </a:cxn>
                <a:cxn ang="0">
                  <a:pos x="T6" y="T7"/>
                </a:cxn>
                <a:cxn ang="0">
                  <a:pos x="T8" y="T9"/>
                </a:cxn>
              </a:cxnLst>
              <a:rect l="0" t="0" r="r" b="b"/>
              <a:pathLst>
                <a:path w="62" h="81">
                  <a:moveTo>
                    <a:pt x="26" y="0"/>
                  </a:moveTo>
                  <a:lnTo>
                    <a:pt x="0" y="17"/>
                  </a:lnTo>
                  <a:lnTo>
                    <a:pt x="36" y="81"/>
                  </a:lnTo>
                  <a:lnTo>
                    <a:pt x="62" y="64"/>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4" name="Freeform 17"/>
            <p:cNvSpPr>
              <a:spLocks/>
            </p:cNvSpPr>
            <p:nvPr/>
          </p:nvSpPr>
          <p:spPr bwMode="black">
            <a:xfrm>
              <a:off x="4873626" y="3990976"/>
              <a:ext cx="98425" cy="123825"/>
            </a:xfrm>
            <a:custGeom>
              <a:avLst/>
              <a:gdLst>
                <a:gd name="T0" fmla="*/ 0 w 62"/>
                <a:gd name="T1" fmla="*/ 14 h 78"/>
                <a:gd name="T2" fmla="*/ 36 w 62"/>
                <a:gd name="T3" fmla="*/ 78 h 78"/>
                <a:gd name="T4" fmla="*/ 62 w 62"/>
                <a:gd name="T5" fmla="*/ 64 h 78"/>
                <a:gd name="T6" fmla="*/ 26 w 62"/>
                <a:gd name="T7" fmla="*/ 0 h 78"/>
                <a:gd name="T8" fmla="*/ 0 w 62"/>
                <a:gd name="T9" fmla="*/ 14 h 78"/>
              </a:gdLst>
              <a:ahLst/>
              <a:cxnLst>
                <a:cxn ang="0">
                  <a:pos x="T0" y="T1"/>
                </a:cxn>
                <a:cxn ang="0">
                  <a:pos x="T2" y="T3"/>
                </a:cxn>
                <a:cxn ang="0">
                  <a:pos x="T4" y="T5"/>
                </a:cxn>
                <a:cxn ang="0">
                  <a:pos x="T6" y="T7"/>
                </a:cxn>
                <a:cxn ang="0">
                  <a:pos x="T8" y="T9"/>
                </a:cxn>
              </a:cxnLst>
              <a:rect l="0" t="0" r="r" b="b"/>
              <a:pathLst>
                <a:path w="62" h="78">
                  <a:moveTo>
                    <a:pt x="0" y="14"/>
                  </a:moveTo>
                  <a:lnTo>
                    <a:pt x="36" y="78"/>
                  </a:lnTo>
                  <a:lnTo>
                    <a:pt x="62" y="6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5" name="Freeform 18"/>
            <p:cNvSpPr>
              <a:spLocks/>
            </p:cNvSpPr>
            <p:nvPr/>
          </p:nvSpPr>
          <p:spPr bwMode="black">
            <a:xfrm>
              <a:off x="3579813" y="2892426"/>
              <a:ext cx="1833563" cy="1068388"/>
            </a:xfrm>
            <a:custGeom>
              <a:avLst/>
              <a:gdLst>
                <a:gd name="T0" fmla="*/ 415 w 489"/>
                <a:gd name="T1" fmla="*/ 222 h 285"/>
                <a:gd name="T2" fmla="*/ 489 w 489"/>
                <a:gd name="T3" fmla="*/ 148 h 285"/>
                <a:gd name="T4" fmla="*/ 415 w 489"/>
                <a:gd name="T5" fmla="*/ 74 h 285"/>
                <a:gd name="T6" fmla="*/ 404 w 489"/>
                <a:gd name="T7" fmla="*/ 75 h 285"/>
                <a:gd name="T8" fmla="*/ 295 w 489"/>
                <a:gd name="T9" fmla="*/ 0 h 285"/>
                <a:gd name="T10" fmla="*/ 213 w 489"/>
                <a:gd name="T11" fmla="*/ 34 h 285"/>
                <a:gd name="T12" fmla="*/ 162 w 489"/>
                <a:gd name="T13" fmla="*/ 18 h 285"/>
                <a:gd name="T14" fmla="*/ 71 w 489"/>
                <a:gd name="T15" fmla="*/ 97 h 285"/>
                <a:gd name="T16" fmla="*/ 56 w 489"/>
                <a:gd name="T17" fmla="*/ 95 h 285"/>
                <a:gd name="T18" fmla="*/ 0 w 489"/>
                <a:gd name="T19" fmla="*/ 151 h 285"/>
                <a:gd name="T20" fmla="*/ 56 w 489"/>
                <a:gd name="T21" fmla="*/ 208 h 285"/>
                <a:gd name="T22" fmla="*/ 78 w 489"/>
                <a:gd name="T23" fmla="*/ 203 h 285"/>
                <a:gd name="T24" fmla="*/ 141 w 489"/>
                <a:gd name="T25" fmla="*/ 257 h 285"/>
                <a:gd name="T26" fmla="*/ 178 w 489"/>
                <a:gd name="T27" fmla="*/ 244 h 285"/>
                <a:gd name="T28" fmla="*/ 241 w 489"/>
                <a:gd name="T29" fmla="*/ 285 h 285"/>
                <a:gd name="T30" fmla="*/ 297 w 489"/>
                <a:gd name="T31" fmla="*/ 255 h 285"/>
                <a:gd name="T32" fmla="*/ 332 w 489"/>
                <a:gd name="T33" fmla="*/ 267 h 285"/>
                <a:gd name="T34" fmla="*/ 390 w 489"/>
                <a:gd name="T35" fmla="*/ 217 h 285"/>
                <a:gd name="T36" fmla="*/ 415 w 489"/>
                <a:gd name="T37" fmla="*/ 22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9" h="285">
                  <a:moveTo>
                    <a:pt x="415" y="222"/>
                  </a:moveTo>
                  <a:cubicBezTo>
                    <a:pt x="456" y="222"/>
                    <a:pt x="489" y="189"/>
                    <a:pt x="489" y="148"/>
                  </a:cubicBezTo>
                  <a:cubicBezTo>
                    <a:pt x="489" y="107"/>
                    <a:pt x="456" y="74"/>
                    <a:pt x="415" y="74"/>
                  </a:cubicBezTo>
                  <a:cubicBezTo>
                    <a:pt x="411" y="74"/>
                    <a:pt x="407" y="74"/>
                    <a:pt x="404" y="75"/>
                  </a:cubicBezTo>
                  <a:cubicBezTo>
                    <a:pt x="387" y="31"/>
                    <a:pt x="345" y="0"/>
                    <a:pt x="295" y="0"/>
                  </a:cubicBezTo>
                  <a:cubicBezTo>
                    <a:pt x="263" y="0"/>
                    <a:pt x="234" y="13"/>
                    <a:pt x="213" y="34"/>
                  </a:cubicBezTo>
                  <a:cubicBezTo>
                    <a:pt x="199" y="24"/>
                    <a:pt x="181" y="18"/>
                    <a:pt x="162" y="18"/>
                  </a:cubicBezTo>
                  <a:cubicBezTo>
                    <a:pt x="115" y="18"/>
                    <a:pt x="77" y="52"/>
                    <a:pt x="71" y="97"/>
                  </a:cubicBezTo>
                  <a:cubicBezTo>
                    <a:pt x="66" y="96"/>
                    <a:pt x="61" y="95"/>
                    <a:pt x="56" y="95"/>
                  </a:cubicBezTo>
                  <a:cubicBezTo>
                    <a:pt x="25" y="95"/>
                    <a:pt x="0" y="120"/>
                    <a:pt x="0" y="151"/>
                  </a:cubicBezTo>
                  <a:cubicBezTo>
                    <a:pt x="0" y="182"/>
                    <a:pt x="25" y="208"/>
                    <a:pt x="56" y="208"/>
                  </a:cubicBezTo>
                  <a:cubicBezTo>
                    <a:pt x="64" y="208"/>
                    <a:pt x="71" y="206"/>
                    <a:pt x="78" y="203"/>
                  </a:cubicBezTo>
                  <a:cubicBezTo>
                    <a:pt x="83" y="234"/>
                    <a:pt x="109" y="257"/>
                    <a:pt x="141" y="257"/>
                  </a:cubicBezTo>
                  <a:cubicBezTo>
                    <a:pt x="155" y="257"/>
                    <a:pt x="168" y="252"/>
                    <a:pt x="178" y="244"/>
                  </a:cubicBezTo>
                  <a:cubicBezTo>
                    <a:pt x="189" y="268"/>
                    <a:pt x="213" y="285"/>
                    <a:pt x="241" y="285"/>
                  </a:cubicBezTo>
                  <a:cubicBezTo>
                    <a:pt x="264" y="285"/>
                    <a:pt x="285" y="273"/>
                    <a:pt x="297" y="255"/>
                  </a:cubicBezTo>
                  <a:cubicBezTo>
                    <a:pt x="307" y="263"/>
                    <a:pt x="319" y="267"/>
                    <a:pt x="332" y="267"/>
                  </a:cubicBezTo>
                  <a:cubicBezTo>
                    <a:pt x="361" y="267"/>
                    <a:pt x="386" y="246"/>
                    <a:pt x="390" y="217"/>
                  </a:cubicBezTo>
                  <a:cubicBezTo>
                    <a:pt x="397" y="220"/>
                    <a:pt x="406" y="222"/>
                    <a:pt x="415" y="2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6" name="Freeform 19"/>
            <p:cNvSpPr>
              <a:spLocks noEditPoints="1"/>
            </p:cNvSpPr>
            <p:nvPr/>
          </p:nvSpPr>
          <p:spPr bwMode="black">
            <a:xfrm>
              <a:off x="3321051" y="1598613"/>
              <a:ext cx="750888" cy="522288"/>
            </a:xfrm>
            <a:custGeom>
              <a:avLst/>
              <a:gdLst>
                <a:gd name="T0" fmla="*/ 174 w 200"/>
                <a:gd name="T1" fmla="*/ 0 h 139"/>
                <a:gd name="T2" fmla="*/ 26 w 200"/>
                <a:gd name="T3" fmla="*/ 0 h 139"/>
                <a:gd name="T4" fmla="*/ 0 w 200"/>
                <a:gd name="T5" fmla="*/ 27 h 139"/>
                <a:gd name="T6" fmla="*/ 0 w 200"/>
                <a:gd name="T7" fmla="*/ 113 h 139"/>
                <a:gd name="T8" fmla="*/ 26 w 200"/>
                <a:gd name="T9" fmla="*/ 139 h 139"/>
                <a:gd name="T10" fmla="*/ 174 w 200"/>
                <a:gd name="T11" fmla="*/ 139 h 139"/>
                <a:gd name="T12" fmla="*/ 200 w 200"/>
                <a:gd name="T13" fmla="*/ 113 h 139"/>
                <a:gd name="T14" fmla="*/ 200 w 200"/>
                <a:gd name="T15" fmla="*/ 27 h 139"/>
                <a:gd name="T16" fmla="*/ 174 w 200"/>
                <a:gd name="T17" fmla="*/ 0 h 139"/>
                <a:gd name="T18" fmla="*/ 185 w 200"/>
                <a:gd name="T19" fmla="*/ 113 h 139"/>
                <a:gd name="T20" fmla="*/ 174 w 200"/>
                <a:gd name="T21" fmla="*/ 124 h 139"/>
                <a:gd name="T22" fmla="*/ 26 w 200"/>
                <a:gd name="T23" fmla="*/ 124 h 139"/>
                <a:gd name="T24" fmla="*/ 15 w 200"/>
                <a:gd name="T25" fmla="*/ 113 h 139"/>
                <a:gd name="T26" fmla="*/ 15 w 200"/>
                <a:gd name="T27" fmla="*/ 27 h 139"/>
                <a:gd name="T28" fmla="*/ 26 w 200"/>
                <a:gd name="T29" fmla="*/ 16 h 139"/>
                <a:gd name="T30" fmla="*/ 174 w 200"/>
                <a:gd name="T31" fmla="*/ 16 h 139"/>
                <a:gd name="T32" fmla="*/ 185 w 200"/>
                <a:gd name="T33" fmla="*/ 27 h 139"/>
                <a:gd name="T34" fmla="*/ 185 w 200"/>
                <a:gd name="T35" fmla="*/ 11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139">
                  <a:moveTo>
                    <a:pt x="174" y="0"/>
                  </a:moveTo>
                  <a:cubicBezTo>
                    <a:pt x="26" y="0"/>
                    <a:pt x="26" y="0"/>
                    <a:pt x="26" y="0"/>
                  </a:cubicBezTo>
                  <a:cubicBezTo>
                    <a:pt x="12" y="0"/>
                    <a:pt x="0" y="12"/>
                    <a:pt x="0" y="27"/>
                  </a:cubicBezTo>
                  <a:cubicBezTo>
                    <a:pt x="0" y="113"/>
                    <a:pt x="0" y="113"/>
                    <a:pt x="0" y="113"/>
                  </a:cubicBezTo>
                  <a:cubicBezTo>
                    <a:pt x="0" y="127"/>
                    <a:pt x="12" y="139"/>
                    <a:pt x="26" y="139"/>
                  </a:cubicBezTo>
                  <a:cubicBezTo>
                    <a:pt x="174" y="139"/>
                    <a:pt x="174" y="139"/>
                    <a:pt x="174" y="139"/>
                  </a:cubicBezTo>
                  <a:cubicBezTo>
                    <a:pt x="188" y="139"/>
                    <a:pt x="200" y="127"/>
                    <a:pt x="200" y="113"/>
                  </a:cubicBezTo>
                  <a:cubicBezTo>
                    <a:pt x="200" y="27"/>
                    <a:pt x="200" y="27"/>
                    <a:pt x="200" y="27"/>
                  </a:cubicBezTo>
                  <a:cubicBezTo>
                    <a:pt x="200" y="12"/>
                    <a:pt x="188" y="0"/>
                    <a:pt x="174" y="0"/>
                  </a:cubicBezTo>
                  <a:moveTo>
                    <a:pt x="185" y="113"/>
                  </a:moveTo>
                  <a:cubicBezTo>
                    <a:pt x="185" y="119"/>
                    <a:pt x="180" y="124"/>
                    <a:pt x="174" y="124"/>
                  </a:cubicBezTo>
                  <a:cubicBezTo>
                    <a:pt x="26" y="124"/>
                    <a:pt x="26" y="124"/>
                    <a:pt x="26" y="124"/>
                  </a:cubicBezTo>
                  <a:cubicBezTo>
                    <a:pt x="20" y="124"/>
                    <a:pt x="15" y="119"/>
                    <a:pt x="15" y="113"/>
                  </a:cubicBezTo>
                  <a:cubicBezTo>
                    <a:pt x="15" y="27"/>
                    <a:pt x="15" y="27"/>
                    <a:pt x="15" y="27"/>
                  </a:cubicBezTo>
                  <a:cubicBezTo>
                    <a:pt x="15" y="21"/>
                    <a:pt x="20" y="16"/>
                    <a:pt x="26" y="16"/>
                  </a:cubicBezTo>
                  <a:cubicBezTo>
                    <a:pt x="174" y="16"/>
                    <a:pt x="174" y="16"/>
                    <a:pt x="174" y="16"/>
                  </a:cubicBezTo>
                  <a:cubicBezTo>
                    <a:pt x="180" y="16"/>
                    <a:pt x="185" y="21"/>
                    <a:pt x="185" y="27"/>
                  </a:cubicBezTo>
                  <a:lnTo>
                    <a:pt x="185"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7" name="Freeform 20"/>
            <p:cNvSpPr>
              <a:spLocks/>
            </p:cNvSpPr>
            <p:nvPr/>
          </p:nvSpPr>
          <p:spPr bwMode="black">
            <a:xfrm>
              <a:off x="3178176" y="2154238"/>
              <a:ext cx="1035050" cy="239713"/>
            </a:xfrm>
            <a:custGeom>
              <a:avLst/>
              <a:gdLst>
                <a:gd name="T0" fmla="*/ 7 w 276"/>
                <a:gd name="T1" fmla="*/ 64 h 64"/>
                <a:gd name="T2" fmla="*/ 269 w 276"/>
                <a:gd name="T3" fmla="*/ 64 h 64"/>
                <a:gd name="T4" fmla="*/ 276 w 276"/>
                <a:gd name="T5" fmla="*/ 57 h 64"/>
                <a:gd name="T6" fmla="*/ 276 w 276"/>
                <a:gd name="T7" fmla="*/ 54 h 64"/>
                <a:gd name="T8" fmla="*/ 272 w 276"/>
                <a:gd name="T9" fmla="*/ 42 h 64"/>
                <a:gd name="T10" fmla="*/ 240 w 276"/>
                <a:gd name="T11" fmla="*/ 5 h 64"/>
                <a:gd name="T12" fmla="*/ 229 w 276"/>
                <a:gd name="T13" fmla="*/ 0 h 64"/>
                <a:gd name="T14" fmla="*/ 47 w 276"/>
                <a:gd name="T15" fmla="*/ 0 h 64"/>
                <a:gd name="T16" fmla="*/ 36 w 276"/>
                <a:gd name="T17" fmla="*/ 5 h 64"/>
                <a:gd name="T18" fmla="*/ 4 w 276"/>
                <a:gd name="T19" fmla="*/ 42 h 64"/>
                <a:gd name="T20" fmla="*/ 0 w 276"/>
                <a:gd name="T21" fmla="*/ 54 h 64"/>
                <a:gd name="T22" fmla="*/ 0 w 276"/>
                <a:gd name="T23" fmla="*/ 57 h 64"/>
                <a:gd name="T24" fmla="*/ 7 w 27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6" h="64">
                  <a:moveTo>
                    <a:pt x="7" y="64"/>
                  </a:moveTo>
                  <a:cubicBezTo>
                    <a:pt x="269" y="64"/>
                    <a:pt x="269" y="64"/>
                    <a:pt x="269" y="64"/>
                  </a:cubicBezTo>
                  <a:cubicBezTo>
                    <a:pt x="273" y="64"/>
                    <a:pt x="276" y="61"/>
                    <a:pt x="276" y="57"/>
                  </a:cubicBezTo>
                  <a:cubicBezTo>
                    <a:pt x="276" y="54"/>
                    <a:pt x="276" y="54"/>
                    <a:pt x="276" y="54"/>
                  </a:cubicBezTo>
                  <a:cubicBezTo>
                    <a:pt x="276" y="50"/>
                    <a:pt x="274" y="45"/>
                    <a:pt x="272" y="42"/>
                  </a:cubicBezTo>
                  <a:cubicBezTo>
                    <a:pt x="240" y="5"/>
                    <a:pt x="240" y="5"/>
                    <a:pt x="240" y="5"/>
                  </a:cubicBezTo>
                  <a:cubicBezTo>
                    <a:pt x="238" y="2"/>
                    <a:pt x="233" y="0"/>
                    <a:pt x="229" y="0"/>
                  </a:cubicBezTo>
                  <a:cubicBezTo>
                    <a:pt x="47" y="0"/>
                    <a:pt x="47" y="0"/>
                    <a:pt x="47" y="0"/>
                  </a:cubicBezTo>
                  <a:cubicBezTo>
                    <a:pt x="43" y="0"/>
                    <a:pt x="38" y="2"/>
                    <a:pt x="36" y="5"/>
                  </a:cubicBezTo>
                  <a:cubicBezTo>
                    <a:pt x="4" y="42"/>
                    <a:pt x="4" y="42"/>
                    <a:pt x="4" y="42"/>
                  </a:cubicBezTo>
                  <a:cubicBezTo>
                    <a:pt x="2" y="45"/>
                    <a:pt x="0" y="50"/>
                    <a:pt x="0" y="54"/>
                  </a:cubicBezTo>
                  <a:cubicBezTo>
                    <a:pt x="0" y="57"/>
                    <a:pt x="0" y="57"/>
                    <a:pt x="0" y="57"/>
                  </a:cubicBezTo>
                  <a:cubicBezTo>
                    <a:pt x="0" y="61"/>
                    <a:pt x="3" y="64"/>
                    <a:pt x="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8" name="Freeform 21"/>
            <p:cNvSpPr>
              <a:spLocks noEditPoints="1"/>
            </p:cNvSpPr>
            <p:nvPr/>
          </p:nvSpPr>
          <p:spPr bwMode="black">
            <a:xfrm>
              <a:off x="4730751" y="1639888"/>
              <a:ext cx="781050" cy="608013"/>
            </a:xfrm>
            <a:custGeom>
              <a:avLst/>
              <a:gdLst>
                <a:gd name="T0" fmla="*/ 177 w 208"/>
                <a:gd name="T1" fmla="*/ 0 h 162"/>
                <a:gd name="T2" fmla="*/ 31 w 208"/>
                <a:gd name="T3" fmla="*/ 0 h 162"/>
                <a:gd name="T4" fmla="*/ 0 w 208"/>
                <a:gd name="T5" fmla="*/ 31 h 162"/>
                <a:gd name="T6" fmla="*/ 0 w 208"/>
                <a:gd name="T7" fmla="*/ 131 h 162"/>
                <a:gd name="T8" fmla="*/ 31 w 208"/>
                <a:gd name="T9" fmla="*/ 162 h 162"/>
                <a:gd name="T10" fmla="*/ 177 w 208"/>
                <a:gd name="T11" fmla="*/ 162 h 162"/>
                <a:gd name="T12" fmla="*/ 208 w 208"/>
                <a:gd name="T13" fmla="*/ 131 h 162"/>
                <a:gd name="T14" fmla="*/ 208 w 208"/>
                <a:gd name="T15" fmla="*/ 31 h 162"/>
                <a:gd name="T16" fmla="*/ 177 w 208"/>
                <a:gd name="T17" fmla="*/ 0 h 162"/>
                <a:gd name="T18" fmla="*/ 190 w 208"/>
                <a:gd name="T19" fmla="*/ 131 h 162"/>
                <a:gd name="T20" fmla="*/ 177 w 208"/>
                <a:gd name="T21" fmla="*/ 144 h 162"/>
                <a:gd name="T22" fmla="*/ 31 w 208"/>
                <a:gd name="T23" fmla="*/ 144 h 162"/>
                <a:gd name="T24" fmla="*/ 18 w 208"/>
                <a:gd name="T25" fmla="*/ 131 h 162"/>
                <a:gd name="T26" fmla="*/ 18 w 208"/>
                <a:gd name="T27" fmla="*/ 31 h 162"/>
                <a:gd name="T28" fmla="*/ 31 w 208"/>
                <a:gd name="T29" fmla="*/ 18 h 162"/>
                <a:gd name="T30" fmla="*/ 177 w 208"/>
                <a:gd name="T31" fmla="*/ 18 h 162"/>
                <a:gd name="T32" fmla="*/ 190 w 208"/>
                <a:gd name="T33" fmla="*/ 31 h 162"/>
                <a:gd name="T34" fmla="*/ 190 w 208"/>
                <a:gd name="T35" fmla="*/ 13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62">
                  <a:moveTo>
                    <a:pt x="177" y="0"/>
                  </a:moveTo>
                  <a:cubicBezTo>
                    <a:pt x="31" y="0"/>
                    <a:pt x="31" y="0"/>
                    <a:pt x="31" y="0"/>
                  </a:cubicBezTo>
                  <a:cubicBezTo>
                    <a:pt x="14" y="0"/>
                    <a:pt x="0" y="14"/>
                    <a:pt x="0" y="31"/>
                  </a:cubicBezTo>
                  <a:cubicBezTo>
                    <a:pt x="0" y="131"/>
                    <a:pt x="0" y="131"/>
                    <a:pt x="0" y="131"/>
                  </a:cubicBezTo>
                  <a:cubicBezTo>
                    <a:pt x="0" y="148"/>
                    <a:pt x="14" y="162"/>
                    <a:pt x="31" y="162"/>
                  </a:cubicBezTo>
                  <a:cubicBezTo>
                    <a:pt x="177" y="162"/>
                    <a:pt x="177" y="162"/>
                    <a:pt x="177" y="162"/>
                  </a:cubicBezTo>
                  <a:cubicBezTo>
                    <a:pt x="194" y="162"/>
                    <a:pt x="208" y="148"/>
                    <a:pt x="208" y="131"/>
                  </a:cubicBezTo>
                  <a:cubicBezTo>
                    <a:pt x="208" y="31"/>
                    <a:pt x="208" y="31"/>
                    <a:pt x="208" y="31"/>
                  </a:cubicBezTo>
                  <a:cubicBezTo>
                    <a:pt x="208" y="14"/>
                    <a:pt x="194" y="0"/>
                    <a:pt x="177" y="0"/>
                  </a:cubicBezTo>
                  <a:moveTo>
                    <a:pt x="190" y="131"/>
                  </a:moveTo>
                  <a:cubicBezTo>
                    <a:pt x="190" y="138"/>
                    <a:pt x="184" y="144"/>
                    <a:pt x="177" y="144"/>
                  </a:cubicBezTo>
                  <a:cubicBezTo>
                    <a:pt x="31" y="144"/>
                    <a:pt x="31" y="144"/>
                    <a:pt x="31" y="144"/>
                  </a:cubicBezTo>
                  <a:cubicBezTo>
                    <a:pt x="24" y="144"/>
                    <a:pt x="18" y="138"/>
                    <a:pt x="18" y="131"/>
                  </a:cubicBezTo>
                  <a:cubicBezTo>
                    <a:pt x="18" y="31"/>
                    <a:pt x="18" y="31"/>
                    <a:pt x="18" y="31"/>
                  </a:cubicBezTo>
                  <a:cubicBezTo>
                    <a:pt x="18" y="24"/>
                    <a:pt x="24" y="18"/>
                    <a:pt x="31" y="18"/>
                  </a:cubicBezTo>
                  <a:cubicBezTo>
                    <a:pt x="177" y="18"/>
                    <a:pt x="177" y="18"/>
                    <a:pt x="177" y="18"/>
                  </a:cubicBezTo>
                  <a:cubicBezTo>
                    <a:pt x="184" y="18"/>
                    <a:pt x="190" y="24"/>
                    <a:pt x="190" y="31"/>
                  </a:cubicBezTo>
                  <a:lnTo>
                    <a:pt x="19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39" name="Freeform 22"/>
            <p:cNvSpPr>
              <a:spLocks/>
            </p:cNvSpPr>
            <p:nvPr/>
          </p:nvSpPr>
          <p:spPr bwMode="black">
            <a:xfrm>
              <a:off x="4911726" y="2289176"/>
              <a:ext cx="419100" cy="104775"/>
            </a:xfrm>
            <a:custGeom>
              <a:avLst/>
              <a:gdLst>
                <a:gd name="T0" fmla="*/ 112 w 112"/>
                <a:gd name="T1" fmla="*/ 25 h 28"/>
                <a:gd name="T2" fmla="*/ 112 w 112"/>
                <a:gd name="T3" fmla="*/ 23 h 28"/>
                <a:gd name="T4" fmla="*/ 110 w 112"/>
                <a:gd name="T5" fmla="*/ 18 h 28"/>
                <a:gd name="T6" fmla="*/ 96 w 112"/>
                <a:gd name="T7" fmla="*/ 2 h 28"/>
                <a:gd name="T8" fmla="*/ 91 w 112"/>
                <a:gd name="T9" fmla="*/ 0 h 28"/>
                <a:gd name="T10" fmla="*/ 21 w 112"/>
                <a:gd name="T11" fmla="*/ 0 h 28"/>
                <a:gd name="T12" fmla="*/ 16 w 112"/>
                <a:gd name="T13" fmla="*/ 2 h 28"/>
                <a:gd name="T14" fmla="*/ 2 w 112"/>
                <a:gd name="T15" fmla="*/ 18 h 28"/>
                <a:gd name="T16" fmla="*/ 0 w 112"/>
                <a:gd name="T17" fmla="*/ 23 h 28"/>
                <a:gd name="T18" fmla="*/ 0 w 112"/>
                <a:gd name="T19" fmla="*/ 25 h 28"/>
                <a:gd name="T20" fmla="*/ 3 w 112"/>
                <a:gd name="T21" fmla="*/ 28 h 28"/>
                <a:gd name="T22" fmla="*/ 109 w 112"/>
                <a:gd name="T23" fmla="*/ 28 h 28"/>
                <a:gd name="T24" fmla="*/ 112 w 112"/>
                <a:gd name="T25"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28">
                  <a:moveTo>
                    <a:pt x="112" y="25"/>
                  </a:moveTo>
                  <a:cubicBezTo>
                    <a:pt x="112" y="23"/>
                    <a:pt x="112" y="23"/>
                    <a:pt x="112" y="23"/>
                  </a:cubicBezTo>
                  <a:cubicBezTo>
                    <a:pt x="112" y="22"/>
                    <a:pt x="111" y="20"/>
                    <a:pt x="110" y="18"/>
                  </a:cubicBezTo>
                  <a:cubicBezTo>
                    <a:pt x="96" y="2"/>
                    <a:pt x="96" y="2"/>
                    <a:pt x="96" y="2"/>
                  </a:cubicBezTo>
                  <a:cubicBezTo>
                    <a:pt x="95" y="1"/>
                    <a:pt x="93" y="0"/>
                    <a:pt x="91" y="0"/>
                  </a:cubicBezTo>
                  <a:cubicBezTo>
                    <a:pt x="21" y="0"/>
                    <a:pt x="21" y="0"/>
                    <a:pt x="21" y="0"/>
                  </a:cubicBezTo>
                  <a:cubicBezTo>
                    <a:pt x="19" y="0"/>
                    <a:pt x="17" y="1"/>
                    <a:pt x="16" y="2"/>
                  </a:cubicBezTo>
                  <a:cubicBezTo>
                    <a:pt x="2" y="18"/>
                    <a:pt x="2" y="18"/>
                    <a:pt x="2" y="18"/>
                  </a:cubicBezTo>
                  <a:cubicBezTo>
                    <a:pt x="1" y="20"/>
                    <a:pt x="0" y="22"/>
                    <a:pt x="0" y="23"/>
                  </a:cubicBezTo>
                  <a:cubicBezTo>
                    <a:pt x="0" y="25"/>
                    <a:pt x="0" y="25"/>
                    <a:pt x="0" y="25"/>
                  </a:cubicBezTo>
                  <a:cubicBezTo>
                    <a:pt x="0" y="26"/>
                    <a:pt x="1" y="28"/>
                    <a:pt x="3" y="28"/>
                  </a:cubicBezTo>
                  <a:cubicBezTo>
                    <a:pt x="109" y="28"/>
                    <a:pt x="109" y="28"/>
                    <a:pt x="109" y="28"/>
                  </a:cubicBezTo>
                  <a:cubicBezTo>
                    <a:pt x="111" y="28"/>
                    <a:pt x="112" y="26"/>
                    <a:pt x="112"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0" name="Freeform 23"/>
            <p:cNvSpPr>
              <a:spLocks noEditPoints="1"/>
            </p:cNvSpPr>
            <p:nvPr/>
          </p:nvSpPr>
          <p:spPr bwMode="black">
            <a:xfrm>
              <a:off x="5586413" y="1639888"/>
              <a:ext cx="385763" cy="754063"/>
            </a:xfrm>
            <a:custGeom>
              <a:avLst/>
              <a:gdLst>
                <a:gd name="T0" fmla="*/ 89 w 103"/>
                <a:gd name="T1" fmla="*/ 0 h 201"/>
                <a:gd name="T2" fmla="*/ 13 w 103"/>
                <a:gd name="T3" fmla="*/ 0 h 201"/>
                <a:gd name="T4" fmla="*/ 0 w 103"/>
                <a:gd name="T5" fmla="*/ 13 h 201"/>
                <a:gd name="T6" fmla="*/ 0 w 103"/>
                <a:gd name="T7" fmla="*/ 187 h 201"/>
                <a:gd name="T8" fmla="*/ 13 w 103"/>
                <a:gd name="T9" fmla="*/ 201 h 201"/>
                <a:gd name="T10" fmla="*/ 89 w 103"/>
                <a:gd name="T11" fmla="*/ 201 h 201"/>
                <a:gd name="T12" fmla="*/ 103 w 103"/>
                <a:gd name="T13" fmla="*/ 187 h 201"/>
                <a:gd name="T14" fmla="*/ 103 w 103"/>
                <a:gd name="T15" fmla="*/ 13 h 201"/>
                <a:gd name="T16" fmla="*/ 89 w 103"/>
                <a:gd name="T17" fmla="*/ 0 h 201"/>
                <a:gd name="T18" fmla="*/ 52 w 103"/>
                <a:gd name="T19" fmla="*/ 187 h 201"/>
                <a:gd name="T20" fmla="*/ 40 w 103"/>
                <a:gd name="T21" fmla="*/ 175 h 201"/>
                <a:gd name="T22" fmla="*/ 52 w 103"/>
                <a:gd name="T23" fmla="*/ 163 h 201"/>
                <a:gd name="T24" fmla="*/ 63 w 103"/>
                <a:gd name="T25" fmla="*/ 175 h 201"/>
                <a:gd name="T26" fmla="*/ 52 w 103"/>
                <a:gd name="T27" fmla="*/ 18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201">
                  <a:moveTo>
                    <a:pt x="89" y="0"/>
                  </a:moveTo>
                  <a:cubicBezTo>
                    <a:pt x="13" y="0"/>
                    <a:pt x="13" y="0"/>
                    <a:pt x="13" y="0"/>
                  </a:cubicBezTo>
                  <a:cubicBezTo>
                    <a:pt x="6" y="0"/>
                    <a:pt x="0" y="6"/>
                    <a:pt x="0" y="13"/>
                  </a:cubicBezTo>
                  <a:cubicBezTo>
                    <a:pt x="0" y="187"/>
                    <a:pt x="0" y="187"/>
                    <a:pt x="0" y="187"/>
                  </a:cubicBezTo>
                  <a:cubicBezTo>
                    <a:pt x="0" y="195"/>
                    <a:pt x="6" y="201"/>
                    <a:pt x="13" y="201"/>
                  </a:cubicBezTo>
                  <a:cubicBezTo>
                    <a:pt x="89" y="201"/>
                    <a:pt x="89" y="201"/>
                    <a:pt x="89" y="201"/>
                  </a:cubicBezTo>
                  <a:cubicBezTo>
                    <a:pt x="97" y="201"/>
                    <a:pt x="103" y="195"/>
                    <a:pt x="103" y="187"/>
                  </a:cubicBezTo>
                  <a:cubicBezTo>
                    <a:pt x="103" y="13"/>
                    <a:pt x="103" y="13"/>
                    <a:pt x="103" y="13"/>
                  </a:cubicBezTo>
                  <a:cubicBezTo>
                    <a:pt x="103" y="6"/>
                    <a:pt x="97" y="0"/>
                    <a:pt x="89" y="0"/>
                  </a:cubicBezTo>
                  <a:moveTo>
                    <a:pt x="52" y="187"/>
                  </a:moveTo>
                  <a:cubicBezTo>
                    <a:pt x="45" y="187"/>
                    <a:pt x="40" y="181"/>
                    <a:pt x="40" y="175"/>
                  </a:cubicBezTo>
                  <a:cubicBezTo>
                    <a:pt x="40" y="168"/>
                    <a:pt x="45" y="163"/>
                    <a:pt x="52" y="163"/>
                  </a:cubicBezTo>
                  <a:cubicBezTo>
                    <a:pt x="58" y="163"/>
                    <a:pt x="63" y="168"/>
                    <a:pt x="63" y="175"/>
                  </a:cubicBezTo>
                  <a:cubicBezTo>
                    <a:pt x="63" y="181"/>
                    <a:pt x="58" y="187"/>
                    <a:pt x="5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1" name="Freeform 24"/>
            <p:cNvSpPr>
              <a:spLocks noEditPoints="1"/>
            </p:cNvSpPr>
            <p:nvPr/>
          </p:nvSpPr>
          <p:spPr bwMode="black">
            <a:xfrm>
              <a:off x="2462213" y="3032126"/>
              <a:ext cx="525463" cy="804863"/>
            </a:xfrm>
            <a:custGeom>
              <a:avLst/>
              <a:gdLst>
                <a:gd name="T0" fmla="*/ 109 w 140"/>
                <a:gd name="T1" fmla="*/ 0 h 215"/>
                <a:gd name="T2" fmla="*/ 31 w 140"/>
                <a:gd name="T3" fmla="*/ 0 h 215"/>
                <a:gd name="T4" fmla="*/ 0 w 140"/>
                <a:gd name="T5" fmla="*/ 30 h 215"/>
                <a:gd name="T6" fmla="*/ 0 w 140"/>
                <a:gd name="T7" fmla="*/ 184 h 215"/>
                <a:gd name="T8" fmla="*/ 31 w 140"/>
                <a:gd name="T9" fmla="*/ 215 h 215"/>
                <a:gd name="T10" fmla="*/ 109 w 140"/>
                <a:gd name="T11" fmla="*/ 215 h 215"/>
                <a:gd name="T12" fmla="*/ 140 w 140"/>
                <a:gd name="T13" fmla="*/ 184 h 215"/>
                <a:gd name="T14" fmla="*/ 140 w 140"/>
                <a:gd name="T15" fmla="*/ 30 h 215"/>
                <a:gd name="T16" fmla="*/ 109 w 140"/>
                <a:gd name="T17" fmla="*/ 0 h 215"/>
                <a:gd name="T18" fmla="*/ 122 w 140"/>
                <a:gd name="T19" fmla="*/ 177 h 215"/>
                <a:gd name="T20" fmla="*/ 109 w 140"/>
                <a:gd name="T21" fmla="*/ 195 h 215"/>
                <a:gd name="T22" fmla="*/ 31 w 140"/>
                <a:gd name="T23" fmla="*/ 195 h 215"/>
                <a:gd name="T24" fmla="*/ 18 w 140"/>
                <a:gd name="T25" fmla="*/ 177 h 215"/>
                <a:gd name="T26" fmla="*/ 18 w 140"/>
                <a:gd name="T27" fmla="*/ 35 h 215"/>
                <a:gd name="T28" fmla="*/ 31 w 140"/>
                <a:gd name="T29" fmla="*/ 18 h 215"/>
                <a:gd name="T30" fmla="*/ 109 w 140"/>
                <a:gd name="T31" fmla="*/ 18 h 215"/>
                <a:gd name="T32" fmla="*/ 122 w 140"/>
                <a:gd name="T33" fmla="*/ 35 h 215"/>
                <a:gd name="T34" fmla="*/ 122 w 140"/>
                <a:gd name="T35"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215">
                  <a:moveTo>
                    <a:pt x="109" y="0"/>
                  </a:moveTo>
                  <a:cubicBezTo>
                    <a:pt x="31" y="0"/>
                    <a:pt x="31" y="0"/>
                    <a:pt x="31" y="0"/>
                  </a:cubicBezTo>
                  <a:cubicBezTo>
                    <a:pt x="14" y="0"/>
                    <a:pt x="0" y="13"/>
                    <a:pt x="0" y="30"/>
                  </a:cubicBezTo>
                  <a:cubicBezTo>
                    <a:pt x="0" y="184"/>
                    <a:pt x="0" y="184"/>
                    <a:pt x="0" y="184"/>
                  </a:cubicBezTo>
                  <a:cubicBezTo>
                    <a:pt x="0" y="201"/>
                    <a:pt x="14" y="215"/>
                    <a:pt x="31" y="215"/>
                  </a:cubicBezTo>
                  <a:cubicBezTo>
                    <a:pt x="109" y="215"/>
                    <a:pt x="109" y="215"/>
                    <a:pt x="109" y="215"/>
                  </a:cubicBezTo>
                  <a:cubicBezTo>
                    <a:pt x="126" y="215"/>
                    <a:pt x="140" y="201"/>
                    <a:pt x="140" y="184"/>
                  </a:cubicBezTo>
                  <a:cubicBezTo>
                    <a:pt x="140" y="30"/>
                    <a:pt x="140" y="30"/>
                    <a:pt x="140" y="30"/>
                  </a:cubicBezTo>
                  <a:cubicBezTo>
                    <a:pt x="140" y="13"/>
                    <a:pt x="126" y="0"/>
                    <a:pt x="109" y="0"/>
                  </a:cubicBezTo>
                  <a:moveTo>
                    <a:pt x="122" y="177"/>
                  </a:moveTo>
                  <a:cubicBezTo>
                    <a:pt x="122" y="187"/>
                    <a:pt x="116" y="195"/>
                    <a:pt x="109" y="195"/>
                  </a:cubicBezTo>
                  <a:cubicBezTo>
                    <a:pt x="31" y="195"/>
                    <a:pt x="31" y="195"/>
                    <a:pt x="31" y="195"/>
                  </a:cubicBezTo>
                  <a:cubicBezTo>
                    <a:pt x="24" y="195"/>
                    <a:pt x="18" y="187"/>
                    <a:pt x="18" y="177"/>
                  </a:cubicBezTo>
                  <a:cubicBezTo>
                    <a:pt x="18" y="35"/>
                    <a:pt x="18" y="35"/>
                    <a:pt x="18" y="35"/>
                  </a:cubicBezTo>
                  <a:cubicBezTo>
                    <a:pt x="18" y="26"/>
                    <a:pt x="24" y="18"/>
                    <a:pt x="31" y="18"/>
                  </a:cubicBezTo>
                  <a:cubicBezTo>
                    <a:pt x="109" y="18"/>
                    <a:pt x="109" y="18"/>
                    <a:pt x="109" y="18"/>
                  </a:cubicBezTo>
                  <a:cubicBezTo>
                    <a:pt x="116" y="18"/>
                    <a:pt x="122" y="26"/>
                    <a:pt x="122" y="35"/>
                  </a:cubicBezTo>
                  <a:lnTo>
                    <a:pt x="122"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2" name="Freeform 25"/>
            <p:cNvSpPr>
              <a:spLocks noEditPoints="1"/>
            </p:cNvSpPr>
            <p:nvPr/>
          </p:nvSpPr>
          <p:spPr bwMode="black">
            <a:xfrm>
              <a:off x="5049838" y="4411663"/>
              <a:ext cx="739775" cy="854075"/>
            </a:xfrm>
            <a:custGeom>
              <a:avLst/>
              <a:gdLst>
                <a:gd name="T0" fmla="*/ 98 w 197"/>
                <a:gd name="T1" fmla="*/ 0 h 228"/>
                <a:gd name="T2" fmla="*/ 0 w 197"/>
                <a:gd name="T3" fmla="*/ 33 h 228"/>
                <a:gd name="T4" fmla="*/ 0 w 197"/>
                <a:gd name="T5" fmla="*/ 195 h 228"/>
                <a:gd name="T6" fmla="*/ 98 w 197"/>
                <a:gd name="T7" fmla="*/ 228 h 228"/>
                <a:gd name="T8" fmla="*/ 197 w 197"/>
                <a:gd name="T9" fmla="*/ 195 h 228"/>
                <a:gd name="T10" fmla="*/ 197 w 197"/>
                <a:gd name="T11" fmla="*/ 33 h 228"/>
                <a:gd name="T12" fmla="*/ 98 w 197"/>
                <a:gd name="T13" fmla="*/ 0 h 228"/>
                <a:gd name="T14" fmla="*/ 98 w 197"/>
                <a:gd name="T15" fmla="*/ 55 h 228"/>
                <a:gd name="T16" fmla="*/ 15 w 197"/>
                <a:gd name="T17" fmla="*/ 32 h 228"/>
                <a:gd name="T18" fmla="*/ 98 w 197"/>
                <a:gd name="T19" fmla="*/ 10 h 228"/>
                <a:gd name="T20" fmla="*/ 182 w 197"/>
                <a:gd name="T21" fmla="*/ 32 h 228"/>
                <a:gd name="T22" fmla="*/ 98 w 197"/>
                <a:gd name="T23" fmla="*/ 5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7" h="228">
                  <a:moveTo>
                    <a:pt x="98" y="0"/>
                  </a:moveTo>
                  <a:cubicBezTo>
                    <a:pt x="62" y="0"/>
                    <a:pt x="0" y="7"/>
                    <a:pt x="0" y="33"/>
                  </a:cubicBezTo>
                  <a:cubicBezTo>
                    <a:pt x="0" y="195"/>
                    <a:pt x="0" y="195"/>
                    <a:pt x="0" y="195"/>
                  </a:cubicBezTo>
                  <a:cubicBezTo>
                    <a:pt x="0" y="221"/>
                    <a:pt x="62" y="228"/>
                    <a:pt x="98" y="228"/>
                  </a:cubicBezTo>
                  <a:cubicBezTo>
                    <a:pt x="135" y="228"/>
                    <a:pt x="197" y="221"/>
                    <a:pt x="197" y="195"/>
                  </a:cubicBezTo>
                  <a:cubicBezTo>
                    <a:pt x="197" y="33"/>
                    <a:pt x="197" y="33"/>
                    <a:pt x="197" y="33"/>
                  </a:cubicBezTo>
                  <a:cubicBezTo>
                    <a:pt x="197" y="7"/>
                    <a:pt x="135" y="0"/>
                    <a:pt x="98" y="0"/>
                  </a:cubicBezTo>
                  <a:moveTo>
                    <a:pt x="98" y="55"/>
                  </a:moveTo>
                  <a:cubicBezTo>
                    <a:pt x="52" y="55"/>
                    <a:pt x="15" y="45"/>
                    <a:pt x="15" y="32"/>
                  </a:cubicBezTo>
                  <a:cubicBezTo>
                    <a:pt x="15" y="20"/>
                    <a:pt x="52" y="10"/>
                    <a:pt x="98" y="10"/>
                  </a:cubicBezTo>
                  <a:cubicBezTo>
                    <a:pt x="144" y="10"/>
                    <a:pt x="182" y="20"/>
                    <a:pt x="182" y="32"/>
                  </a:cubicBezTo>
                  <a:cubicBezTo>
                    <a:pt x="182" y="45"/>
                    <a:pt x="144" y="55"/>
                    <a:pt x="98"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3" name="Freeform 26"/>
            <p:cNvSpPr>
              <a:spLocks noEditPoints="1"/>
            </p:cNvSpPr>
            <p:nvPr/>
          </p:nvSpPr>
          <p:spPr bwMode="black">
            <a:xfrm>
              <a:off x="6043613" y="2960688"/>
              <a:ext cx="641350" cy="876300"/>
            </a:xfrm>
            <a:custGeom>
              <a:avLst/>
              <a:gdLst>
                <a:gd name="T0" fmla="*/ 146 w 171"/>
                <a:gd name="T1" fmla="*/ 0 h 234"/>
                <a:gd name="T2" fmla="*/ 25 w 171"/>
                <a:gd name="T3" fmla="*/ 0 h 234"/>
                <a:gd name="T4" fmla="*/ 0 w 171"/>
                <a:gd name="T5" fmla="*/ 25 h 234"/>
                <a:gd name="T6" fmla="*/ 0 w 171"/>
                <a:gd name="T7" fmla="*/ 209 h 234"/>
                <a:gd name="T8" fmla="*/ 25 w 171"/>
                <a:gd name="T9" fmla="*/ 234 h 234"/>
                <a:gd name="T10" fmla="*/ 146 w 171"/>
                <a:gd name="T11" fmla="*/ 234 h 234"/>
                <a:gd name="T12" fmla="*/ 171 w 171"/>
                <a:gd name="T13" fmla="*/ 209 h 234"/>
                <a:gd name="T14" fmla="*/ 171 w 171"/>
                <a:gd name="T15" fmla="*/ 25 h 234"/>
                <a:gd name="T16" fmla="*/ 146 w 171"/>
                <a:gd name="T17" fmla="*/ 0 h 234"/>
                <a:gd name="T18" fmla="*/ 157 w 171"/>
                <a:gd name="T19" fmla="*/ 183 h 234"/>
                <a:gd name="T20" fmla="*/ 146 w 171"/>
                <a:gd name="T21" fmla="*/ 193 h 234"/>
                <a:gd name="T22" fmla="*/ 25 w 171"/>
                <a:gd name="T23" fmla="*/ 193 h 234"/>
                <a:gd name="T24" fmla="*/ 15 w 171"/>
                <a:gd name="T25" fmla="*/ 183 h 234"/>
                <a:gd name="T26" fmla="*/ 15 w 171"/>
                <a:gd name="T27" fmla="*/ 25 h 234"/>
                <a:gd name="T28" fmla="*/ 25 w 171"/>
                <a:gd name="T29" fmla="*/ 14 h 234"/>
                <a:gd name="T30" fmla="*/ 146 w 171"/>
                <a:gd name="T31" fmla="*/ 14 h 234"/>
                <a:gd name="T32" fmla="*/ 157 w 171"/>
                <a:gd name="T33" fmla="*/ 25 h 234"/>
                <a:gd name="T34" fmla="*/ 157 w 171"/>
                <a:gd name="T35" fmla="*/ 18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1" h="234">
                  <a:moveTo>
                    <a:pt x="146" y="0"/>
                  </a:moveTo>
                  <a:cubicBezTo>
                    <a:pt x="25" y="0"/>
                    <a:pt x="25" y="0"/>
                    <a:pt x="25" y="0"/>
                  </a:cubicBezTo>
                  <a:cubicBezTo>
                    <a:pt x="11" y="0"/>
                    <a:pt x="0" y="11"/>
                    <a:pt x="0" y="25"/>
                  </a:cubicBezTo>
                  <a:cubicBezTo>
                    <a:pt x="0" y="209"/>
                    <a:pt x="0" y="209"/>
                    <a:pt x="0" y="209"/>
                  </a:cubicBezTo>
                  <a:cubicBezTo>
                    <a:pt x="0" y="223"/>
                    <a:pt x="11" y="234"/>
                    <a:pt x="25" y="234"/>
                  </a:cubicBezTo>
                  <a:cubicBezTo>
                    <a:pt x="146" y="234"/>
                    <a:pt x="146" y="234"/>
                    <a:pt x="146" y="234"/>
                  </a:cubicBezTo>
                  <a:cubicBezTo>
                    <a:pt x="160" y="234"/>
                    <a:pt x="171" y="223"/>
                    <a:pt x="171" y="209"/>
                  </a:cubicBezTo>
                  <a:cubicBezTo>
                    <a:pt x="171" y="25"/>
                    <a:pt x="171" y="25"/>
                    <a:pt x="171" y="25"/>
                  </a:cubicBezTo>
                  <a:cubicBezTo>
                    <a:pt x="171" y="11"/>
                    <a:pt x="160" y="0"/>
                    <a:pt x="146" y="0"/>
                  </a:cubicBezTo>
                  <a:moveTo>
                    <a:pt x="157" y="183"/>
                  </a:moveTo>
                  <a:cubicBezTo>
                    <a:pt x="157" y="188"/>
                    <a:pt x="152" y="193"/>
                    <a:pt x="146" y="193"/>
                  </a:cubicBezTo>
                  <a:cubicBezTo>
                    <a:pt x="25" y="193"/>
                    <a:pt x="25" y="193"/>
                    <a:pt x="25" y="193"/>
                  </a:cubicBezTo>
                  <a:cubicBezTo>
                    <a:pt x="19" y="193"/>
                    <a:pt x="15" y="188"/>
                    <a:pt x="15" y="183"/>
                  </a:cubicBezTo>
                  <a:cubicBezTo>
                    <a:pt x="15" y="25"/>
                    <a:pt x="15" y="25"/>
                    <a:pt x="15" y="25"/>
                  </a:cubicBezTo>
                  <a:cubicBezTo>
                    <a:pt x="15" y="19"/>
                    <a:pt x="19" y="14"/>
                    <a:pt x="25" y="14"/>
                  </a:cubicBezTo>
                  <a:cubicBezTo>
                    <a:pt x="146" y="14"/>
                    <a:pt x="146" y="14"/>
                    <a:pt x="146" y="14"/>
                  </a:cubicBezTo>
                  <a:cubicBezTo>
                    <a:pt x="152" y="14"/>
                    <a:pt x="157" y="19"/>
                    <a:pt x="157" y="25"/>
                  </a:cubicBezTo>
                  <a:lnTo>
                    <a:pt x="157"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4" name="Oval 27"/>
            <p:cNvSpPr>
              <a:spLocks noChangeArrowheads="1"/>
            </p:cNvSpPr>
            <p:nvPr/>
          </p:nvSpPr>
          <p:spPr bwMode="black">
            <a:xfrm>
              <a:off x="62245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5" name="Oval 28"/>
            <p:cNvSpPr>
              <a:spLocks noChangeArrowheads="1"/>
            </p:cNvSpPr>
            <p:nvPr/>
          </p:nvSpPr>
          <p:spPr bwMode="black">
            <a:xfrm>
              <a:off x="6453188"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6" name="Oval 29"/>
            <p:cNvSpPr>
              <a:spLocks noChangeArrowheads="1"/>
            </p:cNvSpPr>
            <p:nvPr/>
          </p:nvSpPr>
          <p:spPr bwMode="black">
            <a:xfrm>
              <a:off x="6340476" y="3725863"/>
              <a:ext cx="52388"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7" name="Freeform 30"/>
            <p:cNvSpPr>
              <a:spLocks/>
            </p:cNvSpPr>
            <p:nvPr/>
          </p:nvSpPr>
          <p:spPr bwMode="black">
            <a:xfrm>
              <a:off x="3425826" y="4279901"/>
              <a:ext cx="442913" cy="161925"/>
            </a:xfrm>
            <a:custGeom>
              <a:avLst/>
              <a:gdLst>
                <a:gd name="T0" fmla="*/ 0 w 118"/>
                <a:gd name="T1" fmla="*/ 43 h 43"/>
                <a:gd name="T2" fmla="*/ 14 w 118"/>
                <a:gd name="T3" fmla="*/ 39 h 43"/>
                <a:gd name="T4" fmla="*/ 108 w 118"/>
                <a:gd name="T5" fmla="*/ 39 h 43"/>
                <a:gd name="T6" fmla="*/ 118 w 118"/>
                <a:gd name="T7" fmla="*/ 41 h 43"/>
                <a:gd name="T8" fmla="*/ 105 w 118"/>
                <a:gd name="T9" fmla="*/ 15 h 43"/>
                <a:gd name="T10" fmla="*/ 81 w 118"/>
                <a:gd name="T11" fmla="*/ 0 h 43"/>
                <a:gd name="T12" fmla="*/ 39 w 118"/>
                <a:gd name="T13" fmla="*/ 0 h 43"/>
                <a:gd name="T14" fmla="*/ 15 w 118"/>
                <a:gd name="T15" fmla="*/ 15 h 43"/>
                <a:gd name="T16" fmla="*/ 0 w 118"/>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43">
                  <a:moveTo>
                    <a:pt x="0" y="43"/>
                  </a:moveTo>
                  <a:cubicBezTo>
                    <a:pt x="4" y="40"/>
                    <a:pt x="9" y="39"/>
                    <a:pt x="14" y="39"/>
                  </a:cubicBezTo>
                  <a:cubicBezTo>
                    <a:pt x="108" y="39"/>
                    <a:pt x="108" y="39"/>
                    <a:pt x="108" y="39"/>
                  </a:cubicBezTo>
                  <a:cubicBezTo>
                    <a:pt x="111" y="39"/>
                    <a:pt x="115" y="40"/>
                    <a:pt x="118" y="41"/>
                  </a:cubicBezTo>
                  <a:cubicBezTo>
                    <a:pt x="105" y="15"/>
                    <a:pt x="105" y="15"/>
                    <a:pt x="105" y="15"/>
                  </a:cubicBezTo>
                  <a:cubicBezTo>
                    <a:pt x="101" y="7"/>
                    <a:pt x="90" y="0"/>
                    <a:pt x="81" y="0"/>
                  </a:cubicBezTo>
                  <a:cubicBezTo>
                    <a:pt x="39" y="0"/>
                    <a:pt x="39" y="0"/>
                    <a:pt x="39" y="0"/>
                  </a:cubicBezTo>
                  <a:cubicBezTo>
                    <a:pt x="30" y="0"/>
                    <a:pt x="19" y="7"/>
                    <a:pt x="15" y="15"/>
                  </a:cubicBezTo>
                  <a:lnTo>
                    <a:pt x="0"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sp>
          <p:nvSpPr>
            <p:cNvPr id="48" name="Freeform 31"/>
            <p:cNvSpPr>
              <a:spLocks noEditPoints="1"/>
            </p:cNvSpPr>
            <p:nvPr/>
          </p:nvSpPr>
          <p:spPr bwMode="black">
            <a:xfrm>
              <a:off x="3414713" y="4456113"/>
              <a:ext cx="476250" cy="809625"/>
            </a:xfrm>
            <a:custGeom>
              <a:avLst/>
              <a:gdLst>
                <a:gd name="T0" fmla="*/ 119 w 127"/>
                <a:gd name="T1" fmla="*/ 2 h 216"/>
                <a:gd name="T2" fmla="*/ 111 w 127"/>
                <a:gd name="T3" fmla="*/ 0 h 216"/>
                <a:gd name="T4" fmla="*/ 17 w 127"/>
                <a:gd name="T5" fmla="*/ 0 h 216"/>
                <a:gd name="T6" fmla="*/ 9 w 127"/>
                <a:gd name="T7" fmla="*/ 2 h 216"/>
                <a:gd name="T8" fmla="*/ 0 w 127"/>
                <a:gd name="T9" fmla="*/ 17 h 216"/>
                <a:gd name="T10" fmla="*/ 0 w 127"/>
                <a:gd name="T11" fmla="*/ 199 h 216"/>
                <a:gd name="T12" fmla="*/ 17 w 127"/>
                <a:gd name="T13" fmla="*/ 216 h 216"/>
                <a:gd name="T14" fmla="*/ 111 w 127"/>
                <a:gd name="T15" fmla="*/ 216 h 216"/>
                <a:gd name="T16" fmla="*/ 127 w 127"/>
                <a:gd name="T17" fmla="*/ 199 h 216"/>
                <a:gd name="T18" fmla="*/ 127 w 127"/>
                <a:gd name="T19" fmla="*/ 17 h 216"/>
                <a:gd name="T20" fmla="*/ 119 w 127"/>
                <a:gd name="T21" fmla="*/ 2 h 216"/>
                <a:gd name="T22" fmla="*/ 105 w 127"/>
                <a:gd name="T23" fmla="*/ 180 h 216"/>
                <a:gd name="T24" fmla="*/ 29 w 127"/>
                <a:gd name="T25" fmla="*/ 180 h 216"/>
                <a:gd name="T26" fmla="*/ 22 w 127"/>
                <a:gd name="T27" fmla="*/ 173 h 216"/>
                <a:gd name="T28" fmla="*/ 29 w 127"/>
                <a:gd name="T29" fmla="*/ 166 h 216"/>
                <a:gd name="T30" fmla="*/ 105 w 127"/>
                <a:gd name="T31" fmla="*/ 166 h 216"/>
                <a:gd name="T32" fmla="*/ 111 w 127"/>
                <a:gd name="T33" fmla="*/ 173 h 216"/>
                <a:gd name="T34" fmla="*/ 105 w 127"/>
                <a:gd name="T35" fmla="*/ 180 h 216"/>
                <a:gd name="T36" fmla="*/ 105 w 127"/>
                <a:gd name="T37" fmla="*/ 149 h 216"/>
                <a:gd name="T38" fmla="*/ 29 w 127"/>
                <a:gd name="T39" fmla="*/ 149 h 216"/>
                <a:gd name="T40" fmla="*/ 22 w 127"/>
                <a:gd name="T41" fmla="*/ 143 h 216"/>
                <a:gd name="T42" fmla="*/ 29 w 127"/>
                <a:gd name="T43" fmla="*/ 136 h 216"/>
                <a:gd name="T44" fmla="*/ 105 w 127"/>
                <a:gd name="T45" fmla="*/ 136 h 216"/>
                <a:gd name="T46" fmla="*/ 111 w 127"/>
                <a:gd name="T47" fmla="*/ 143 h 216"/>
                <a:gd name="T48" fmla="*/ 105 w 127"/>
                <a:gd name="T49" fmla="*/ 149 h 216"/>
                <a:gd name="T50" fmla="*/ 105 w 127"/>
                <a:gd name="T51" fmla="*/ 119 h 216"/>
                <a:gd name="T52" fmla="*/ 29 w 127"/>
                <a:gd name="T53" fmla="*/ 119 h 216"/>
                <a:gd name="T54" fmla="*/ 22 w 127"/>
                <a:gd name="T55" fmla="*/ 112 h 216"/>
                <a:gd name="T56" fmla="*/ 29 w 127"/>
                <a:gd name="T57" fmla="*/ 106 h 216"/>
                <a:gd name="T58" fmla="*/ 105 w 127"/>
                <a:gd name="T59" fmla="*/ 106 h 216"/>
                <a:gd name="T60" fmla="*/ 111 w 127"/>
                <a:gd name="T61" fmla="*/ 112 h 216"/>
                <a:gd name="T62" fmla="*/ 105 w 127"/>
                <a:gd name="T63" fmla="*/ 119 h 216"/>
                <a:gd name="T64" fmla="*/ 102 w 127"/>
                <a:gd name="T65" fmla="*/ 40 h 216"/>
                <a:gd name="T66" fmla="*/ 93 w 127"/>
                <a:gd name="T67" fmla="*/ 31 h 216"/>
                <a:gd name="T68" fmla="*/ 102 w 127"/>
                <a:gd name="T69" fmla="*/ 22 h 216"/>
                <a:gd name="T70" fmla="*/ 111 w 127"/>
                <a:gd name="T71" fmla="*/ 31 h 216"/>
                <a:gd name="T72" fmla="*/ 102 w 127"/>
                <a:gd name="T73" fmla="*/ 4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7" h="216">
                  <a:moveTo>
                    <a:pt x="119" y="2"/>
                  </a:moveTo>
                  <a:cubicBezTo>
                    <a:pt x="116" y="1"/>
                    <a:pt x="114" y="0"/>
                    <a:pt x="111" y="0"/>
                  </a:cubicBezTo>
                  <a:cubicBezTo>
                    <a:pt x="17" y="0"/>
                    <a:pt x="17" y="0"/>
                    <a:pt x="17" y="0"/>
                  </a:cubicBezTo>
                  <a:cubicBezTo>
                    <a:pt x="14" y="0"/>
                    <a:pt x="11" y="1"/>
                    <a:pt x="9" y="2"/>
                  </a:cubicBezTo>
                  <a:cubicBezTo>
                    <a:pt x="4" y="5"/>
                    <a:pt x="0" y="10"/>
                    <a:pt x="0" y="17"/>
                  </a:cubicBezTo>
                  <a:cubicBezTo>
                    <a:pt x="0" y="199"/>
                    <a:pt x="0" y="199"/>
                    <a:pt x="0" y="199"/>
                  </a:cubicBezTo>
                  <a:cubicBezTo>
                    <a:pt x="0" y="208"/>
                    <a:pt x="8" y="216"/>
                    <a:pt x="17" y="216"/>
                  </a:cubicBezTo>
                  <a:cubicBezTo>
                    <a:pt x="111" y="216"/>
                    <a:pt x="111" y="216"/>
                    <a:pt x="111" y="216"/>
                  </a:cubicBezTo>
                  <a:cubicBezTo>
                    <a:pt x="120" y="216"/>
                    <a:pt x="127" y="208"/>
                    <a:pt x="127" y="199"/>
                  </a:cubicBezTo>
                  <a:cubicBezTo>
                    <a:pt x="127" y="17"/>
                    <a:pt x="127" y="17"/>
                    <a:pt x="127" y="17"/>
                  </a:cubicBezTo>
                  <a:cubicBezTo>
                    <a:pt x="127" y="10"/>
                    <a:pt x="124" y="5"/>
                    <a:pt x="119" y="2"/>
                  </a:cubicBezTo>
                  <a:moveTo>
                    <a:pt x="105" y="180"/>
                  </a:moveTo>
                  <a:cubicBezTo>
                    <a:pt x="29" y="180"/>
                    <a:pt x="29" y="180"/>
                    <a:pt x="29" y="180"/>
                  </a:cubicBezTo>
                  <a:cubicBezTo>
                    <a:pt x="25" y="180"/>
                    <a:pt x="22" y="177"/>
                    <a:pt x="22" y="173"/>
                  </a:cubicBezTo>
                  <a:cubicBezTo>
                    <a:pt x="22" y="169"/>
                    <a:pt x="25" y="166"/>
                    <a:pt x="29" y="166"/>
                  </a:cubicBezTo>
                  <a:cubicBezTo>
                    <a:pt x="105" y="166"/>
                    <a:pt x="105" y="166"/>
                    <a:pt x="105" y="166"/>
                  </a:cubicBezTo>
                  <a:cubicBezTo>
                    <a:pt x="108" y="166"/>
                    <a:pt x="111" y="169"/>
                    <a:pt x="111" y="173"/>
                  </a:cubicBezTo>
                  <a:cubicBezTo>
                    <a:pt x="111" y="177"/>
                    <a:pt x="108" y="180"/>
                    <a:pt x="105" y="180"/>
                  </a:cubicBezTo>
                  <a:moveTo>
                    <a:pt x="105" y="149"/>
                  </a:moveTo>
                  <a:cubicBezTo>
                    <a:pt x="29" y="149"/>
                    <a:pt x="29" y="149"/>
                    <a:pt x="29" y="149"/>
                  </a:cubicBezTo>
                  <a:cubicBezTo>
                    <a:pt x="25" y="149"/>
                    <a:pt x="22" y="146"/>
                    <a:pt x="22" y="143"/>
                  </a:cubicBezTo>
                  <a:cubicBezTo>
                    <a:pt x="22" y="139"/>
                    <a:pt x="25" y="136"/>
                    <a:pt x="29" y="136"/>
                  </a:cubicBezTo>
                  <a:cubicBezTo>
                    <a:pt x="105" y="136"/>
                    <a:pt x="105" y="136"/>
                    <a:pt x="105" y="136"/>
                  </a:cubicBezTo>
                  <a:cubicBezTo>
                    <a:pt x="108" y="136"/>
                    <a:pt x="111" y="139"/>
                    <a:pt x="111" y="143"/>
                  </a:cubicBezTo>
                  <a:cubicBezTo>
                    <a:pt x="111" y="146"/>
                    <a:pt x="108" y="149"/>
                    <a:pt x="105" y="149"/>
                  </a:cubicBezTo>
                  <a:moveTo>
                    <a:pt x="105" y="119"/>
                  </a:moveTo>
                  <a:cubicBezTo>
                    <a:pt x="29" y="119"/>
                    <a:pt x="29" y="119"/>
                    <a:pt x="29" y="119"/>
                  </a:cubicBezTo>
                  <a:cubicBezTo>
                    <a:pt x="25" y="119"/>
                    <a:pt x="22" y="116"/>
                    <a:pt x="22" y="112"/>
                  </a:cubicBezTo>
                  <a:cubicBezTo>
                    <a:pt x="22" y="109"/>
                    <a:pt x="25" y="106"/>
                    <a:pt x="29" y="106"/>
                  </a:cubicBezTo>
                  <a:cubicBezTo>
                    <a:pt x="105" y="106"/>
                    <a:pt x="105" y="106"/>
                    <a:pt x="105" y="106"/>
                  </a:cubicBezTo>
                  <a:cubicBezTo>
                    <a:pt x="108" y="106"/>
                    <a:pt x="111" y="109"/>
                    <a:pt x="111" y="112"/>
                  </a:cubicBezTo>
                  <a:cubicBezTo>
                    <a:pt x="111" y="116"/>
                    <a:pt x="108" y="119"/>
                    <a:pt x="105" y="119"/>
                  </a:cubicBezTo>
                  <a:moveTo>
                    <a:pt x="102" y="40"/>
                  </a:moveTo>
                  <a:cubicBezTo>
                    <a:pt x="97" y="40"/>
                    <a:pt x="93" y="36"/>
                    <a:pt x="93" y="31"/>
                  </a:cubicBezTo>
                  <a:cubicBezTo>
                    <a:pt x="93" y="26"/>
                    <a:pt x="97" y="22"/>
                    <a:pt x="102" y="22"/>
                  </a:cubicBezTo>
                  <a:cubicBezTo>
                    <a:pt x="107" y="22"/>
                    <a:pt x="111" y="26"/>
                    <a:pt x="111" y="31"/>
                  </a:cubicBezTo>
                  <a:cubicBezTo>
                    <a:pt x="111" y="36"/>
                    <a:pt x="107" y="40"/>
                    <a:pt x="102"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200"/>
            </a:p>
          </p:txBody>
        </p:sp>
      </p:grpSp>
      <p:sp>
        <p:nvSpPr>
          <p:cNvPr id="2" name="Rectangle 1"/>
          <p:cNvSpPr/>
          <p:nvPr/>
        </p:nvSpPr>
        <p:spPr bwMode="auto">
          <a:xfrm>
            <a:off x="2270801" y="2038550"/>
            <a:ext cx="4593275" cy="310494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a:off x="2667000" y="2589613"/>
            <a:ext cx="3992226" cy="1292662"/>
          </a:xfrm>
          <a:prstGeom prst="rect">
            <a:avLst/>
          </a:prstGeom>
          <a:noFill/>
        </p:spPr>
        <p:txBody>
          <a:bodyPr wrap="square" lIns="182880" tIns="146304" rIns="182880" bIns="146304" rtlCol="0">
            <a:spAutoFit/>
          </a:bodyPr>
          <a:lstStyle/>
          <a:p>
            <a:pPr>
              <a:lnSpc>
                <a:spcPct val="90000"/>
              </a:lnSpc>
              <a:spcAft>
                <a:spcPts val="600"/>
              </a:spcAft>
            </a:pPr>
            <a:r>
              <a:rPr lang="en-US" sz="7200" dirty="0" smtClean="0">
                <a:gradFill>
                  <a:gsLst>
                    <a:gs pos="2917">
                      <a:schemeClr val="tx1"/>
                    </a:gs>
                    <a:gs pos="30000">
                      <a:schemeClr val="tx1"/>
                    </a:gs>
                  </a:gsLst>
                  <a:lin ang="5400000" scaled="0"/>
                </a:gradFill>
                <a:latin typeface="+mj-lt"/>
              </a:rPr>
              <a:t>DEVICES</a:t>
            </a:r>
          </a:p>
        </p:txBody>
      </p:sp>
    </p:spTree>
    <p:extLst>
      <p:ext uri="{BB962C8B-B14F-4D97-AF65-F5344CB8AC3E}">
        <p14:creationId xmlns:p14="http://schemas.microsoft.com/office/powerpoint/2010/main" val="210208061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stent experience</a:t>
            </a:r>
            <a:endParaRPr lang="en-US" dirty="0"/>
          </a:p>
        </p:txBody>
      </p:sp>
      <p:pic>
        <p:nvPicPr>
          <p:cNvPr id="4" name="Picture 3"/>
          <p:cNvPicPr>
            <a:picLocks noChangeAspect="1"/>
          </p:cNvPicPr>
          <p:nvPr/>
        </p:nvPicPr>
        <p:blipFill>
          <a:blip r:embed="rId3" cstate="print">
            <a:extLst>
              <a:ext uri="{BEBA8EAE-BF5A-486C-A8C5-ECC9F3942E4B}">
                <a14:imgProps xmlns:a14="http://schemas.microsoft.com/office/drawing/2010/main">
                  <a14:imgLayer r:embed="rId4">
                    <a14:imgEffect>
                      <a14:backgroundRemoval t="912" b="99147" l="0" r="99176">
                        <a14:foregroundMark x1="2529" y1="19000" x2="2529" y2="19000"/>
                        <a14:foregroundMark x1="29529" y1="49441" x2="29529" y2="49441"/>
                        <a14:foregroundMark x1="37529" y1="49265" x2="37529" y2="49265"/>
                        <a14:foregroundMark x1="3294" y1="25471" x2="3294" y2="25471"/>
                        <a14:foregroundMark x1="20824" y1="49265" x2="20824" y2="49265"/>
                      </a14:backgroundRemoval>
                    </a14:imgEffect>
                  </a14:imgLayer>
                </a14:imgProps>
              </a:ext>
              <a:ext uri="{28A0092B-C50C-407E-A947-70E740481C1C}">
                <a14:useLocalDpi xmlns:a14="http://schemas.microsoft.com/office/drawing/2010/main" val="0"/>
              </a:ext>
            </a:extLst>
          </a:blip>
          <a:stretch>
            <a:fillRect/>
          </a:stretch>
        </p:blipFill>
        <p:spPr>
          <a:xfrm>
            <a:off x="6858000" y="1117815"/>
            <a:ext cx="1600200" cy="320040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800" y="971550"/>
            <a:ext cx="6623831" cy="3446463"/>
          </a:xfrm>
          <a:prstGeom prst="rect">
            <a:avLst/>
          </a:prstGeom>
        </p:spPr>
      </p:pic>
    </p:spTree>
    <p:extLst>
      <p:ext uri="{BB962C8B-B14F-4D97-AF65-F5344CB8AC3E}">
        <p14:creationId xmlns:p14="http://schemas.microsoft.com/office/powerpoint/2010/main" val="6819062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10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indows 8</a:t>
            </a:r>
            <a:endParaRPr lang="en-US" dirty="0"/>
          </a:p>
        </p:txBody>
      </p:sp>
      <p:sp>
        <p:nvSpPr>
          <p:cNvPr id="4" name="Text Placeholder 3"/>
          <p:cNvSpPr>
            <a:spLocks noGrp="1"/>
          </p:cNvSpPr>
          <p:nvPr>
            <p:ph type="body" sz="quarter" idx="12"/>
          </p:nvPr>
        </p:nvSpPr>
        <p:spPr/>
        <p:txBody>
          <a:bodyPr/>
          <a:lstStyle/>
          <a:p>
            <a:r>
              <a:rPr lang="en-US" dirty="0" smtClean="0"/>
              <a:t>Overview - Demo</a:t>
            </a:r>
            <a:endParaRPr lang="en-US" dirty="0"/>
          </a:p>
        </p:txBody>
      </p:sp>
    </p:spTree>
    <p:extLst>
      <p:ext uri="{BB962C8B-B14F-4D97-AF65-F5344CB8AC3E}">
        <p14:creationId xmlns:p14="http://schemas.microsoft.com/office/powerpoint/2010/main" val="23674752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Phone 8</a:t>
            </a:r>
            <a:endParaRPr lang="en-US" dirty="0"/>
          </a:p>
        </p:txBody>
      </p:sp>
      <p:sp>
        <p:nvSpPr>
          <p:cNvPr id="3" name="Text Placeholder 2"/>
          <p:cNvSpPr>
            <a:spLocks noGrp="1"/>
          </p:cNvSpPr>
          <p:nvPr>
            <p:ph type="body" sz="quarter" idx="12"/>
          </p:nvPr>
        </p:nvSpPr>
        <p:spPr/>
        <p:txBody>
          <a:bodyPr/>
          <a:lstStyle/>
          <a:p>
            <a:r>
              <a:rPr lang="en-US" dirty="0" smtClean="0"/>
              <a:t>Overview - Demo</a:t>
            </a:r>
            <a:endParaRPr lang="en-US" dirty="0"/>
          </a:p>
        </p:txBody>
      </p:sp>
    </p:spTree>
    <p:extLst>
      <p:ext uri="{BB962C8B-B14F-4D97-AF65-F5344CB8AC3E}">
        <p14:creationId xmlns:p14="http://schemas.microsoft.com/office/powerpoint/2010/main" val="17453616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01929" y="891883"/>
            <a:ext cx="8740142" cy="2843579"/>
          </a:xfrm>
        </p:spPr>
        <p:txBody>
          <a:bodyPr/>
          <a:lstStyle/>
          <a:p>
            <a:r>
              <a:rPr lang="en-US" dirty="0" err="1" smtClean="0"/>
              <a:t>WinRT</a:t>
            </a:r>
            <a:endParaRPr lang="en-US" dirty="0" smtClean="0"/>
          </a:p>
          <a:p>
            <a:r>
              <a:rPr lang="en-US" dirty="0" smtClean="0"/>
              <a:t>Consistent user experience</a:t>
            </a:r>
          </a:p>
          <a:p>
            <a:r>
              <a:rPr lang="en-US" dirty="0" smtClean="0"/>
              <a:t>Windows &amp; Windows Phone Store </a:t>
            </a:r>
          </a:p>
          <a:p>
            <a:r>
              <a:rPr lang="en-US" dirty="0" smtClean="0"/>
              <a:t>Portable Libraries</a:t>
            </a:r>
          </a:p>
          <a:p>
            <a:endParaRPr lang="en-US" dirty="0"/>
          </a:p>
        </p:txBody>
      </p:sp>
      <p:sp>
        <p:nvSpPr>
          <p:cNvPr id="4" name="Title 3"/>
          <p:cNvSpPr>
            <a:spLocks noGrp="1"/>
          </p:cNvSpPr>
          <p:nvPr>
            <p:ph type="title"/>
          </p:nvPr>
        </p:nvSpPr>
        <p:spPr/>
        <p:txBody>
          <a:bodyPr/>
          <a:lstStyle/>
          <a:p>
            <a:r>
              <a:rPr lang="en-US" dirty="0" smtClean="0"/>
              <a:t>Platform Investments</a:t>
            </a:r>
            <a:endParaRPr lang="en-US" dirty="0"/>
          </a:p>
        </p:txBody>
      </p:sp>
    </p:spTree>
    <p:extLst>
      <p:ext uri="{BB962C8B-B14F-4D97-AF65-F5344CB8AC3E}">
        <p14:creationId xmlns:p14="http://schemas.microsoft.com/office/powerpoint/2010/main" val="15467138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3Gubka9_ka2S05FqiT7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QeulhmUL0aBlQmpLq81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v.yYZW_Q0eme0KNmdAx4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5Wif8jx_EyqPrQ9Lfo5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HXphs.qjkmtp1_xq8b0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UIvjrbR80uoaH4VV8aP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URfxmAC06960d2C6oWs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loeXTvM8kiNwAslONFS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skyIYMQr060EjH0I2od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L9TO4Buek2NUlkaxJ1s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UIvjrbR80uoaH4VV8aP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Win8">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in8</Template>
  <TotalTime>456</TotalTime>
  <Words>4357</Words>
  <Application>Microsoft Office PowerPoint</Application>
  <PresentationFormat>On-screen Show (16:9)</PresentationFormat>
  <Paragraphs>542</Paragraphs>
  <Slides>32</Slides>
  <Notes>22</Notes>
  <HiddenSlides>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2</vt:i4>
      </vt:variant>
    </vt:vector>
  </HeadingPairs>
  <TitlesOfParts>
    <vt:vector size="42" baseType="lpstr">
      <vt:lpstr>Arial</vt:lpstr>
      <vt:lpstr>Calibri</vt:lpstr>
      <vt:lpstr>Segoe</vt:lpstr>
      <vt:lpstr>Segoe Light</vt:lpstr>
      <vt:lpstr>Segoe Semibold</vt:lpstr>
      <vt:lpstr>Segoe UI</vt:lpstr>
      <vt:lpstr>Segoe UI Light</vt:lpstr>
      <vt:lpstr>Segoe UI Semibold</vt:lpstr>
      <vt:lpstr>Wingdings</vt:lpstr>
      <vt:lpstr>Win8</vt:lpstr>
      <vt:lpstr>Developing for the Windows Ecosystem</vt:lpstr>
      <vt:lpstr>Agenda</vt:lpstr>
      <vt:lpstr>Trends</vt:lpstr>
      <vt:lpstr>PowerPoint Presentation</vt:lpstr>
      <vt:lpstr>PowerPoint Presentation</vt:lpstr>
      <vt:lpstr>Consistent experience</vt:lpstr>
      <vt:lpstr>Windows 8</vt:lpstr>
      <vt:lpstr>Windows Phone 8</vt:lpstr>
      <vt:lpstr>Platform Investments</vt:lpstr>
      <vt:lpstr>PowerPoint Presentation</vt:lpstr>
      <vt:lpstr>WP8 Subset of Win8</vt:lpstr>
      <vt:lpstr>PowerPoint Presentation</vt:lpstr>
      <vt:lpstr>Cloud Design Principles</vt:lpstr>
      <vt:lpstr>Economics of the Cloud</vt:lpstr>
      <vt:lpstr>Computing Patterns</vt:lpstr>
      <vt:lpstr>Resilience and Scale</vt:lpstr>
      <vt:lpstr>Microsoft Differentiation</vt:lpstr>
      <vt:lpstr>PowerPoint Presentation</vt:lpstr>
      <vt:lpstr>Windows Azure Compute</vt:lpstr>
      <vt:lpstr>Windows Azure Websites</vt:lpstr>
      <vt:lpstr>Windows Azure Virtual Machines</vt:lpstr>
      <vt:lpstr>Avoiding Lock-In</vt:lpstr>
      <vt:lpstr>Flexibility of Azure Virtual Machines</vt:lpstr>
      <vt:lpstr>Cloud Services</vt:lpstr>
      <vt:lpstr>SQL Server and Azure SQL Database</vt:lpstr>
      <vt:lpstr>Azure SQL DB - How It Works</vt:lpstr>
      <vt:lpstr>Windows Azure Services</vt:lpstr>
      <vt:lpstr>Windows Azure Services</vt:lpstr>
      <vt:lpstr>Azure</vt:lpstr>
      <vt:lpstr>Wrap up</vt:lpstr>
      <vt:lpstr>Who’s Who?</vt:lpstr>
      <vt:lpstr>Who’s Wh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ing for the Windows Ecosystem</dc:title>
  <dc:creator>DaveRussell</dc:creator>
  <cp:lastModifiedBy>Dave Russell</cp:lastModifiedBy>
  <cp:revision>37</cp:revision>
  <dcterms:created xsi:type="dcterms:W3CDTF">2006-08-16T00:00:00Z</dcterms:created>
  <dcterms:modified xsi:type="dcterms:W3CDTF">2013-07-08T11:38:48Z</dcterms:modified>
</cp:coreProperties>
</file>